
<file path=[Content_Types].xml><?xml version="1.0" encoding="utf-8"?>
<Types xmlns="http://schemas.openxmlformats.org/package/2006/content-types">
  <Default Extension="ashx" ContentType="image/png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7"/>
  </p:notesMasterIdLst>
  <p:sldIdLst>
    <p:sldId id="11089181" r:id="rId2"/>
    <p:sldId id="11089134" r:id="rId3"/>
    <p:sldId id="11089135" r:id="rId4"/>
    <p:sldId id="11089136" r:id="rId5"/>
    <p:sldId id="11089137" r:id="rId6"/>
    <p:sldId id="11089139" r:id="rId7"/>
    <p:sldId id="11089140" r:id="rId8"/>
    <p:sldId id="11089179" r:id="rId9"/>
    <p:sldId id="11089141" r:id="rId10"/>
    <p:sldId id="11089143" r:id="rId11"/>
    <p:sldId id="11089144" r:id="rId12"/>
    <p:sldId id="11089145" r:id="rId13"/>
    <p:sldId id="11089146" r:id="rId14"/>
    <p:sldId id="11089182" r:id="rId15"/>
    <p:sldId id="11089183" r:id="rId16"/>
    <p:sldId id="11089149" r:id="rId17"/>
    <p:sldId id="11089150" r:id="rId18"/>
    <p:sldId id="11089151" r:id="rId19"/>
    <p:sldId id="11089152" r:id="rId20"/>
    <p:sldId id="11089153" r:id="rId21"/>
    <p:sldId id="11089154" r:id="rId22"/>
    <p:sldId id="11089180" r:id="rId23"/>
    <p:sldId id="11089156" r:id="rId24"/>
    <p:sldId id="11089157" r:id="rId25"/>
    <p:sldId id="11089158" r:id="rId26"/>
    <p:sldId id="11089159" r:id="rId27"/>
    <p:sldId id="11089160" r:id="rId28"/>
    <p:sldId id="11089161" r:id="rId29"/>
    <p:sldId id="11089162" r:id="rId30"/>
    <p:sldId id="11089163" r:id="rId31"/>
    <p:sldId id="11089164" r:id="rId32"/>
    <p:sldId id="11089165" r:id="rId33"/>
    <p:sldId id="11089166" r:id="rId34"/>
    <p:sldId id="11089167" r:id="rId35"/>
    <p:sldId id="11089168" r:id="rId36"/>
    <p:sldId id="11089169" r:id="rId37"/>
    <p:sldId id="11089170" r:id="rId38"/>
    <p:sldId id="11089171" r:id="rId39"/>
    <p:sldId id="11089172" r:id="rId40"/>
    <p:sldId id="11089173" r:id="rId41"/>
    <p:sldId id="11089174" r:id="rId42"/>
    <p:sldId id="11089175" r:id="rId43"/>
    <p:sldId id="11089176" r:id="rId44"/>
    <p:sldId id="11089177" r:id="rId45"/>
    <p:sldId id="11089184" r:id="rId46"/>
  </p:sldIdLst>
  <p:sldSz cx="12192000" cy="6858000"/>
  <p:notesSz cx="6858000" cy="9144000"/>
  <p:embeddedFontLst>
    <p:embeddedFont>
      <p:font typeface="微软雅黑" panose="020B0503020204020204" pitchFamily="34" charset="-122"/>
      <p:regular r:id="rId48"/>
      <p:bold r:id="rId49"/>
    </p:embeddedFont>
  </p:embeddedFontLst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5F7"/>
    <a:srgbClr val="F2F2F2"/>
    <a:srgbClr val="3A5AC3"/>
    <a:srgbClr val="15A9B2"/>
    <a:srgbClr val="F9F9FC"/>
    <a:srgbClr val="F5F6F9"/>
    <a:srgbClr val="EDEFF3"/>
    <a:srgbClr val="FFFFFF"/>
    <a:srgbClr val="E4E7ED"/>
    <a:srgbClr val="7A4D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71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690" y="-53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font" Target="fonts/font1.fntdata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2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497401702096802E-2"/>
          <c:y val="7.2138650572546995E-2"/>
          <c:w val="0.94233999999999996"/>
          <c:h val="0.766719999999999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-mean
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accent1"/>
                </a:fgClr>
                <a:bgClr>
                  <a:schemeClr val="bg1"/>
                </a:bgClr>
              </a:pattFill>
              <a:ln w="63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1C-43DD-8D52-630BA89F84D7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accent1"/>
                </a:fgClr>
                <a:bgClr>
                  <a:schemeClr val="bg1"/>
                </a:bgClr>
              </a:pattFill>
              <a:ln w="63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A1C-43DD-8D52-630BA89F84D7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accent1"/>
                </a:fgClr>
                <a:bgClr>
                  <a:schemeClr val="bg1"/>
                </a:bgClr>
              </a:pattFill>
              <a:ln w="63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A1C-43DD-8D52-630BA89F84D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1C-43DD-8D52-630BA89F84D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A1C-43DD-8D52-630BA89F84D7}"/>
              </c:ext>
            </c:extLst>
          </c:dPt>
          <c:dLbls>
            <c:dLbl>
              <c:idx val="3"/>
              <c:layout>
                <c:manualLayout>
                  <c:x val="-1.050131513708184E-16"/>
                  <c:y val="1.034152267928495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zh-CN" sz="1400" b="0" i="0" u="none" strike="noStrike" kern="1200" baseline="0">
                      <a:solidFill>
                        <a:schemeClr val="accent2"/>
                      </a:solidFill>
                      <a:latin typeface="+mj-ea"/>
                      <a:ea typeface="+mj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A1C-43DD-8D52-630BA89F84D7}"/>
                </c:ext>
              </c:extLst>
            </c:dLbl>
            <c:dLbl>
              <c:idx val="4"/>
              <c:layout>
                <c:manualLayout>
                  <c:x val="-1.050131513708184E-16"/>
                  <c:y val="1.378869690571327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zh-CN" sz="1400" b="0" i="0" u="none" strike="noStrike" kern="1200" baseline="0">
                      <a:solidFill>
                        <a:schemeClr val="accent2"/>
                      </a:solidFill>
                      <a:latin typeface="+mj-ea"/>
                      <a:ea typeface="+mj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A1C-43DD-8D52-630BA89F8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某T云</c:v>
                </c:pt>
                <c:pt idx="1">
                  <c:v>某A云</c:v>
                </c:pt>
                <c:pt idx="2">
                  <c:v>某B云</c:v>
                </c:pt>
                <c:pt idx="3">
                  <c:v>思谋(edge)</c:v>
                </c:pt>
                <c:pt idx="4">
                  <c:v>思谋( server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72399999999999998</c:v>
                </c:pt>
                <c:pt idx="1">
                  <c:v>0.69499999999999995</c:v>
                </c:pt>
                <c:pt idx="2">
                  <c:v>0.70799999999999996</c:v>
                </c:pt>
                <c:pt idx="3">
                  <c:v>0.83799999999999997</c:v>
                </c:pt>
                <c:pt idx="4">
                  <c:v>0.852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A1C-43DD-8D52-630BA89F84D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3"/>
        <c:overlap val="91"/>
        <c:axId val="810397499"/>
        <c:axId val="981067612"/>
      </c:barChart>
      <c:catAx>
        <c:axId val="81039749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zh-CN" sz="1100" b="0" i="0" u="none" strike="noStrike" kern="1200" cap="none" spc="20" normalizeH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  <a:cs typeface="+mn-cs"/>
              </a:defRPr>
            </a:pPr>
            <a:endParaRPr lang="zh-CN"/>
          </a:p>
        </c:txPr>
        <c:crossAx val="981067612"/>
        <c:crossesAt val="0"/>
        <c:auto val="1"/>
        <c:lblAlgn val="ctr"/>
        <c:lblOffset val="100"/>
        <c:noMultiLvlLbl val="0"/>
      </c:catAx>
      <c:valAx>
        <c:axId val="981067612"/>
        <c:scaling>
          <c:orientation val="minMax"/>
          <c:max val="0.9"/>
          <c:min val="0.5"/>
        </c:scaling>
        <c:delete val="1"/>
        <c:axPos val="l"/>
        <c:numFmt formatCode="#,##0.00_);[Red]\(#,##0.00\)" sourceLinked="0"/>
        <c:majorTickMark val="none"/>
        <c:minorTickMark val="none"/>
        <c:tickLblPos val="nextTo"/>
        <c:crossAx val="810397499"/>
        <c:crosses val="autoZero"/>
        <c:crossBetween val="between"/>
      </c:valAx>
      <c:spPr>
        <a:noFill/>
        <a:ln w="127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zh-CN">
          <a:latin typeface="+mn-ea"/>
          <a:ea typeface="+mn-ea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5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3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 spc="20" baseline="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9F7A8F9B-9216-40A6-AE41-467E7EE12F3A}" type="datetimeFigureOut">
              <a:rPr lang="zh-CN" altLang="en-US" smtClean="0"/>
              <a:pPr/>
              <a:t>2021/9/24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DFCE6FDD-1BEC-47BF-A3FA-6EAD3001CAA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F55AAE15-3978-415B-A81B-890C1C52A1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8081" y="-14074"/>
            <a:ext cx="12248163" cy="6886148"/>
          </a:xfrm>
          <a:prstGeom prst="rect">
            <a:avLst/>
          </a:prstGeom>
        </p:spPr>
      </p:pic>
      <p:pic>
        <p:nvPicPr>
          <p:cNvPr id="8" name="图形 7">
            <a:extLst>
              <a:ext uri="{FF2B5EF4-FFF2-40B4-BE49-F238E27FC236}">
                <a16:creationId xmlns:a16="http://schemas.microsoft.com/office/drawing/2014/main" id="{250BD6C3-4302-498A-96E7-C295A8DDBC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89055" y="295787"/>
            <a:ext cx="1985962" cy="2090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1DD14B2-FA17-46B1-B139-2AEEBCDF30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13"/>
            <a:ext cx="12191998" cy="6854571"/>
          </a:xfrm>
          <a:prstGeom prst="rect">
            <a:avLst/>
          </a:prstGeom>
        </p:spPr>
      </p:pic>
      <p:sp>
        <p:nvSpPr>
          <p:cNvPr id="4" name="文本占位符 10">
            <a:extLst>
              <a:ext uri="{FF2B5EF4-FFF2-40B4-BE49-F238E27FC236}">
                <a16:creationId xmlns:a16="http://schemas.microsoft.com/office/drawing/2014/main" id="{6FE6097C-302E-4DB1-A874-D7C6A2A2E2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2484" y="3699625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29E40D8-C7F4-466B-9DD8-305CBE1989C1}"/>
              </a:ext>
            </a:extLst>
          </p:cNvPr>
          <p:cNvSpPr txBox="1"/>
          <p:nvPr userDrawn="1"/>
        </p:nvSpPr>
        <p:spPr>
          <a:xfrm>
            <a:off x="6322484" y="1717887"/>
            <a:ext cx="897682" cy="5386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3500" b="1" kern="1900" dirty="0">
                <a:solidFill>
                  <a:srgbClr val="043E6F"/>
                </a:solidFill>
                <a:latin typeface="+mn-ea"/>
                <a:ea typeface="+mn-ea"/>
              </a:rPr>
              <a:t>目录</a:t>
            </a:r>
          </a:p>
        </p:txBody>
      </p:sp>
      <p:sp>
        <p:nvSpPr>
          <p:cNvPr id="6" name="文本占位符 46">
            <a:extLst>
              <a:ext uri="{FF2B5EF4-FFF2-40B4-BE49-F238E27FC236}">
                <a16:creationId xmlns:a16="http://schemas.microsoft.com/office/drawing/2014/main" id="{9F8CF7D2-BC8A-4127-B2D4-2E228FF444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4766" y="3699626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7" name="文本占位符 46">
            <a:extLst>
              <a:ext uri="{FF2B5EF4-FFF2-40B4-BE49-F238E27FC236}">
                <a16:creationId xmlns:a16="http://schemas.microsoft.com/office/drawing/2014/main" id="{15821361-C6EF-4917-AC16-0C636CC335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4766" y="4110745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8" name="文本占位符 10">
            <a:extLst>
              <a:ext uri="{FF2B5EF4-FFF2-40B4-BE49-F238E27FC236}">
                <a16:creationId xmlns:a16="http://schemas.microsoft.com/office/drawing/2014/main" id="{4A710DCC-194B-471A-8A56-D15734FC55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22484" y="4559533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9" name="文本占位符 46">
            <a:extLst>
              <a:ext uri="{FF2B5EF4-FFF2-40B4-BE49-F238E27FC236}">
                <a16:creationId xmlns:a16="http://schemas.microsoft.com/office/drawing/2014/main" id="{2A2894E4-8152-4A37-B26D-F917FFB6BB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4766" y="4559534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0" name="文本占位符 46">
            <a:extLst>
              <a:ext uri="{FF2B5EF4-FFF2-40B4-BE49-F238E27FC236}">
                <a16:creationId xmlns:a16="http://schemas.microsoft.com/office/drawing/2014/main" id="{1A74744F-2A51-41FB-9E6C-99EB52214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4766" y="4970653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0874050A-0CA9-4973-8BE4-A4FDCC805D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2484" y="5409677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2" name="文本占位符 46">
            <a:extLst>
              <a:ext uri="{FF2B5EF4-FFF2-40B4-BE49-F238E27FC236}">
                <a16:creationId xmlns:a16="http://schemas.microsoft.com/office/drawing/2014/main" id="{CD7E6418-5249-4222-BDE4-67FFDF389C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4766" y="5409678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3" name="文本占位符 46">
            <a:extLst>
              <a:ext uri="{FF2B5EF4-FFF2-40B4-BE49-F238E27FC236}">
                <a16:creationId xmlns:a16="http://schemas.microsoft.com/office/drawing/2014/main" id="{5642F6B6-93F7-442F-8B6F-FAE631628A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4766" y="5820797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4" name="文本占位符 10">
            <a:extLst>
              <a:ext uri="{FF2B5EF4-FFF2-40B4-BE49-F238E27FC236}">
                <a16:creationId xmlns:a16="http://schemas.microsoft.com/office/drawing/2014/main" id="{7EE42E34-185C-4752-897F-EA04C8D6CB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37977" y="3699625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5" name="文本占位符 46">
            <a:extLst>
              <a:ext uri="{FF2B5EF4-FFF2-40B4-BE49-F238E27FC236}">
                <a16:creationId xmlns:a16="http://schemas.microsoft.com/office/drawing/2014/main" id="{DF932DD7-5F9D-41AE-BDCF-C289CD26F2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10259" y="3699626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6" name="文本占位符 46">
            <a:extLst>
              <a:ext uri="{FF2B5EF4-FFF2-40B4-BE49-F238E27FC236}">
                <a16:creationId xmlns:a16="http://schemas.microsoft.com/office/drawing/2014/main" id="{DFFEE1EC-40B0-4462-85C2-367BD2057E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10259" y="4110745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17" name="文本占位符 10">
            <a:extLst>
              <a:ext uri="{FF2B5EF4-FFF2-40B4-BE49-F238E27FC236}">
                <a16:creationId xmlns:a16="http://schemas.microsoft.com/office/drawing/2014/main" id="{8C8C3808-22A8-475B-8AA7-31905C8C9AC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7977" y="4559533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5</a:t>
            </a:r>
            <a:endParaRPr lang="zh-CN" altLang="en-US" dirty="0"/>
          </a:p>
        </p:txBody>
      </p:sp>
      <p:sp>
        <p:nvSpPr>
          <p:cNvPr id="18" name="文本占位符 46">
            <a:extLst>
              <a:ext uri="{FF2B5EF4-FFF2-40B4-BE49-F238E27FC236}">
                <a16:creationId xmlns:a16="http://schemas.microsoft.com/office/drawing/2014/main" id="{1AEFB0CF-21AC-4EA2-8A8B-D6A4F0EA12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10259" y="4559534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19" name="文本占位符 46">
            <a:extLst>
              <a:ext uri="{FF2B5EF4-FFF2-40B4-BE49-F238E27FC236}">
                <a16:creationId xmlns:a16="http://schemas.microsoft.com/office/drawing/2014/main" id="{A0CA121C-AC17-443A-A1EA-C334C86493A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10259" y="4970653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20" name="文本占位符 10">
            <a:extLst>
              <a:ext uri="{FF2B5EF4-FFF2-40B4-BE49-F238E27FC236}">
                <a16:creationId xmlns:a16="http://schemas.microsoft.com/office/drawing/2014/main" id="{041639AA-022C-47B3-B313-AB1BFC0DDB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7977" y="5409677"/>
            <a:ext cx="820738" cy="679440"/>
          </a:xfrm>
          <a:prstGeom prst="rect">
            <a:avLst/>
          </a:prstGeom>
        </p:spPr>
        <p:txBody>
          <a:bodyPr anchor="ctr"/>
          <a:lstStyle>
            <a:lvl1pPr algn="l">
              <a:buNone/>
              <a:defRPr sz="4000" b="1">
                <a:solidFill>
                  <a:srgbClr val="9F1F25"/>
                </a:solidFill>
                <a:latin typeface="微软雅黑" panose="020B0503020204020204" pitchFamily="34" charset="-122"/>
                <a:ea typeface="思源黑体 CN Bold" panose="02010600030101010101" charset="-122"/>
                <a:cs typeface="Calibri" panose="020F0502020204030204" pitchFamily="34" charset="0"/>
              </a:defRPr>
            </a:lvl1pPr>
          </a:lstStyle>
          <a:p>
            <a:pPr lvl="0"/>
            <a:r>
              <a:rPr lang="en-US" altLang="zh-CN" dirty="0"/>
              <a:t>06</a:t>
            </a:r>
            <a:endParaRPr lang="zh-CN" altLang="en-US" dirty="0"/>
          </a:p>
        </p:txBody>
      </p:sp>
      <p:sp>
        <p:nvSpPr>
          <p:cNvPr id="21" name="文本占位符 46">
            <a:extLst>
              <a:ext uri="{FF2B5EF4-FFF2-40B4-BE49-F238E27FC236}">
                <a16:creationId xmlns:a16="http://schemas.microsoft.com/office/drawing/2014/main" id="{127F2B77-F382-44F5-A28B-41F304E59E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110259" y="5409678"/>
            <a:ext cx="1895475" cy="3555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600" b="1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预设版式</a:t>
            </a:r>
          </a:p>
        </p:txBody>
      </p:sp>
      <p:sp>
        <p:nvSpPr>
          <p:cNvPr id="22" name="文本占位符 46">
            <a:extLst>
              <a:ext uri="{FF2B5EF4-FFF2-40B4-BE49-F238E27FC236}">
                <a16:creationId xmlns:a16="http://schemas.microsoft.com/office/drawing/2014/main" id="{04F74ADE-25A7-455E-A657-7A06694375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110259" y="5820797"/>
            <a:ext cx="1895475" cy="27468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buNone/>
              <a:defRPr sz="1000">
                <a:solidFill>
                  <a:srgbClr val="043E6F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行业领先的新一代视觉</a:t>
            </a:r>
            <a:r>
              <a:rPr lang="en-US" altLang="zh-CN" dirty="0"/>
              <a:t>AI</a:t>
            </a:r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D6EC21AB-F9F2-43D3-B6B7-51485A9DF223}"/>
              </a:ext>
            </a:extLst>
          </p:cNvPr>
          <p:cNvSpPr/>
          <p:nvPr userDrawn="1"/>
        </p:nvSpPr>
        <p:spPr>
          <a:xfrm>
            <a:off x="6322484" y="2876550"/>
            <a:ext cx="298450" cy="55906"/>
          </a:xfrm>
          <a:prstGeom prst="rect">
            <a:avLst/>
          </a:prstGeom>
          <a:solidFill>
            <a:srgbClr val="8990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24" name="图形 23">
            <a:extLst>
              <a:ext uri="{FF2B5EF4-FFF2-40B4-BE49-F238E27FC236}">
                <a16:creationId xmlns:a16="http://schemas.microsoft.com/office/drawing/2014/main" id="{1FB4EAF0-0A12-4B7C-9FFF-98E9D0FB4F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171" y="6195089"/>
            <a:ext cx="1807105" cy="19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66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A4BB0F4C-E60A-490B-911B-5792BF649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D7CB4F88-D3ED-4BD9-9638-9440A58915E8}"/>
              </a:ext>
            </a:extLst>
          </p:cNvPr>
          <p:cNvSpPr txBox="1"/>
          <p:nvPr userDrawn="1"/>
        </p:nvSpPr>
        <p:spPr>
          <a:xfrm>
            <a:off x="11596154" y="6452595"/>
            <a:ext cx="3642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B91BD757-1F67-400C-847E-A448E7F555AF}"/>
              </a:ext>
            </a:extLst>
          </p:cNvPr>
          <p:cNvGrpSpPr/>
          <p:nvPr userDrawn="1"/>
        </p:nvGrpSpPr>
        <p:grpSpPr>
          <a:xfrm>
            <a:off x="330200" y="206375"/>
            <a:ext cx="2232301" cy="342900"/>
            <a:chOff x="10038319" y="223498"/>
            <a:chExt cx="1810781" cy="278151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0630A936-C5D6-4BE8-B7C9-461FE6F3DF7B}"/>
                </a:ext>
              </a:extLst>
            </p:cNvPr>
            <p:cNvSpPr/>
            <p:nvPr/>
          </p:nvSpPr>
          <p:spPr>
            <a:xfrm>
              <a:off x="10274635" y="223500"/>
              <a:ext cx="83406" cy="278021"/>
            </a:xfrm>
            <a:prstGeom prst="rect">
              <a:avLst/>
            </a:prstGeom>
            <a:blipFill>
              <a:blip r:embed="rId3" cstate="print">
                <a:alphaModFix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2B5332BF-6332-444C-BB49-B0EBB0DF07BE}"/>
                </a:ext>
              </a:extLst>
            </p:cNvPr>
            <p:cNvSpPr/>
            <p:nvPr/>
          </p:nvSpPr>
          <p:spPr>
            <a:xfrm>
              <a:off x="10038319" y="223500"/>
              <a:ext cx="176079" cy="278021"/>
            </a:xfrm>
            <a:prstGeom prst="rect">
              <a:avLst/>
            </a:prstGeom>
            <a:blipFill>
              <a:blip r:embed="rId4" cstate="print">
                <a:alphaModFix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0">
              <a:extLst>
                <a:ext uri="{FF2B5EF4-FFF2-40B4-BE49-F238E27FC236}">
                  <a16:creationId xmlns:a16="http://schemas.microsoft.com/office/drawing/2014/main" id="{86BAA988-5A54-41C6-A30C-611F434EEE54}"/>
                </a:ext>
              </a:extLst>
            </p:cNvPr>
            <p:cNvSpPr/>
            <p:nvPr/>
          </p:nvSpPr>
          <p:spPr>
            <a:xfrm>
              <a:off x="10144034" y="223498"/>
              <a:ext cx="197772" cy="278151"/>
            </a:xfrm>
            <a:custGeom>
              <a:avLst/>
              <a:gdLst/>
              <a:ahLst/>
              <a:cxnLst/>
              <a:rect l="l" t="t" r="r" b="b"/>
              <a:pathLst>
                <a:path w="712469" h="1002029">
                  <a:moveTo>
                    <a:pt x="0" y="0"/>
                  </a:moveTo>
                  <a:lnTo>
                    <a:pt x="36343" y="16609"/>
                  </a:lnTo>
                  <a:lnTo>
                    <a:pt x="357020" y="961620"/>
                  </a:lnTo>
                  <a:lnTo>
                    <a:pt x="362845" y="974026"/>
                  </a:lnTo>
                  <a:lnTo>
                    <a:pt x="393672" y="998474"/>
                  </a:lnTo>
                  <a:lnTo>
                    <a:pt x="412447" y="1001569"/>
                  </a:lnTo>
                  <a:lnTo>
                    <a:pt x="712119" y="1001569"/>
                  </a:lnTo>
                  <a:lnTo>
                    <a:pt x="698135" y="1000074"/>
                  </a:lnTo>
                  <a:lnTo>
                    <a:pt x="685281" y="995691"/>
                  </a:lnTo>
                  <a:lnTo>
                    <a:pt x="674123" y="988578"/>
                  </a:lnTo>
                  <a:lnTo>
                    <a:pt x="665232" y="978891"/>
                  </a:lnTo>
                  <a:lnTo>
                    <a:pt x="350267" y="39955"/>
                  </a:lnTo>
                  <a:lnTo>
                    <a:pt x="344442" y="27550"/>
                  </a:lnTo>
                  <a:lnTo>
                    <a:pt x="313615" y="3101"/>
                  </a:lnTo>
                  <a:lnTo>
                    <a:pt x="29484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1">
              <a:extLst>
                <a:ext uri="{FF2B5EF4-FFF2-40B4-BE49-F238E27FC236}">
                  <a16:creationId xmlns:a16="http://schemas.microsoft.com/office/drawing/2014/main" id="{D40826BD-72DD-4F6E-9C94-584BC14E0357}"/>
                </a:ext>
              </a:extLst>
            </p:cNvPr>
            <p:cNvSpPr/>
            <p:nvPr/>
          </p:nvSpPr>
          <p:spPr>
            <a:xfrm>
              <a:off x="10465584" y="274807"/>
              <a:ext cx="1383516" cy="174395"/>
            </a:xfrm>
            <a:prstGeom prst="rect">
              <a:avLst/>
            </a:prstGeom>
            <a:blipFill>
              <a:blip r:embed="rId5" cstate="print">
                <a:alphaModFix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7253B73F-3D57-4D7F-A6FA-33A41C3DF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266700"/>
            <a:ext cx="1840202" cy="188657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1D91714-6854-4B5A-986A-84E4191C33E1}"/>
              </a:ext>
            </a:extLst>
          </p:cNvPr>
          <p:cNvSpPr txBox="1"/>
          <p:nvPr userDrawn="1"/>
        </p:nvSpPr>
        <p:spPr>
          <a:xfrm>
            <a:off x="11596154" y="6457781"/>
            <a:ext cx="3642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FBAB8EE2-8720-4633-85C0-79A23B406636}"/>
              </a:ext>
            </a:extLst>
          </p:cNvPr>
          <p:cNvGrpSpPr/>
          <p:nvPr userDrawn="1"/>
        </p:nvGrpSpPr>
        <p:grpSpPr>
          <a:xfrm>
            <a:off x="10038319" y="223498"/>
            <a:ext cx="1810781" cy="378707"/>
            <a:chOff x="10038319" y="223498"/>
            <a:chExt cx="1810781" cy="378707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18732E73-504E-423E-8BD6-899DE58AFA47}"/>
                </a:ext>
              </a:extLst>
            </p:cNvPr>
            <p:cNvGrpSpPr/>
            <p:nvPr userDrawn="1"/>
          </p:nvGrpSpPr>
          <p:grpSpPr>
            <a:xfrm>
              <a:off x="10038319" y="223498"/>
              <a:ext cx="1810781" cy="278151"/>
              <a:chOff x="10038319" y="223498"/>
              <a:chExt cx="1810781" cy="278151"/>
            </a:xfrm>
          </p:grpSpPr>
          <p:sp>
            <p:nvSpPr>
              <p:cNvPr id="9" name="object 18">
                <a:extLst>
                  <a:ext uri="{FF2B5EF4-FFF2-40B4-BE49-F238E27FC236}">
                    <a16:creationId xmlns:a16="http://schemas.microsoft.com/office/drawing/2014/main" id="{FE1D1F89-8C5C-4096-9076-CDE857058B8A}"/>
                  </a:ext>
                </a:extLst>
              </p:cNvPr>
              <p:cNvSpPr/>
              <p:nvPr/>
            </p:nvSpPr>
            <p:spPr>
              <a:xfrm>
                <a:off x="10274635" y="223500"/>
                <a:ext cx="83406" cy="278021"/>
              </a:xfrm>
              <a:prstGeom prst="rect">
                <a:avLst/>
              </a:prstGeom>
              <a:blipFill>
                <a:blip r:embed="rId3" cstate="print">
                  <a:alphaModFix/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" name="object 19">
                <a:extLst>
                  <a:ext uri="{FF2B5EF4-FFF2-40B4-BE49-F238E27FC236}">
                    <a16:creationId xmlns:a16="http://schemas.microsoft.com/office/drawing/2014/main" id="{E4CBE9D9-18BA-4087-83AA-D1731D9665BE}"/>
                  </a:ext>
                </a:extLst>
              </p:cNvPr>
              <p:cNvSpPr/>
              <p:nvPr/>
            </p:nvSpPr>
            <p:spPr>
              <a:xfrm>
                <a:off x="10038319" y="223500"/>
                <a:ext cx="176079" cy="278021"/>
              </a:xfrm>
              <a:prstGeom prst="rect">
                <a:avLst/>
              </a:prstGeom>
              <a:blipFill>
                <a:blip r:embed="rId4" cstate="print">
                  <a:alphaModFix/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" name="object 20">
                <a:extLst>
                  <a:ext uri="{FF2B5EF4-FFF2-40B4-BE49-F238E27FC236}">
                    <a16:creationId xmlns:a16="http://schemas.microsoft.com/office/drawing/2014/main" id="{C11B57B4-71C1-4360-A224-FD639A79437E}"/>
                  </a:ext>
                </a:extLst>
              </p:cNvPr>
              <p:cNvSpPr/>
              <p:nvPr/>
            </p:nvSpPr>
            <p:spPr>
              <a:xfrm>
                <a:off x="10144034" y="223498"/>
                <a:ext cx="197772" cy="278151"/>
              </a:xfrm>
              <a:custGeom>
                <a:avLst/>
                <a:gdLst/>
                <a:ahLst/>
                <a:cxnLst/>
                <a:rect l="l" t="t" r="r" b="b"/>
                <a:pathLst>
                  <a:path w="712469" h="1002029">
                    <a:moveTo>
                      <a:pt x="0" y="0"/>
                    </a:moveTo>
                    <a:lnTo>
                      <a:pt x="36343" y="16609"/>
                    </a:lnTo>
                    <a:lnTo>
                      <a:pt x="357020" y="961620"/>
                    </a:lnTo>
                    <a:lnTo>
                      <a:pt x="362845" y="974026"/>
                    </a:lnTo>
                    <a:lnTo>
                      <a:pt x="393672" y="998474"/>
                    </a:lnTo>
                    <a:lnTo>
                      <a:pt x="412447" y="1001569"/>
                    </a:lnTo>
                    <a:lnTo>
                      <a:pt x="712119" y="1001569"/>
                    </a:lnTo>
                    <a:lnTo>
                      <a:pt x="698135" y="1000074"/>
                    </a:lnTo>
                    <a:lnTo>
                      <a:pt x="685281" y="995691"/>
                    </a:lnTo>
                    <a:lnTo>
                      <a:pt x="674123" y="988578"/>
                    </a:lnTo>
                    <a:lnTo>
                      <a:pt x="665232" y="978891"/>
                    </a:lnTo>
                    <a:lnTo>
                      <a:pt x="350267" y="39955"/>
                    </a:lnTo>
                    <a:lnTo>
                      <a:pt x="344442" y="27550"/>
                    </a:lnTo>
                    <a:lnTo>
                      <a:pt x="313615" y="3101"/>
                    </a:lnTo>
                    <a:lnTo>
                      <a:pt x="29484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6DB2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2" name="object 21">
                <a:extLst>
                  <a:ext uri="{FF2B5EF4-FFF2-40B4-BE49-F238E27FC236}">
                    <a16:creationId xmlns:a16="http://schemas.microsoft.com/office/drawing/2014/main" id="{D51FB9C1-1943-48C4-BA82-EEA5F7D9695A}"/>
                  </a:ext>
                </a:extLst>
              </p:cNvPr>
              <p:cNvSpPr/>
              <p:nvPr/>
            </p:nvSpPr>
            <p:spPr>
              <a:xfrm>
                <a:off x="10465584" y="274807"/>
                <a:ext cx="1383516" cy="174395"/>
              </a:xfrm>
              <a:prstGeom prst="rect">
                <a:avLst/>
              </a:prstGeom>
              <a:blipFill>
                <a:blip r:embed="rId5" cstate="print">
                  <a:alphaModFix/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213E4F24-372A-4C94-8975-F69BB90B4E34}"/>
                </a:ext>
              </a:extLst>
            </p:cNvPr>
            <p:cNvSpPr txBox="1"/>
            <p:nvPr userDrawn="1"/>
          </p:nvSpPr>
          <p:spPr>
            <a:xfrm>
              <a:off x="10602448" y="506877"/>
              <a:ext cx="1106043" cy="95328"/>
            </a:xfrm>
            <a:custGeom>
              <a:avLst/>
              <a:gdLst/>
              <a:ahLst/>
              <a:cxnLst/>
              <a:rect l="l" t="t" r="r" b="b"/>
              <a:pathLst>
                <a:path w="1106043" h="95328">
                  <a:moveTo>
                    <a:pt x="145131" y="69900"/>
                  </a:moveTo>
                  <a:cubicBezTo>
                    <a:pt x="145191" y="71400"/>
                    <a:pt x="145252" y="72900"/>
                    <a:pt x="145313" y="74400"/>
                  </a:cubicBezTo>
                  <a:cubicBezTo>
                    <a:pt x="141611" y="75656"/>
                    <a:pt x="138240" y="76807"/>
                    <a:pt x="135202" y="77853"/>
                  </a:cubicBezTo>
                  <a:cubicBezTo>
                    <a:pt x="126016" y="80992"/>
                    <a:pt x="116830" y="84131"/>
                    <a:pt x="107645" y="87271"/>
                  </a:cubicBezTo>
                  <a:cubicBezTo>
                    <a:pt x="107544" y="85596"/>
                    <a:pt x="107443" y="83922"/>
                    <a:pt x="107341" y="82248"/>
                  </a:cubicBezTo>
                  <a:cubicBezTo>
                    <a:pt x="109542" y="81620"/>
                    <a:pt x="112155" y="80818"/>
                    <a:pt x="115182" y="79841"/>
                  </a:cubicBezTo>
                  <a:cubicBezTo>
                    <a:pt x="117836" y="79004"/>
                    <a:pt x="120939" y="77993"/>
                    <a:pt x="124489" y="76807"/>
                  </a:cubicBezTo>
                  <a:cubicBezTo>
                    <a:pt x="131370" y="74504"/>
                    <a:pt x="138250" y="72202"/>
                    <a:pt x="145131" y="69900"/>
                  </a:cubicBezTo>
                  <a:close/>
                  <a:moveTo>
                    <a:pt x="426897" y="56925"/>
                  </a:moveTo>
                  <a:cubicBezTo>
                    <a:pt x="425377" y="65924"/>
                    <a:pt x="423857" y="74923"/>
                    <a:pt x="422337" y="83922"/>
                  </a:cubicBezTo>
                  <a:cubicBezTo>
                    <a:pt x="440521" y="83922"/>
                    <a:pt x="458704" y="83922"/>
                    <a:pt x="476887" y="83922"/>
                  </a:cubicBezTo>
                  <a:cubicBezTo>
                    <a:pt x="478407" y="74923"/>
                    <a:pt x="479927" y="65924"/>
                    <a:pt x="481448" y="56925"/>
                  </a:cubicBezTo>
                  <a:cubicBezTo>
                    <a:pt x="463264" y="56925"/>
                    <a:pt x="445081" y="56925"/>
                    <a:pt x="426897" y="56925"/>
                  </a:cubicBezTo>
                  <a:close/>
                  <a:moveTo>
                    <a:pt x="422703" y="52007"/>
                  </a:moveTo>
                  <a:cubicBezTo>
                    <a:pt x="444271" y="52007"/>
                    <a:pt x="465840" y="52007"/>
                    <a:pt x="487409" y="52007"/>
                  </a:cubicBezTo>
                  <a:cubicBezTo>
                    <a:pt x="485017" y="66168"/>
                    <a:pt x="482625" y="80329"/>
                    <a:pt x="480233" y="94491"/>
                  </a:cubicBezTo>
                  <a:cubicBezTo>
                    <a:pt x="478522" y="94491"/>
                    <a:pt x="476812" y="94491"/>
                    <a:pt x="475102" y="94491"/>
                  </a:cubicBezTo>
                  <a:cubicBezTo>
                    <a:pt x="475420" y="92607"/>
                    <a:pt x="475738" y="90724"/>
                    <a:pt x="476057" y="88840"/>
                  </a:cubicBezTo>
                  <a:cubicBezTo>
                    <a:pt x="457873" y="88840"/>
                    <a:pt x="439690" y="88840"/>
                    <a:pt x="421507" y="88840"/>
                  </a:cubicBezTo>
                  <a:cubicBezTo>
                    <a:pt x="421171" y="90828"/>
                    <a:pt x="420835" y="92817"/>
                    <a:pt x="420499" y="94805"/>
                  </a:cubicBezTo>
                  <a:cubicBezTo>
                    <a:pt x="418824" y="94805"/>
                    <a:pt x="417149" y="94805"/>
                    <a:pt x="415473" y="94805"/>
                  </a:cubicBezTo>
                  <a:cubicBezTo>
                    <a:pt x="417883" y="80539"/>
                    <a:pt x="420293" y="66273"/>
                    <a:pt x="422703" y="52007"/>
                  </a:cubicBezTo>
                  <a:close/>
                  <a:moveTo>
                    <a:pt x="63105" y="49705"/>
                  </a:moveTo>
                  <a:cubicBezTo>
                    <a:pt x="61808" y="57378"/>
                    <a:pt x="60512" y="65052"/>
                    <a:pt x="59216" y="72726"/>
                  </a:cubicBezTo>
                  <a:cubicBezTo>
                    <a:pt x="69128" y="72726"/>
                    <a:pt x="79040" y="72726"/>
                    <a:pt x="88952" y="72726"/>
                  </a:cubicBezTo>
                  <a:cubicBezTo>
                    <a:pt x="90248" y="65052"/>
                    <a:pt x="91544" y="57378"/>
                    <a:pt x="92840" y="49705"/>
                  </a:cubicBezTo>
                  <a:cubicBezTo>
                    <a:pt x="82928" y="49705"/>
                    <a:pt x="73017" y="49705"/>
                    <a:pt x="63105" y="49705"/>
                  </a:cubicBezTo>
                  <a:close/>
                  <a:moveTo>
                    <a:pt x="59048" y="45205"/>
                  </a:moveTo>
                  <a:cubicBezTo>
                    <a:pt x="72206" y="45205"/>
                    <a:pt x="85364" y="45205"/>
                    <a:pt x="98521" y="45205"/>
                  </a:cubicBezTo>
                  <a:cubicBezTo>
                    <a:pt x="96718" y="55878"/>
                    <a:pt x="94915" y="66552"/>
                    <a:pt x="93113" y="77225"/>
                  </a:cubicBezTo>
                  <a:cubicBezTo>
                    <a:pt x="79955" y="77225"/>
                    <a:pt x="66797" y="77225"/>
                    <a:pt x="53640" y="77225"/>
                  </a:cubicBezTo>
                  <a:cubicBezTo>
                    <a:pt x="55443" y="66552"/>
                    <a:pt x="57246" y="55878"/>
                    <a:pt x="59048" y="45205"/>
                  </a:cubicBezTo>
                  <a:close/>
                  <a:moveTo>
                    <a:pt x="1072837" y="40810"/>
                  </a:moveTo>
                  <a:cubicBezTo>
                    <a:pt x="1074512" y="40810"/>
                    <a:pt x="1076187" y="40810"/>
                    <a:pt x="1077862" y="40810"/>
                  </a:cubicBezTo>
                  <a:cubicBezTo>
                    <a:pt x="1075411" y="55320"/>
                    <a:pt x="1072960" y="69831"/>
                    <a:pt x="1070509" y="84341"/>
                  </a:cubicBezTo>
                  <a:cubicBezTo>
                    <a:pt x="1070120" y="86643"/>
                    <a:pt x="1071217" y="87794"/>
                    <a:pt x="1073800" y="87794"/>
                  </a:cubicBezTo>
                  <a:cubicBezTo>
                    <a:pt x="1077709" y="87794"/>
                    <a:pt x="1081618" y="87794"/>
                    <a:pt x="1085527" y="87794"/>
                  </a:cubicBezTo>
                  <a:cubicBezTo>
                    <a:pt x="1087132" y="87794"/>
                    <a:pt x="1088344" y="86817"/>
                    <a:pt x="1089163" y="84864"/>
                  </a:cubicBezTo>
                  <a:cubicBezTo>
                    <a:pt x="1089969" y="82980"/>
                    <a:pt x="1091026" y="78585"/>
                    <a:pt x="1092332" y="71679"/>
                  </a:cubicBezTo>
                  <a:cubicBezTo>
                    <a:pt x="1093679" y="72795"/>
                    <a:pt x="1095126" y="73528"/>
                    <a:pt x="1096673" y="73877"/>
                  </a:cubicBezTo>
                  <a:cubicBezTo>
                    <a:pt x="1095051" y="81411"/>
                    <a:pt x="1093545" y="86399"/>
                    <a:pt x="1092155" y="88840"/>
                  </a:cubicBezTo>
                  <a:cubicBezTo>
                    <a:pt x="1090615" y="91352"/>
                    <a:pt x="1088239" y="92607"/>
                    <a:pt x="1085028" y="92607"/>
                  </a:cubicBezTo>
                  <a:cubicBezTo>
                    <a:pt x="1080875" y="92607"/>
                    <a:pt x="1076721" y="92607"/>
                    <a:pt x="1072568" y="92607"/>
                  </a:cubicBezTo>
                  <a:cubicBezTo>
                    <a:pt x="1066914" y="92607"/>
                    <a:pt x="1064559" y="89817"/>
                    <a:pt x="1065501" y="84236"/>
                  </a:cubicBezTo>
                  <a:cubicBezTo>
                    <a:pt x="1067946" y="69761"/>
                    <a:pt x="1070391" y="55285"/>
                    <a:pt x="1072837" y="40810"/>
                  </a:cubicBezTo>
                  <a:close/>
                  <a:moveTo>
                    <a:pt x="592163" y="33276"/>
                  </a:moveTo>
                  <a:cubicBezTo>
                    <a:pt x="599597" y="33276"/>
                    <a:pt x="607031" y="33276"/>
                    <a:pt x="614464" y="33276"/>
                  </a:cubicBezTo>
                  <a:cubicBezTo>
                    <a:pt x="611843" y="48798"/>
                    <a:pt x="609221" y="64319"/>
                    <a:pt x="606599" y="79841"/>
                  </a:cubicBezTo>
                  <a:cubicBezTo>
                    <a:pt x="611789" y="76597"/>
                    <a:pt x="616978" y="73353"/>
                    <a:pt x="622168" y="70110"/>
                  </a:cubicBezTo>
                  <a:cubicBezTo>
                    <a:pt x="622234" y="71784"/>
                    <a:pt x="622528" y="73144"/>
                    <a:pt x="623049" y="74191"/>
                  </a:cubicBezTo>
                  <a:cubicBezTo>
                    <a:pt x="618774" y="76981"/>
                    <a:pt x="614498" y="79771"/>
                    <a:pt x="610223" y="82562"/>
                  </a:cubicBezTo>
                  <a:cubicBezTo>
                    <a:pt x="606844" y="84794"/>
                    <a:pt x="604363" y="86468"/>
                    <a:pt x="602778" y="87585"/>
                  </a:cubicBezTo>
                  <a:cubicBezTo>
                    <a:pt x="599935" y="89538"/>
                    <a:pt x="598129" y="90933"/>
                    <a:pt x="597359" y="91770"/>
                  </a:cubicBezTo>
                  <a:cubicBezTo>
                    <a:pt x="596862" y="90584"/>
                    <a:pt x="595945" y="89398"/>
                    <a:pt x="594610" y="88212"/>
                  </a:cubicBezTo>
                  <a:cubicBezTo>
                    <a:pt x="595239" y="87794"/>
                    <a:pt x="595880" y="87306"/>
                    <a:pt x="596533" y="86747"/>
                  </a:cubicBezTo>
                  <a:cubicBezTo>
                    <a:pt x="597349" y="86050"/>
                    <a:pt x="598100" y="85317"/>
                    <a:pt x="598788" y="84550"/>
                  </a:cubicBezTo>
                  <a:cubicBezTo>
                    <a:pt x="600596" y="82527"/>
                    <a:pt x="601683" y="80434"/>
                    <a:pt x="602048" y="78272"/>
                  </a:cubicBezTo>
                  <a:cubicBezTo>
                    <a:pt x="604304" y="64912"/>
                    <a:pt x="606561" y="51553"/>
                    <a:pt x="608817" y="38194"/>
                  </a:cubicBezTo>
                  <a:cubicBezTo>
                    <a:pt x="602989" y="38194"/>
                    <a:pt x="597161" y="38194"/>
                    <a:pt x="591332" y="38194"/>
                  </a:cubicBezTo>
                  <a:cubicBezTo>
                    <a:pt x="591609" y="36555"/>
                    <a:pt x="591886" y="34915"/>
                    <a:pt x="592163" y="33276"/>
                  </a:cubicBezTo>
                  <a:close/>
                  <a:moveTo>
                    <a:pt x="871187" y="20928"/>
                  </a:moveTo>
                  <a:cubicBezTo>
                    <a:pt x="872832" y="21521"/>
                    <a:pt x="874477" y="22114"/>
                    <a:pt x="876122" y="22707"/>
                  </a:cubicBezTo>
                  <a:cubicBezTo>
                    <a:pt x="873974" y="25916"/>
                    <a:pt x="871990" y="28776"/>
                    <a:pt x="870170" y="31288"/>
                  </a:cubicBezTo>
                  <a:cubicBezTo>
                    <a:pt x="867813" y="34497"/>
                    <a:pt x="865719" y="37182"/>
                    <a:pt x="863888" y="39345"/>
                  </a:cubicBezTo>
                  <a:cubicBezTo>
                    <a:pt x="873137" y="39345"/>
                    <a:pt x="882385" y="39345"/>
                    <a:pt x="891634" y="39345"/>
                  </a:cubicBezTo>
                  <a:cubicBezTo>
                    <a:pt x="891357" y="40984"/>
                    <a:pt x="891080" y="42624"/>
                    <a:pt x="890803" y="44263"/>
                  </a:cubicBezTo>
                  <a:cubicBezTo>
                    <a:pt x="864977" y="44263"/>
                    <a:pt x="839150" y="44263"/>
                    <a:pt x="813323" y="44263"/>
                  </a:cubicBezTo>
                  <a:cubicBezTo>
                    <a:pt x="812805" y="47333"/>
                    <a:pt x="812287" y="50402"/>
                    <a:pt x="811768" y="53472"/>
                  </a:cubicBezTo>
                  <a:cubicBezTo>
                    <a:pt x="811191" y="56890"/>
                    <a:pt x="810491" y="60204"/>
                    <a:pt x="809670" y="63413"/>
                  </a:cubicBezTo>
                  <a:cubicBezTo>
                    <a:pt x="808743" y="67249"/>
                    <a:pt x="807641" y="70877"/>
                    <a:pt x="806366" y="74295"/>
                  </a:cubicBezTo>
                  <a:cubicBezTo>
                    <a:pt x="804857" y="78272"/>
                    <a:pt x="803156" y="81934"/>
                    <a:pt x="801264" y="85282"/>
                  </a:cubicBezTo>
                  <a:cubicBezTo>
                    <a:pt x="799162" y="89050"/>
                    <a:pt x="796817" y="92398"/>
                    <a:pt x="794228" y="95328"/>
                  </a:cubicBezTo>
                  <a:cubicBezTo>
                    <a:pt x="793091" y="93793"/>
                    <a:pt x="791912" y="92712"/>
                    <a:pt x="790692" y="92084"/>
                  </a:cubicBezTo>
                  <a:cubicBezTo>
                    <a:pt x="793118" y="89294"/>
                    <a:pt x="795323" y="86155"/>
                    <a:pt x="797309" y="82666"/>
                  </a:cubicBezTo>
                  <a:cubicBezTo>
                    <a:pt x="799026" y="79527"/>
                    <a:pt x="800539" y="76144"/>
                    <a:pt x="801850" y="72516"/>
                  </a:cubicBezTo>
                  <a:cubicBezTo>
                    <a:pt x="803009" y="69377"/>
                    <a:pt x="804028" y="66029"/>
                    <a:pt x="804908" y="62471"/>
                  </a:cubicBezTo>
                  <a:cubicBezTo>
                    <a:pt x="805589" y="59680"/>
                    <a:pt x="806206" y="56646"/>
                    <a:pt x="806760" y="53367"/>
                  </a:cubicBezTo>
                  <a:cubicBezTo>
                    <a:pt x="807549" y="48693"/>
                    <a:pt x="808339" y="44019"/>
                    <a:pt x="809129" y="39345"/>
                  </a:cubicBezTo>
                  <a:cubicBezTo>
                    <a:pt x="825741" y="39345"/>
                    <a:pt x="842354" y="39345"/>
                    <a:pt x="858967" y="39345"/>
                  </a:cubicBezTo>
                  <a:cubicBezTo>
                    <a:pt x="863551" y="33694"/>
                    <a:pt x="867624" y="27556"/>
                    <a:pt x="871187" y="20928"/>
                  </a:cubicBezTo>
                  <a:close/>
                  <a:moveTo>
                    <a:pt x="831157" y="20510"/>
                  </a:moveTo>
                  <a:cubicBezTo>
                    <a:pt x="834669" y="26160"/>
                    <a:pt x="836956" y="31218"/>
                    <a:pt x="838017" y="35683"/>
                  </a:cubicBezTo>
                  <a:cubicBezTo>
                    <a:pt x="836439" y="36345"/>
                    <a:pt x="834861" y="37008"/>
                    <a:pt x="833284" y="37671"/>
                  </a:cubicBezTo>
                  <a:cubicBezTo>
                    <a:pt x="832188" y="32997"/>
                    <a:pt x="829989" y="27835"/>
                    <a:pt x="826686" y="22184"/>
                  </a:cubicBezTo>
                  <a:cubicBezTo>
                    <a:pt x="828176" y="21626"/>
                    <a:pt x="829666" y="21068"/>
                    <a:pt x="831157" y="20510"/>
                  </a:cubicBezTo>
                  <a:close/>
                  <a:moveTo>
                    <a:pt x="1017232" y="19777"/>
                  </a:moveTo>
                  <a:cubicBezTo>
                    <a:pt x="1018558" y="19986"/>
                    <a:pt x="1019884" y="20196"/>
                    <a:pt x="1021209" y="20405"/>
                  </a:cubicBezTo>
                  <a:cubicBezTo>
                    <a:pt x="1020071" y="25079"/>
                    <a:pt x="1018688" y="29753"/>
                    <a:pt x="1017061" y="34427"/>
                  </a:cubicBezTo>
                  <a:cubicBezTo>
                    <a:pt x="1015083" y="39938"/>
                    <a:pt x="1013107" y="44403"/>
                    <a:pt x="1011134" y="47821"/>
                  </a:cubicBezTo>
                  <a:cubicBezTo>
                    <a:pt x="1009821" y="47333"/>
                    <a:pt x="1008507" y="46844"/>
                    <a:pt x="1007193" y="46356"/>
                  </a:cubicBezTo>
                  <a:cubicBezTo>
                    <a:pt x="1009131" y="43147"/>
                    <a:pt x="1011037" y="38892"/>
                    <a:pt x="1012910" y="33590"/>
                  </a:cubicBezTo>
                  <a:cubicBezTo>
                    <a:pt x="1014583" y="29055"/>
                    <a:pt x="1016024" y="24451"/>
                    <a:pt x="1017232" y="19777"/>
                  </a:cubicBezTo>
                  <a:close/>
                  <a:moveTo>
                    <a:pt x="327443" y="18417"/>
                  </a:moveTo>
                  <a:cubicBezTo>
                    <a:pt x="331250" y="28114"/>
                    <a:pt x="333471" y="36450"/>
                    <a:pt x="334108" y="43426"/>
                  </a:cubicBezTo>
                  <a:cubicBezTo>
                    <a:pt x="332437" y="44019"/>
                    <a:pt x="330766" y="44612"/>
                    <a:pt x="329096" y="45205"/>
                  </a:cubicBezTo>
                  <a:cubicBezTo>
                    <a:pt x="328460" y="37810"/>
                    <a:pt x="326367" y="29334"/>
                    <a:pt x="322816" y="19777"/>
                  </a:cubicBezTo>
                  <a:cubicBezTo>
                    <a:pt x="324358" y="19324"/>
                    <a:pt x="325901" y="18870"/>
                    <a:pt x="327443" y="18417"/>
                  </a:cubicBezTo>
                  <a:close/>
                  <a:moveTo>
                    <a:pt x="384403" y="17789"/>
                  </a:moveTo>
                  <a:cubicBezTo>
                    <a:pt x="386047" y="18382"/>
                    <a:pt x="387692" y="18975"/>
                    <a:pt x="389337" y="19568"/>
                  </a:cubicBezTo>
                  <a:cubicBezTo>
                    <a:pt x="387872" y="21835"/>
                    <a:pt x="386407" y="24102"/>
                    <a:pt x="384943" y="26370"/>
                  </a:cubicBezTo>
                  <a:cubicBezTo>
                    <a:pt x="383332" y="28881"/>
                    <a:pt x="381785" y="31218"/>
                    <a:pt x="380303" y="33381"/>
                  </a:cubicBezTo>
                  <a:cubicBezTo>
                    <a:pt x="376685" y="38682"/>
                    <a:pt x="373646" y="42833"/>
                    <a:pt x="371185" y="45833"/>
                  </a:cubicBezTo>
                  <a:cubicBezTo>
                    <a:pt x="369842" y="45310"/>
                    <a:pt x="368500" y="44786"/>
                    <a:pt x="367157" y="44263"/>
                  </a:cubicBezTo>
                  <a:cubicBezTo>
                    <a:pt x="369817" y="40915"/>
                    <a:pt x="372845" y="36624"/>
                    <a:pt x="376241" y="31392"/>
                  </a:cubicBezTo>
                  <a:cubicBezTo>
                    <a:pt x="379451" y="26439"/>
                    <a:pt x="382172" y="21905"/>
                    <a:pt x="384403" y="17789"/>
                  </a:cubicBezTo>
                  <a:close/>
                  <a:moveTo>
                    <a:pt x="1038703" y="16638"/>
                  </a:moveTo>
                  <a:cubicBezTo>
                    <a:pt x="1041131" y="23754"/>
                    <a:pt x="1042536" y="30102"/>
                    <a:pt x="1042920" y="35683"/>
                  </a:cubicBezTo>
                  <a:cubicBezTo>
                    <a:pt x="1041441" y="36380"/>
                    <a:pt x="1039962" y="37078"/>
                    <a:pt x="1038483" y="37775"/>
                  </a:cubicBezTo>
                  <a:cubicBezTo>
                    <a:pt x="1038135" y="31985"/>
                    <a:pt x="1036869" y="25428"/>
                    <a:pt x="1034686" y="18103"/>
                  </a:cubicBezTo>
                  <a:cubicBezTo>
                    <a:pt x="1036025" y="17615"/>
                    <a:pt x="1037364" y="17126"/>
                    <a:pt x="1038703" y="16638"/>
                  </a:cubicBezTo>
                  <a:close/>
                  <a:moveTo>
                    <a:pt x="248796" y="16533"/>
                  </a:moveTo>
                  <a:cubicBezTo>
                    <a:pt x="246809" y="20858"/>
                    <a:pt x="244741" y="25253"/>
                    <a:pt x="242591" y="29718"/>
                  </a:cubicBezTo>
                  <a:cubicBezTo>
                    <a:pt x="240756" y="33555"/>
                    <a:pt x="238594" y="37880"/>
                    <a:pt x="236106" y="42694"/>
                  </a:cubicBezTo>
                  <a:cubicBezTo>
                    <a:pt x="233758" y="47298"/>
                    <a:pt x="231409" y="51902"/>
                    <a:pt x="229061" y="56506"/>
                  </a:cubicBezTo>
                  <a:cubicBezTo>
                    <a:pt x="237856" y="56506"/>
                    <a:pt x="246651" y="56506"/>
                    <a:pt x="255446" y="56506"/>
                  </a:cubicBezTo>
                  <a:cubicBezTo>
                    <a:pt x="254688" y="51902"/>
                    <a:pt x="253930" y="47298"/>
                    <a:pt x="253172" y="42694"/>
                  </a:cubicBezTo>
                  <a:cubicBezTo>
                    <a:pt x="252414" y="38508"/>
                    <a:pt x="251713" y="34183"/>
                    <a:pt x="251071" y="29718"/>
                  </a:cubicBezTo>
                  <a:cubicBezTo>
                    <a:pt x="250463" y="25881"/>
                    <a:pt x="249844" y="21486"/>
                    <a:pt x="249215" y="16533"/>
                  </a:cubicBezTo>
                  <a:cubicBezTo>
                    <a:pt x="249075" y="16533"/>
                    <a:pt x="248936" y="16533"/>
                    <a:pt x="248796" y="16533"/>
                  </a:cubicBezTo>
                  <a:close/>
                  <a:moveTo>
                    <a:pt x="173996" y="11824"/>
                  </a:moveTo>
                  <a:cubicBezTo>
                    <a:pt x="173080" y="16010"/>
                    <a:pt x="172275" y="19533"/>
                    <a:pt x="171583" y="22393"/>
                  </a:cubicBezTo>
                  <a:cubicBezTo>
                    <a:pt x="170773" y="25742"/>
                    <a:pt x="169963" y="29090"/>
                    <a:pt x="169153" y="32439"/>
                  </a:cubicBezTo>
                  <a:cubicBezTo>
                    <a:pt x="170948" y="47019"/>
                    <a:pt x="174796" y="59366"/>
                    <a:pt x="180696" y="69482"/>
                  </a:cubicBezTo>
                  <a:cubicBezTo>
                    <a:pt x="188287" y="61320"/>
                    <a:pt x="194351" y="51867"/>
                    <a:pt x="198888" y="41124"/>
                  </a:cubicBezTo>
                  <a:cubicBezTo>
                    <a:pt x="192780" y="41124"/>
                    <a:pt x="186672" y="41124"/>
                    <a:pt x="180565" y="41124"/>
                  </a:cubicBezTo>
                  <a:cubicBezTo>
                    <a:pt x="182492" y="37566"/>
                    <a:pt x="184729" y="32997"/>
                    <a:pt x="187278" y="27416"/>
                  </a:cubicBezTo>
                  <a:cubicBezTo>
                    <a:pt x="189673" y="22323"/>
                    <a:pt x="192017" y="17126"/>
                    <a:pt x="194309" y="11824"/>
                  </a:cubicBezTo>
                  <a:cubicBezTo>
                    <a:pt x="187538" y="11824"/>
                    <a:pt x="180767" y="11824"/>
                    <a:pt x="173996" y="11824"/>
                  </a:cubicBezTo>
                  <a:close/>
                  <a:moveTo>
                    <a:pt x="287491" y="10883"/>
                  </a:moveTo>
                  <a:cubicBezTo>
                    <a:pt x="289585" y="10883"/>
                    <a:pt x="291679" y="10883"/>
                    <a:pt x="293773" y="10883"/>
                  </a:cubicBezTo>
                  <a:cubicBezTo>
                    <a:pt x="289478" y="36310"/>
                    <a:pt x="285183" y="61738"/>
                    <a:pt x="280888" y="87166"/>
                  </a:cubicBezTo>
                  <a:cubicBezTo>
                    <a:pt x="278794" y="87166"/>
                    <a:pt x="276700" y="87166"/>
                    <a:pt x="274606" y="87166"/>
                  </a:cubicBezTo>
                  <a:cubicBezTo>
                    <a:pt x="278901" y="61738"/>
                    <a:pt x="283196" y="36310"/>
                    <a:pt x="287491" y="10883"/>
                  </a:cubicBezTo>
                  <a:close/>
                  <a:moveTo>
                    <a:pt x="246819" y="10883"/>
                  </a:moveTo>
                  <a:cubicBezTo>
                    <a:pt x="248983" y="10883"/>
                    <a:pt x="251147" y="10883"/>
                    <a:pt x="253311" y="10883"/>
                  </a:cubicBezTo>
                  <a:cubicBezTo>
                    <a:pt x="257915" y="36310"/>
                    <a:pt x="262520" y="61738"/>
                    <a:pt x="267125" y="87166"/>
                  </a:cubicBezTo>
                  <a:cubicBezTo>
                    <a:pt x="264891" y="87166"/>
                    <a:pt x="262657" y="87166"/>
                    <a:pt x="260424" y="87166"/>
                  </a:cubicBezTo>
                  <a:cubicBezTo>
                    <a:pt x="259040" y="78620"/>
                    <a:pt x="257657" y="70075"/>
                    <a:pt x="256273" y="61529"/>
                  </a:cubicBezTo>
                  <a:cubicBezTo>
                    <a:pt x="246361" y="61529"/>
                    <a:pt x="236449" y="61529"/>
                    <a:pt x="226538" y="61529"/>
                  </a:cubicBezTo>
                  <a:cubicBezTo>
                    <a:pt x="222197" y="70075"/>
                    <a:pt x="217857" y="78620"/>
                    <a:pt x="213517" y="87166"/>
                  </a:cubicBezTo>
                  <a:cubicBezTo>
                    <a:pt x="211423" y="87166"/>
                    <a:pt x="209329" y="87166"/>
                    <a:pt x="207235" y="87166"/>
                  </a:cubicBezTo>
                  <a:cubicBezTo>
                    <a:pt x="220429" y="61738"/>
                    <a:pt x="233624" y="36310"/>
                    <a:pt x="246819" y="10883"/>
                  </a:cubicBezTo>
                  <a:close/>
                  <a:moveTo>
                    <a:pt x="316944" y="7430"/>
                  </a:moveTo>
                  <a:cubicBezTo>
                    <a:pt x="344167" y="7430"/>
                    <a:pt x="371389" y="7430"/>
                    <a:pt x="398612" y="7430"/>
                  </a:cubicBezTo>
                  <a:cubicBezTo>
                    <a:pt x="398335" y="9069"/>
                    <a:pt x="398058" y="10708"/>
                    <a:pt x="397781" y="12348"/>
                  </a:cubicBezTo>
                  <a:cubicBezTo>
                    <a:pt x="384973" y="12348"/>
                    <a:pt x="372164" y="12348"/>
                    <a:pt x="359355" y="12348"/>
                  </a:cubicBezTo>
                  <a:cubicBezTo>
                    <a:pt x="357140" y="25463"/>
                    <a:pt x="354925" y="38578"/>
                    <a:pt x="352709" y="51693"/>
                  </a:cubicBezTo>
                  <a:cubicBezTo>
                    <a:pt x="367438" y="51693"/>
                    <a:pt x="382166" y="51693"/>
                    <a:pt x="396894" y="51693"/>
                  </a:cubicBezTo>
                  <a:cubicBezTo>
                    <a:pt x="396611" y="53367"/>
                    <a:pt x="396328" y="55041"/>
                    <a:pt x="396046" y="56715"/>
                  </a:cubicBezTo>
                  <a:cubicBezTo>
                    <a:pt x="381317" y="56715"/>
                    <a:pt x="366589" y="56715"/>
                    <a:pt x="351861" y="56715"/>
                  </a:cubicBezTo>
                  <a:cubicBezTo>
                    <a:pt x="349716" y="69412"/>
                    <a:pt x="347572" y="82108"/>
                    <a:pt x="345427" y="94805"/>
                  </a:cubicBezTo>
                  <a:cubicBezTo>
                    <a:pt x="343752" y="94805"/>
                    <a:pt x="342077" y="94805"/>
                    <a:pt x="340401" y="94805"/>
                  </a:cubicBezTo>
                  <a:cubicBezTo>
                    <a:pt x="342546" y="82108"/>
                    <a:pt x="344691" y="69412"/>
                    <a:pt x="346835" y="56715"/>
                  </a:cubicBezTo>
                  <a:cubicBezTo>
                    <a:pt x="332317" y="56715"/>
                    <a:pt x="317798" y="56715"/>
                    <a:pt x="303279" y="56715"/>
                  </a:cubicBezTo>
                  <a:cubicBezTo>
                    <a:pt x="303562" y="55041"/>
                    <a:pt x="303845" y="53367"/>
                    <a:pt x="304127" y="51693"/>
                  </a:cubicBezTo>
                  <a:cubicBezTo>
                    <a:pt x="318646" y="51693"/>
                    <a:pt x="333165" y="51693"/>
                    <a:pt x="347684" y="51693"/>
                  </a:cubicBezTo>
                  <a:cubicBezTo>
                    <a:pt x="349899" y="38578"/>
                    <a:pt x="352114" y="25463"/>
                    <a:pt x="354330" y="12348"/>
                  </a:cubicBezTo>
                  <a:cubicBezTo>
                    <a:pt x="341591" y="12348"/>
                    <a:pt x="328852" y="12348"/>
                    <a:pt x="316113" y="12348"/>
                  </a:cubicBezTo>
                  <a:cubicBezTo>
                    <a:pt x="316390" y="10708"/>
                    <a:pt x="316667" y="9069"/>
                    <a:pt x="316944" y="7430"/>
                  </a:cubicBezTo>
                  <a:close/>
                  <a:moveTo>
                    <a:pt x="917879" y="7325"/>
                  </a:moveTo>
                  <a:cubicBezTo>
                    <a:pt x="944578" y="7325"/>
                    <a:pt x="971277" y="7325"/>
                    <a:pt x="997976" y="7325"/>
                  </a:cubicBezTo>
                  <a:cubicBezTo>
                    <a:pt x="997699" y="8964"/>
                    <a:pt x="997422" y="10604"/>
                    <a:pt x="997145" y="12243"/>
                  </a:cubicBezTo>
                  <a:cubicBezTo>
                    <a:pt x="983988" y="12243"/>
                    <a:pt x="970830" y="12243"/>
                    <a:pt x="957673" y="12243"/>
                  </a:cubicBezTo>
                  <a:cubicBezTo>
                    <a:pt x="957167" y="14824"/>
                    <a:pt x="956703" y="16952"/>
                    <a:pt x="956280" y="18626"/>
                  </a:cubicBezTo>
                  <a:cubicBezTo>
                    <a:pt x="955810" y="20998"/>
                    <a:pt x="955334" y="23195"/>
                    <a:pt x="954853" y="25219"/>
                  </a:cubicBezTo>
                  <a:cubicBezTo>
                    <a:pt x="953585" y="30241"/>
                    <a:pt x="952261" y="34776"/>
                    <a:pt x="950880" y="38822"/>
                  </a:cubicBezTo>
                  <a:cubicBezTo>
                    <a:pt x="966829" y="38822"/>
                    <a:pt x="982779" y="38822"/>
                    <a:pt x="998729" y="38822"/>
                  </a:cubicBezTo>
                  <a:cubicBezTo>
                    <a:pt x="998452" y="40461"/>
                    <a:pt x="998175" y="42101"/>
                    <a:pt x="997898" y="43740"/>
                  </a:cubicBezTo>
                  <a:cubicBezTo>
                    <a:pt x="984636" y="43740"/>
                    <a:pt x="971373" y="43740"/>
                    <a:pt x="958111" y="43740"/>
                  </a:cubicBezTo>
                  <a:cubicBezTo>
                    <a:pt x="955896" y="56855"/>
                    <a:pt x="953680" y="69970"/>
                    <a:pt x="951465" y="83085"/>
                  </a:cubicBezTo>
                  <a:cubicBezTo>
                    <a:pt x="950958" y="86085"/>
                    <a:pt x="953113" y="87585"/>
                    <a:pt x="957929" y="87585"/>
                  </a:cubicBezTo>
                  <a:cubicBezTo>
                    <a:pt x="965049" y="87585"/>
                    <a:pt x="972169" y="87585"/>
                    <a:pt x="979289" y="87585"/>
                  </a:cubicBezTo>
                  <a:cubicBezTo>
                    <a:pt x="982151" y="87585"/>
                    <a:pt x="984177" y="86538"/>
                    <a:pt x="985368" y="84445"/>
                  </a:cubicBezTo>
                  <a:cubicBezTo>
                    <a:pt x="986478" y="82422"/>
                    <a:pt x="987803" y="77679"/>
                    <a:pt x="989343" y="70214"/>
                  </a:cubicBezTo>
                  <a:cubicBezTo>
                    <a:pt x="990643" y="71191"/>
                    <a:pt x="992166" y="71888"/>
                    <a:pt x="993910" y="72307"/>
                  </a:cubicBezTo>
                  <a:cubicBezTo>
                    <a:pt x="992101" y="80539"/>
                    <a:pt x="990286" y="85910"/>
                    <a:pt x="988466" y="88422"/>
                  </a:cubicBezTo>
                  <a:cubicBezTo>
                    <a:pt x="986541" y="91142"/>
                    <a:pt x="983309" y="92503"/>
                    <a:pt x="978772" y="92503"/>
                  </a:cubicBezTo>
                  <a:cubicBezTo>
                    <a:pt x="971478" y="92503"/>
                    <a:pt x="964184" y="92503"/>
                    <a:pt x="956889" y="92503"/>
                  </a:cubicBezTo>
                  <a:cubicBezTo>
                    <a:pt x="952143" y="92503"/>
                    <a:pt x="949079" y="91840"/>
                    <a:pt x="947697" y="90515"/>
                  </a:cubicBezTo>
                  <a:cubicBezTo>
                    <a:pt x="946234" y="89259"/>
                    <a:pt x="945821" y="86747"/>
                    <a:pt x="946457" y="82980"/>
                  </a:cubicBezTo>
                  <a:cubicBezTo>
                    <a:pt x="948666" y="69900"/>
                    <a:pt x="950876" y="56820"/>
                    <a:pt x="953085" y="43740"/>
                  </a:cubicBezTo>
                  <a:cubicBezTo>
                    <a:pt x="951794" y="43740"/>
                    <a:pt x="950503" y="43740"/>
                    <a:pt x="949211" y="43740"/>
                  </a:cubicBezTo>
                  <a:cubicBezTo>
                    <a:pt x="947163" y="49251"/>
                    <a:pt x="944803" y="54344"/>
                    <a:pt x="942128" y="59018"/>
                  </a:cubicBezTo>
                  <a:cubicBezTo>
                    <a:pt x="939162" y="64180"/>
                    <a:pt x="935749" y="68889"/>
                    <a:pt x="931890" y="73144"/>
                  </a:cubicBezTo>
                  <a:cubicBezTo>
                    <a:pt x="927692" y="77748"/>
                    <a:pt x="922989" y="81829"/>
                    <a:pt x="917781" y="85387"/>
                  </a:cubicBezTo>
                  <a:cubicBezTo>
                    <a:pt x="912037" y="89224"/>
                    <a:pt x="905701" y="92433"/>
                    <a:pt x="898774" y="95014"/>
                  </a:cubicBezTo>
                  <a:cubicBezTo>
                    <a:pt x="898138" y="93410"/>
                    <a:pt x="897216" y="92049"/>
                    <a:pt x="896008" y="90933"/>
                  </a:cubicBezTo>
                  <a:cubicBezTo>
                    <a:pt x="902609" y="88631"/>
                    <a:pt x="908619" y="85701"/>
                    <a:pt x="914036" y="82143"/>
                  </a:cubicBezTo>
                  <a:cubicBezTo>
                    <a:pt x="919045" y="78934"/>
                    <a:pt x="923550" y="75202"/>
                    <a:pt x="927549" y="70947"/>
                  </a:cubicBezTo>
                  <a:cubicBezTo>
                    <a:pt x="931211" y="67040"/>
                    <a:pt x="934495" y="62680"/>
                    <a:pt x="937402" y="57867"/>
                  </a:cubicBezTo>
                  <a:cubicBezTo>
                    <a:pt x="939935" y="53611"/>
                    <a:pt x="942232" y="48902"/>
                    <a:pt x="944290" y="43740"/>
                  </a:cubicBezTo>
                  <a:cubicBezTo>
                    <a:pt x="931237" y="43740"/>
                    <a:pt x="918184" y="43740"/>
                    <a:pt x="905131" y="43740"/>
                  </a:cubicBezTo>
                  <a:cubicBezTo>
                    <a:pt x="905408" y="42101"/>
                    <a:pt x="905685" y="40461"/>
                    <a:pt x="905962" y="38822"/>
                  </a:cubicBezTo>
                  <a:cubicBezTo>
                    <a:pt x="919294" y="38822"/>
                    <a:pt x="932626" y="38822"/>
                    <a:pt x="945959" y="38822"/>
                  </a:cubicBezTo>
                  <a:cubicBezTo>
                    <a:pt x="947422" y="34706"/>
                    <a:pt x="948746" y="30172"/>
                    <a:pt x="949932" y="25219"/>
                  </a:cubicBezTo>
                  <a:cubicBezTo>
                    <a:pt x="950442" y="23021"/>
                    <a:pt x="950953" y="20824"/>
                    <a:pt x="951464" y="18626"/>
                  </a:cubicBezTo>
                  <a:cubicBezTo>
                    <a:pt x="951893" y="16498"/>
                    <a:pt x="952322" y="14371"/>
                    <a:pt x="952752" y="12243"/>
                  </a:cubicBezTo>
                  <a:cubicBezTo>
                    <a:pt x="940850" y="12243"/>
                    <a:pt x="928949" y="12243"/>
                    <a:pt x="917048" y="12243"/>
                  </a:cubicBezTo>
                  <a:cubicBezTo>
                    <a:pt x="917325" y="10604"/>
                    <a:pt x="917602" y="8964"/>
                    <a:pt x="917879" y="7325"/>
                  </a:cubicBezTo>
                  <a:close/>
                  <a:moveTo>
                    <a:pt x="157010" y="7011"/>
                  </a:moveTo>
                  <a:cubicBezTo>
                    <a:pt x="171878" y="7011"/>
                    <a:pt x="186746" y="7011"/>
                    <a:pt x="201613" y="7011"/>
                  </a:cubicBezTo>
                  <a:cubicBezTo>
                    <a:pt x="200503" y="9453"/>
                    <a:pt x="199392" y="11894"/>
                    <a:pt x="198282" y="14336"/>
                  </a:cubicBezTo>
                  <a:cubicBezTo>
                    <a:pt x="196973" y="17126"/>
                    <a:pt x="195810" y="19673"/>
                    <a:pt x="194793" y="21975"/>
                  </a:cubicBezTo>
                  <a:cubicBezTo>
                    <a:pt x="192058" y="27835"/>
                    <a:pt x="189744" y="32648"/>
                    <a:pt x="187852" y="36415"/>
                  </a:cubicBezTo>
                  <a:cubicBezTo>
                    <a:pt x="192424" y="36415"/>
                    <a:pt x="196996" y="36415"/>
                    <a:pt x="201568" y="36415"/>
                  </a:cubicBezTo>
                  <a:cubicBezTo>
                    <a:pt x="201928" y="36345"/>
                    <a:pt x="202289" y="36276"/>
                    <a:pt x="202650" y="36206"/>
                  </a:cubicBezTo>
                  <a:cubicBezTo>
                    <a:pt x="203580" y="36694"/>
                    <a:pt x="204509" y="37182"/>
                    <a:pt x="205439" y="37671"/>
                  </a:cubicBezTo>
                  <a:cubicBezTo>
                    <a:pt x="202620" y="44856"/>
                    <a:pt x="199296" y="51518"/>
                    <a:pt x="195467" y="57657"/>
                  </a:cubicBezTo>
                  <a:cubicBezTo>
                    <a:pt x="191778" y="63378"/>
                    <a:pt x="187637" y="68679"/>
                    <a:pt x="183043" y="73563"/>
                  </a:cubicBezTo>
                  <a:cubicBezTo>
                    <a:pt x="188098" y="81236"/>
                    <a:pt x="194188" y="86922"/>
                    <a:pt x="201312" y="90619"/>
                  </a:cubicBezTo>
                  <a:cubicBezTo>
                    <a:pt x="199972" y="91526"/>
                    <a:pt x="198549" y="92921"/>
                    <a:pt x="197045" y="94805"/>
                  </a:cubicBezTo>
                  <a:cubicBezTo>
                    <a:pt x="190224" y="90968"/>
                    <a:pt x="184263" y="85143"/>
                    <a:pt x="179161" y="77330"/>
                  </a:cubicBezTo>
                  <a:cubicBezTo>
                    <a:pt x="170896" y="84934"/>
                    <a:pt x="161873" y="90828"/>
                    <a:pt x="152092" y="95014"/>
                  </a:cubicBezTo>
                  <a:cubicBezTo>
                    <a:pt x="151316" y="93410"/>
                    <a:pt x="150318" y="92084"/>
                    <a:pt x="149099" y="91038"/>
                  </a:cubicBezTo>
                  <a:cubicBezTo>
                    <a:pt x="159497" y="86922"/>
                    <a:pt x="168688" y="81062"/>
                    <a:pt x="176673" y="73458"/>
                  </a:cubicBezTo>
                  <a:cubicBezTo>
                    <a:pt x="171957" y="65017"/>
                    <a:pt x="168436" y="55076"/>
                    <a:pt x="166110" y="43635"/>
                  </a:cubicBezTo>
                  <a:cubicBezTo>
                    <a:pt x="162968" y="54797"/>
                    <a:pt x="159475" y="64319"/>
                    <a:pt x="155631" y="72202"/>
                  </a:cubicBezTo>
                  <a:cubicBezTo>
                    <a:pt x="151284" y="80992"/>
                    <a:pt x="146202" y="88561"/>
                    <a:pt x="140383" y="94909"/>
                  </a:cubicBezTo>
                  <a:cubicBezTo>
                    <a:pt x="140209" y="94700"/>
                    <a:pt x="139936" y="94456"/>
                    <a:pt x="139564" y="94177"/>
                  </a:cubicBezTo>
                  <a:cubicBezTo>
                    <a:pt x="138856" y="93619"/>
                    <a:pt x="138147" y="93061"/>
                    <a:pt x="137439" y="92503"/>
                  </a:cubicBezTo>
                  <a:cubicBezTo>
                    <a:pt x="136939" y="92154"/>
                    <a:pt x="136632" y="91910"/>
                    <a:pt x="136516" y="91770"/>
                  </a:cubicBezTo>
                  <a:cubicBezTo>
                    <a:pt x="140724" y="87515"/>
                    <a:pt x="144499" y="82527"/>
                    <a:pt x="147838" y="76807"/>
                  </a:cubicBezTo>
                  <a:cubicBezTo>
                    <a:pt x="150979" y="71435"/>
                    <a:pt x="153872" y="65261"/>
                    <a:pt x="156516" y="58285"/>
                  </a:cubicBezTo>
                  <a:cubicBezTo>
                    <a:pt x="158833" y="52007"/>
                    <a:pt x="161070" y="44752"/>
                    <a:pt x="163229" y="36520"/>
                  </a:cubicBezTo>
                  <a:cubicBezTo>
                    <a:pt x="164202" y="32822"/>
                    <a:pt x="165159" y="28811"/>
                    <a:pt x="166099" y="24486"/>
                  </a:cubicBezTo>
                  <a:cubicBezTo>
                    <a:pt x="167026" y="20649"/>
                    <a:pt x="167949" y="16429"/>
                    <a:pt x="168866" y="11824"/>
                  </a:cubicBezTo>
                  <a:cubicBezTo>
                    <a:pt x="164643" y="11824"/>
                    <a:pt x="160420" y="11824"/>
                    <a:pt x="156197" y="11824"/>
                  </a:cubicBezTo>
                  <a:cubicBezTo>
                    <a:pt x="156468" y="10220"/>
                    <a:pt x="156739" y="8615"/>
                    <a:pt x="157010" y="7011"/>
                  </a:cubicBezTo>
                  <a:close/>
                  <a:moveTo>
                    <a:pt x="62015" y="4709"/>
                  </a:moveTo>
                  <a:cubicBezTo>
                    <a:pt x="77197" y="4709"/>
                    <a:pt x="92379" y="4709"/>
                    <a:pt x="107560" y="4709"/>
                  </a:cubicBezTo>
                  <a:cubicBezTo>
                    <a:pt x="107507" y="5023"/>
                    <a:pt x="107454" y="5337"/>
                    <a:pt x="107401" y="5651"/>
                  </a:cubicBezTo>
                  <a:cubicBezTo>
                    <a:pt x="107283" y="6348"/>
                    <a:pt x="107160" y="6871"/>
                    <a:pt x="107031" y="7220"/>
                  </a:cubicBezTo>
                  <a:cubicBezTo>
                    <a:pt x="104812" y="17057"/>
                    <a:pt x="103069" y="24067"/>
                    <a:pt x="101803" y="28253"/>
                  </a:cubicBezTo>
                  <a:cubicBezTo>
                    <a:pt x="100456" y="32509"/>
                    <a:pt x="99124" y="35229"/>
                    <a:pt x="97807" y="36415"/>
                  </a:cubicBezTo>
                  <a:cubicBezTo>
                    <a:pt x="96176" y="37810"/>
                    <a:pt x="94208" y="38508"/>
                    <a:pt x="91905" y="38508"/>
                  </a:cubicBezTo>
                  <a:cubicBezTo>
                    <a:pt x="89566" y="38717"/>
                    <a:pt x="85808" y="38647"/>
                    <a:pt x="80632" y="38299"/>
                  </a:cubicBezTo>
                  <a:cubicBezTo>
                    <a:pt x="80752" y="36764"/>
                    <a:pt x="80551" y="35264"/>
                    <a:pt x="80031" y="33799"/>
                  </a:cubicBezTo>
                  <a:cubicBezTo>
                    <a:pt x="82090" y="34008"/>
                    <a:pt x="84300" y="34148"/>
                    <a:pt x="86661" y="34218"/>
                  </a:cubicBezTo>
                  <a:cubicBezTo>
                    <a:pt x="87417" y="34287"/>
                    <a:pt x="88214" y="34322"/>
                    <a:pt x="89052" y="34322"/>
                  </a:cubicBezTo>
                  <a:cubicBezTo>
                    <a:pt x="89610" y="34322"/>
                    <a:pt x="90168" y="34322"/>
                    <a:pt x="90727" y="34322"/>
                  </a:cubicBezTo>
                  <a:cubicBezTo>
                    <a:pt x="92472" y="34322"/>
                    <a:pt x="93642" y="34008"/>
                    <a:pt x="94236" y="33381"/>
                  </a:cubicBezTo>
                  <a:cubicBezTo>
                    <a:pt x="95215" y="32543"/>
                    <a:pt x="96250" y="30346"/>
                    <a:pt x="97339" y="26788"/>
                  </a:cubicBezTo>
                  <a:cubicBezTo>
                    <a:pt x="98522" y="23091"/>
                    <a:pt x="99995" y="17266"/>
                    <a:pt x="101757" y="9313"/>
                  </a:cubicBezTo>
                  <a:cubicBezTo>
                    <a:pt x="95405" y="9313"/>
                    <a:pt x="89053" y="9313"/>
                    <a:pt x="82701" y="9313"/>
                  </a:cubicBezTo>
                  <a:cubicBezTo>
                    <a:pt x="78479" y="25219"/>
                    <a:pt x="69648" y="36590"/>
                    <a:pt x="56208" y="43426"/>
                  </a:cubicBezTo>
                  <a:cubicBezTo>
                    <a:pt x="55419" y="42310"/>
                    <a:pt x="54316" y="41194"/>
                    <a:pt x="52899" y="40078"/>
                  </a:cubicBezTo>
                  <a:lnTo>
                    <a:pt x="54584" y="37985"/>
                  </a:lnTo>
                  <a:lnTo>
                    <a:pt x="55347" y="37985"/>
                  </a:lnTo>
                  <a:lnTo>
                    <a:pt x="55549" y="36787"/>
                  </a:lnTo>
                  <a:lnTo>
                    <a:pt x="77675" y="9313"/>
                  </a:lnTo>
                  <a:cubicBezTo>
                    <a:pt x="72196" y="9313"/>
                    <a:pt x="66716" y="9313"/>
                    <a:pt x="61237" y="9313"/>
                  </a:cubicBezTo>
                  <a:cubicBezTo>
                    <a:pt x="61496" y="7778"/>
                    <a:pt x="61756" y="6244"/>
                    <a:pt x="62015" y="4709"/>
                  </a:cubicBezTo>
                  <a:close/>
                  <a:moveTo>
                    <a:pt x="1088605" y="3244"/>
                  </a:moveTo>
                  <a:cubicBezTo>
                    <a:pt x="1093968" y="8685"/>
                    <a:pt x="1098017" y="13848"/>
                    <a:pt x="1100752" y="18731"/>
                  </a:cubicBezTo>
                  <a:cubicBezTo>
                    <a:pt x="1099366" y="19707"/>
                    <a:pt x="1097979" y="20684"/>
                    <a:pt x="1096593" y="21661"/>
                  </a:cubicBezTo>
                  <a:cubicBezTo>
                    <a:pt x="1093719" y="16359"/>
                    <a:pt x="1089769" y="11022"/>
                    <a:pt x="1084743" y="5651"/>
                  </a:cubicBezTo>
                  <a:cubicBezTo>
                    <a:pt x="1086031" y="4848"/>
                    <a:pt x="1087318" y="4046"/>
                    <a:pt x="1088605" y="3244"/>
                  </a:cubicBezTo>
                  <a:close/>
                  <a:moveTo>
                    <a:pt x="611024" y="2197"/>
                  </a:moveTo>
                  <a:cubicBezTo>
                    <a:pt x="616525" y="8057"/>
                    <a:pt x="620889" y="13220"/>
                    <a:pt x="624113" y="17684"/>
                  </a:cubicBezTo>
                  <a:cubicBezTo>
                    <a:pt x="622772" y="19010"/>
                    <a:pt x="621432" y="20335"/>
                    <a:pt x="620091" y="21661"/>
                  </a:cubicBezTo>
                  <a:cubicBezTo>
                    <a:pt x="618827" y="19638"/>
                    <a:pt x="616896" y="17022"/>
                    <a:pt x="614297" y="13813"/>
                  </a:cubicBezTo>
                  <a:cubicBezTo>
                    <a:pt x="611988" y="10952"/>
                    <a:pt x="609632" y="8162"/>
                    <a:pt x="607230" y="5441"/>
                  </a:cubicBezTo>
                  <a:cubicBezTo>
                    <a:pt x="608495" y="4360"/>
                    <a:pt x="609759" y="3279"/>
                    <a:pt x="611024" y="2197"/>
                  </a:cubicBezTo>
                  <a:close/>
                  <a:moveTo>
                    <a:pt x="1069101" y="942"/>
                  </a:moveTo>
                  <a:cubicBezTo>
                    <a:pt x="1070741" y="942"/>
                    <a:pt x="1072381" y="942"/>
                    <a:pt x="1074021" y="942"/>
                  </a:cubicBezTo>
                  <a:cubicBezTo>
                    <a:pt x="1073657" y="2895"/>
                    <a:pt x="1073292" y="4848"/>
                    <a:pt x="1072927" y="6802"/>
                  </a:cubicBezTo>
                  <a:cubicBezTo>
                    <a:pt x="1072538" y="9104"/>
                    <a:pt x="1072161" y="11127"/>
                    <a:pt x="1071797" y="12871"/>
                  </a:cubicBezTo>
                  <a:cubicBezTo>
                    <a:pt x="1070880" y="17475"/>
                    <a:pt x="1070010" y="21591"/>
                    <a:pt x="1069188" y="25219"/>
                  </a:cubicBezTo>
                  <a:cubicBezTo>
                    <a:pt x="1081473" y="25219"/>
                    <a:pt x="1093758" y="25219"/>
                    <a:pt x="1106043" y="25219"/>
                  </a:cubicBezTo>
                  <a:cubicBezTo>
                    <a:pt x="1105766" y="26858"/>
                    <a:pt x="1105489" y="28497"/>
                    <a:pt x="1105213" y="30137"/>
                  </a:cubicBezTo>
                  <a:cubicBezTo>
                    <a:pt x="1092823" y="30137"/>
                    <a:pt x="1080433" y="30137"/>
                    <a:pt x="1068043" y="30137"/>
                  </a:cubicBezTo>
                  <a:cubicBezTo>
                    <a:pt x="1066423" y="36834"/>
                    <a:pt x="1064624" y="42938"/>
                    <a:pt x="1062647" y="48449"/>
                  </a:cubicBezTo>
                  <a:cubicBezTo>
                    <a:pt x="1060387" y="54797"/>
                    <a:pt x="1057845" y="60552"/>
                    <a:pt x="1055018" y="65715"/>
                  </a:cubicBezTo>
                  <a:cubicBezTo>
                    <a:pt x="1051888" y="71435"/>
                    <a:pt x="1048353" y="76458"/>
                    <a:pt x="1044411" y="80783"/>
                  </a:cubicBezTo>
                  <a:cubicBezTo>
                    <a:pt x="1040189" y="85527"/>
                    <a:pt x="1035463" y="89538"/>
                    <a:pt x="1030233" y="92817"/>
                  </a:cubicBezTo>
                  <a:cubicBezTo>
                    <a:pt x="1029154" y="91352"/>
                    <a:pt x="1028074" y="90305"/>
                    <a:pt x="1026994" y="89677"/>
                  </a:cubicBezTo>
                  <a:cubicBezTo>
                    <a:pt x="1031980" y="86608"/>
                    <a:pt x="1036525" y="82841"/>
                    <a:pt x="1040629" y="78376"/>
                  </a:cubicBezTo>
                  <a:cubicBezTo>
                    <a:pt x="1044326" y="74260"/>
                    <a:pt x="1047681" y="69482"/>
                    <a:pt x="1050694" y="64040"/>
                  </a:cubicBezTo>
                  <a:cubicBezTo>
                    <a:pt x="1053404" y="59157"/>
                    <a:pt x="1055829" y="53681"/>
                    <a:pt x="1057971" y="47612"/>
                  </a:cubicBezTo>
                  <a:cubicBezTo>
                    <a:pt x="1059902" y="42380"/>
                    <a:pt x="1061654" y="36555"/>
                    <a:pt x="1063227" y="30137"/>
                  </a:cubicBezTo>
                  <a:cubicBezTo>
                    <a:pt x="1057154" y="30137"/>
                    <a:pt x="1051081" y="30137"/>
                    <a:pt x="1045009" y="30137"/>
                  </a:cubicBezTo>
                  <a:cubicBezTo>
                    <a:pt x="1045285" y="28497"/>
                    <a:pt x="1045562" y="26858"/>
                    <a:pt x="1045839" y="25219"/>
                  </a:cubicBezTo>
                  <a:cubicBezTo>
                    <a:pt x="1052017" y="25219"/>
                    <a:pt x="1058194" y="25219"/>
                    <a:pt x="1064372" y="25219"/>
                  </a:cubicBezTo>
                  <a:cubicBezTo>
                    <a:pt x="1065217" y="21451"/>
                    <a:pt x="1066087" y="17336"/>
                    <a:pt x="1066981" y="12871"/>
                  </a:cubicBezTo>
                  <a:cubicBezTo>
                    <a:pt x="1067640" y="9383"/>
                    <a:pt x="1068346" y="5406"/>
                    <a:pt x="1069101" y="942"/>
                  </a:cubicBezTo>
                  <a:close/>
                  <a:moveTo>
                    <a:pt x="655159" y="628"/>
                  </a:moveTo>
                  <a:cubicBezTo>
                    <a:pt x="656869" y="628"/>
                    <a:pt x="658580" y="628"/>
                    <a:pt x="660290" y="628"/>
                  </a:cubicBezTo>
                  <a:cubicBezTo>
                    <a:pt x="658339" y="12173"/>
                    <a:pt x="656389" y="23719"/>
                    <a:pt x="654439" y="35264"/>
                  </a:cubicBezTo>
                  <a:cubicBezTo>
                    <a:pt x="662117" y="35264"/>
                    <a:pt x="669795" y="35264"/>
                    <a:pt x="677474" y="35264"/>
                  </a:cubicBezTo>
                  <a:cubicBezTo>
                    <a:pt x="677197" y="36903"/>
                    <a:pt x="676920" y="38543"/>
                    <a:pt x="676643" y="40182"/>
                  </a:cubicBezTo>
                  <a:cubicBezTo>
                    <a:pt x="668965" y="40182"/>
                    <a:pt x="661287" y="40182"/>
                    <a:pt x="653608" y="40182"/>
                  </a:cubicBezTo>
                  <a:cubicBezTo>
                    <a:pt x="651004" y="55599"/>
                    <a:pt x="648400" y="71016"/>
                    <a:pt x="645796" y="86434"/>
                  </a:cubicBezTo>
                  <a:cubicBezTo>
                    <a:pt x="656231" y="86434"/>
                    <a:pt x="666667" y="86434"/>
                    <a:pt x="677102" y="86434"/>
                  </a:cubicBezTo>
                  <a:cubicBezTo>
                    <a:pt x="676825" y="88073"/>
                    <a:pt x="676548" y="89712"/>
                    <a:pt x="676271" y="91352"/>
                  </a:cubicBezTo>
                  <a:cubicBezTo>
                    <a:pt x="655505" y="91352"/>
                    <a:pt x="634739" y="91352"/>
                    <a:pt x="613973" y="91352"/>
                  </a:cubicBezTo>
                  <a:cubicBezTo>
                    <a:pt x="614250" y="89712"/>
                    <a:pt x="614527" y="88073"/>
                    <a:pt x="614804" y="86434"/>
                  </a:cubicBezTo>
                  <a:cubicBezTo>
                    <a:pt x="623425" y="86434"/>
                    <a:pt x="632045" y="86434"/>
                    <a:pt x="640665" y="86434"/>
                  </a:cubicBezTo>
                  <a:cubicBezTo>
                    <a:pt x="645497" y="57832"/>
                    <a:pt x="650328" y="29230"/>
                    <a:pt x="655159" y="628"/>
                  </a:cubicBezTo>
                  <a:close/>
                  <a:moveTo>
                    <a:pt x="456650" y="419"/>
                  </a:moveTo>
                  <a:cubicBezTo>
                    <a:pt x="458161" y="1186"/>
                    <a:pt x="459671" y="1953"/>
                    <a:pt x="461182" y="2721"/>
                  </a:cubicBezTo>
                  <a:cubicBezTo>
                    <a:pt x="455282" y="9139"/>
                    <a:pt x="449458" y="15103"/>
                    <a:pt x="443711" y="20614"/>
                  </a:cubicBezTo>
                  <a:cubicBezTo>
                    <a:pt x="437567" y="26404"/>
                    <a:pt x="431716" y="31497"/>
                    <a:pt x="426157" y="35892"/>
                  </a:cubicBezTo>
                  <a:cubicBezTo>
                    <a:pt x="446367" y="34846"/>
                    <a:pt x="466577" y="33799"/>
                    <a:pt x="486787" y="32753"/>
                  </a:cubicBezTo>
                  <a:cubicBezTo>
                    <a:pt x="482275" y="26404"/>
                    <a:pt x="477541" y="20754"/>
                    <a:pt x="472584" y="15801"/>
                  </a:cubicBezTo>
                  <a:cubicBezTo>
                    <a:pt x="474057" y="14929"/>
                    <a:pt x="475531" y="14057"/>
                    <a:pt x="477004" y="13185"/>
                  </a:cubicBezTo>
                  <a:cubicBezTo>
                    <a:pt x="481671" y="17789"/>
                    <a:pt x="486151" y="22882"/>
                    <a:pt x="490443" y="28462"/>
                  </a:cubicBezTo>
                  <a:cubicBezTo>
                    <a:pt x="494898" y="34322"/>
                    <a:pt x="498063" y="39345"/>
                    <a:pt x="499939" y="43531"/>
                  </a:cubicBezTo>
                  <a:cubicBezTo>
                    <a:pt x="498331" y="44577"/>
                    <a:pt x="496724" y="45624"/>
                    <a:pt x="495116" y="46670"/>
                  </a:cubicBezTo>
                  <a:cubicBezTo>
                    <a:pt x="493541" y="43182"/>
                    <a:pt x="491716" y="39938"/>
                    <a:pt x="489640" y="36938"/>
                  </a:cubicBezTo>
                  <a:cubicBezTo>
                    <a:pt x="477126" y="37671"/>
                    <a:pt x="464613" y="38403"/>
                    <a:pt x="452099" y="39136"/>
                  </a:cubicBezTo>
                  <a:cubicBezTo>
                    <a:pt x="442582" y="39694"/>
                    <a:pt x="435595" y="40147"/>
                    <a:pt x="431138" y="40496"/>
                  </a:cubicBezTo>
                  <a:cubicBezTo>
                    <a:pt x="426554" y="40775"/>
                    <a:pt x="423261" y="41054"/>
                    <a:pt x="421260" y="41333"/>
                  </a:cubicBezTo>
                  <a:cubicBezTo>
                    <a:pt x="419619" y="41543"/>
                    <a:pt x="418315" y="41822"/>
                    <a:pt x="417349" y="42170"/>
                  </a:cubicBezTo>
                  <a:cubicBezTo>
                    <a:pt x="417306" y="40357"/>
                    <a:pt x="417066" y="38682"/>
                    <a:pt x="416627" y="37148"/>
                  </a:cubicBezTo>
                  <a:cubicBezTo>
                    <a:pt x="418291" y="36799"/>
                    <a:pt x="421478" y="34671"/>
                    <a:pt x="426186" y="30765"/>
                  </a:cubicBezTo>
                  <a:cubicBezTo>
                    <a:pt x="429239" y="28393"/>
                    <a:pt x="433482" y="24556"/>
                    <a:pt x="438915" y="19254"/>
                  </a:cubicBezTo>
                  <a:cubicBezTo>
                    <a:pt x="442085" y="16185"/>
                    <a:pt x="445070" y="13185"/>
                    <a:pt x="447869" y="10255"/>
                  </a:cubicBezTo>
                  <a:cubicBezTo>
                    <a:pt x="451110" y="6767"/>
                    <a:pt x="454037" y="3488"/>
                    <a:pt x="456650" y="419"/>
                  </a:cubicBezTo>
                  <a:close/>
                  <a:moveTo>
                    <a:pt x="142244" y="209"/>
                  </a:moveTo>
                  <a:cubicBezTo>
                    <a:pt x="143720" y="977"/>
                    <a:pt x="145196" y="1744"/>
                    <a:pt x="146672" y="2511"/>
                  </a:cubicBezTo>
                  <a:cubicBezTo>
                    <a:pt x="142819" y="8790"/>
                    <a:pt x="138886" y="14720"/>
                    <a:pt x="134872" y="20300"/>
                  </a:cubicBezTo>
                  <a:cubicBezTo>
                    <a:pt x="130496" y="26370"/>
                    <a:pt x="126291" y="31637"/>
                    <a:pt x="122256" y="36101"/>
                  </a:cubicBezTo>
                  <a:cubicBezTo>
                    <a:pt x="127917" y="35438"/>
                    <a:pt x="133578" y="34776"/>
                    <a:pt x="139240" y="34113"/>
                  </a:cubicBezTo>
                  <a:cubicBezTo>
                    <a:pt x="140721" y="32369"/>
                    <a:pt x="142301" y="30451"/>
                    <a:pt x="143981" y="28358"/>
                  </a:cubicBezTo>
                  <a:cubicBezTo>
                    <a:pt x="145241" y="26684"/>
                    <a:pt x="146694" y="24695"/>
                    <a:pt x="148339" y="22393"/>
                  </a:cubicBezTo>
                  <a:cubicBezTo>
                    <a:pt x="149663" y="23230"/>
                    <a:pt x="150988" y="24067"/>
                    <a:pt x="152312" y="24905"/>
                  </a:cubicBezTo>
                  <a:cubicBezTo>
                    <a:pt x="142315" y="37810"/>
                    <a:pt x="132349" y="49077"/>
                    <a:pt x="122417" y="58704"/>
                  </a:cubicBezTo>
                  <a:cubicBezTo>
                    <a:pt x="130687" y="56436"/>
                    <a:pt x="138958" y="54169"/>
                    <a:pt x="147229" y="51902"/>
                  </a:cubicBezTo>
                  <a:cubicBezTo>
                    <a:pt x="146957" y="53506"/>
                    <a:pt x="146890" y="54937"/>
                    <a:pt x="147027" y="56192"/>
                  </a:cubicBezTo>
                  <a:cubicBezTo>
                    <a:pt x="132581" y="60308"/>
                    <a:pt x="123216" y="63064"/>
                    <a:pt x="118932" y="64459"/>
                  </a:cubicBezTo>
                  <a:cubicBezTo>
                    <a:pt x="117261" y="65052"/>
                    <a:pt x="115590" y="65645"/>
                    <a:pt x="113920" y="66238"/>
                  </a:cubicBezTo>
                  <a:cubicBezTo>
                    <a:pt x="113011" y="66656"/>
                    <a:pt x="112243" y="67075"/>
                    <a:pt x="111614" y="67494"/>
                  </a:cubicBezTo>
                  <a:cubicBezTo>
                    <a:pt x="111505" y="66691"/>
                    <a:pt x="111396" y="65889"/>
                    <a:pt x="111287" y="65087"/>
                  </a:cubicBezTo>
                  <a:cubicBezTo>
                    <a:pt x="111115" y="64040"/>
                    <a:pt x="110942" y="63203"/>
                    <a:pt x="110769" y="62575"/>
                  </a:cubicBezTo>
                  <a:cubicBezTo>
                    <a:pt x="112364" y="62227"/>
                    <a:pt x="115382" y="59855"/>
                    <a:pt x="119824" y="55460"/>
                  </a:cubicBezTo>
                  <a:cubicBezTo>
                    <a:pt x="123250" y="52530"/>
                    <a:pt x="128445" y="46984"/>
                    <a:pt x="135408" y="38822"/>
                  </a:cubicBezTo>
                  <a:cubicBezTo>
                    <a:pt x="128041" y="39868"/>
                    <a:pt x="122880" y="40671"/>
                    <a:pt x="119924" y="41229"/>
                  </a:cubicBezTo>
                  <a:cubicBezTo>
                    <a:pt x="118562" y="41438"/>
                    <a:pt x="117515" y="41647"/>
                    <a:pt x="116782" y="41856"/>
                  </a:cubicBezTo>
                  <a:cubicBezTo>
                    <a:pt x="116200" y="41996"/>
                    <a:pt x="115682" y="42170"/>
                    <a:pt x="115227" y="42380"/>
                  </a:cubicBezTo>
                  <a:cubicBezTo>
                    <a:pt x="115207" y="40845"/>
                    <a:pt x="114932" y="39171"/>
                    <a:pt x="114401" y="37357"/>
                  </a:cubicBezTo>
                  <a:cubicBezTo>
                    <a:pt x="115553" y="37148"/>
                    <a:pt x="117948" y="34950"/>
                    <a:pt x="121587" y="30765"/>
                  </a:cubicBezTo>
                  <a:cubicBezTo>
                    <a:pt x="122555" y="29579"/>
                    <a:pt x="123710" y="28114"/>
                    <a:pt x="125052" y="26370"/>
                  </a:cubicBezTo>
                  <a:cubicBezTo>
                    <a:pt x="126848" y="23998"/>
                    <a:pt x="128622" y="21556"/>
                    <a:pt x="130372" y="19045"/>
                  </a:cubicBezTo>
                  <a:cubicBezTo>
                    <a:pt x="132578" y="15905"/>
                    <a:pt x="134620" y="12906"/>
                    <a:pt x="136499" y="10046"/>
                  </a:cubicBezTo>
                  <a:cubicBezTo>
                    <a:pt x="138694" y="6558"/>
                    <a:pt x="140609" y="3279"/>
                    <a:pt x="142244" y="209"/>
                  </a:cubicBezTo>
                  <a:close/>
                  <a:moveTo>
                    <a:pt x="852298" y="105"/>
                  </a:moveTo>
                  <a:cubicBezTo>
                    <a:pt x="855255" y="4500"/>
                    <a:pt x="857328" y="8755"/>
                    <a:pt x="858518" y="12871"/>
                  </a:cubicBezTo>
                  <a:cubicBezTo>
                    <a:pt x="857773" y="13150"/>
                    <a:pt x="857028" y="13429"/>
                    <a:pt x="856282" y="13708"/>
                  </a:cubicBezTo>
                  <a:cubicBezTo>
                    <a:pt x="868498" y="13708"/>
                    <a:pt x="880713" y="13708"/>
                    <a:pt x="892928" y="13708"/>
                  </a:cubicBezTo>
                  <a:cubicBezTo>
                    <a:pt x="892657" y="15312"/>
                    <a:pt x="892386" y="16917"/>
                    <a:pt x="892115" y="18522"/>
                  </a:cubicBezTo>
                  <a:cubicBezTo>
                    <a:pt x="864962" y="18522"/>
                    <a:pt x="837809" y="18522"/>
                    <a:pt x="810657" y="18522"/>
                  </a:cubicBezTo>
                  <a:cubicBezTo>
                    <a:pt x="810928" y="16917"/>
                    <a:pt x="811199" y="15312"/>
                    <a:pt x="811470" y="13708"/>
                  </a:cubicBezTo>
                  <a:cubicBezTo>
                    <a:pt x="825255" y="13708"/>
                    <a:pt x="839041" y="13708"/>
                    <a:pt x="852827" y="13708"/>
                  </a:cubicBezTo>
                  <a:cubicBezTo>
                    <a:pt x="852009" y="10290"/>
                    <a:pt x="850208" y="6278"/>
                    <a:pt x="847426" y="1674"/>
                  </a:cubicBezTo>
                  <a:cubicBezTo>
                    <a:pt x="849050" y="1151"/>
                    <a:pt x="850674" y="628"/>
                    <a:pt x="852298" y="105"/>
                  </a:cubicBezTo>
                  <a:close/>
                  <a:moveTo>
                    <a:pt x="1030834" y="0"/>
                  </a:moveTo>
                  <a:cubicBezTo>
                    <a:pt x="1032439" y="0"/>
                    <a:pt x="1034045" y="0"/>
                    <a:pt x="1035650" y="0"/>
                  </a:cubicBezTo>
                  <a:cubicBezTo>
                    <a:pt x="1030318" y="31567"/>
                    <a:pt x="1024986" y="63133"/>
                    <a:pt x="1019654" y="94700"/>
                  </a:cubicBezTo>
                  <a:cubicBezTo>
                    <a:pt x="1018048" y="94700"/>
                    <a:pt x="1016443" y="94700"/>
                    <a:pt x="1014837" y="94700"/>
                  </a:cubicBezTo>
                  <a:cubicBezTo>
                    <a:pt x="1020170" y="63133"/>
                    <a:pt x="1025502" y="31567"/>
                    <a:pt x="1030834" y="0"/>
                  </a:cubicBezTo>
                  <a:close/>
                  <a:moveTo>
                    <a:pt x="746985" y="0"/>
                  </a:moveTo>
                  <a:cubicBezTo>
                    <a:pt x="748695" y="0"/>
                    <a:pt x="750405" y="0"/>
                    <a:pt x="752115" y="0"/>
                  </a:cubicBezTo>
                  <a:cubicBezTo>
                    <a:pt x="750925" y="7046"/>
                    <a:pt x="749735" y="14092"/>
                    <a:pt x="748545" y="21138"/>
                  </a:cubicBezTo>
                  <a:cubicBezTo>
                    <a:pt x="761528" y="21138"/>
                    <a:pt x="774511" y="21138"/>
                    <a:pt x="787494" y="21138"/>
                  </a:cubicBezTo>
                  <a:cubicBezTo>
                    <a:pt x="787223" y="22742"/>
                    <a:pt x="786952" y="24347"/>
                    <a:pt x="786681" y="25951"/>
                  </a:cubicBezTo>
                  <a:cubicBezTo>
                    <a:pt x="773698" y="25951"/>
                    <a:pt x="760715" y="25951"/>
                    <a:pt x="747732" y="25951"/>
                  </a:cubicBezTo>
                  <a:cubicBezTo>
                    <a:pt x="746288" y="34497"/>
                    <a:pt x="744845" y="43042"/>
                    <a:pt x="743401" y="51588"/>
                  </a:cubicBezTo>
                  <a:cubicBezTo>
                    <a:pt x="755163" y="51588"/>
                    <a:pt x="766925" y="51588"/>
                    <a:pt x="778686" y="51588"/>
                  </a:cubicBezTo>
                  <a:cubicBezTo>
                    <a:pt x="778409" y="53227"/>
                    <a:pt x="778132" y="54867"/>
                    <a:pt x="777855" y="56506"/>
                  </a:cubicBezTo>
                  <a:cubicBezTo>
                    <a:pt x="766094" y="56506"/>
                    <a:pt x="754332" y="56506"/>
                    <a:pt x="742571" y="56506"/>
                  </a:cubicBezTo>
                  <a:cubicBezTo>
                    <a:pt x="740891" y="66447"/>
                    <a:pt x="739212" y="76388"/>
                    <a:pt x="737533" y="86329"/>
                  </a:cubicBezTo>
                  <a:cubicBezTo>
                    <a:pt x="752087" y="86329"/>
                    <a:pt x="766640" y="86329"/>
                    <a:pt x="781194" y="86329"/>
                  </a:cubicBezTo>
                  <a:cubicBezTo>
                    <a:pt x="780917" y="87968"/>
                    <a:pt x="780640" y="89608"/>
                    <a:pt x="780363" y="91247"/>
                  </a:cubicBezTo>
                  <a:cubicBezTo>
                    <a:pt x="749546" y="91247"/>
                    <a:pt x="718728" y="91247"/>
                    <a:pt x="687911" y="91247"/>
                  </a:cubicBezTo>
                  <a:cubicBezTo>
                    <a:pt x="688188" y="89608"/>
                    <a:pt x="688465" y="87968"/>
                    <a:pt x="688742" y="86329"/>
                  </a:cubicBezTo>
                  <a:cubicBezTo>
                    <a:pt x="703295" y="86329"/>
                    <a:pt x="717849" y="86329"/>
                    <a:pt x="732403" y="86329"/>
                  </a:cubicBezTo>
                  <a:cubicBezTo>
                    <a:pt x="734082" y="76388"/>
                    <a:pt x="735761" y="66447"/>
                    <a:pt x="737440" y="56506"/>
                  </a:cubicBezTo>
                  <a:cubicBezTo>
                    <a:pt x="726516" y="56506"/>
                    <a:pt x="715592" y="56506"/>
                    <a:pt x="704668" y="56506"/>
                  </a:cubicBezTo>
                  <a:cubicBezTo>
                    <a:pt x="704945" y="54867"/>
                    <a:pt x="705222" y="53227"/>
                    <a:pt x="705499" y="51588"/>
                  </a:cubicBezTo>
                  <a:cubicBezTo>
                    <a:pt x="716423" y="51588"/>
                    <a:pt x="727347" y="51588"/>
                    <a:pt x="738271" y="51588"/>
                  </a:cubicBezTo>
                  <a:cubicBezTo>
                    <a:pt x="739714" y="43042"/>
                    <a:pt x="741158" y="34497"/>
                    <a:pt x="742601" y="25951"/>
                  </a:cubicBezTo>
                  <a:cubicBezTo>
                    <a:pt x="733771" y="25951"/>
                    <a:pt x="724941" y="25951"/>
                    <a:pt x="716112" y="25951"/>
                  </a:cubicBezTo>
                  <a:cubicBezTo>
                    <a:pt x="711303" y="33346"/>
                    <a:pt x="706363" y="39450"/>
                    <a:pt x="701292" y="44263"/>
                  </a:cubicBezTo>
                  <a:cubicBezTo>
                    <a:pt x="700386" y="43426"/>
                    <a:pt x="699050" y="42449"/>
                    <a:pt x="697284" y="41333"/>
                  </a:cubicBezTo>
                  <a:cubicBezTo>
                    <a:pt x="702320" y="36729"/>
                    <a:pt x="707178" y="30904"/>
                    <a:pt x="711858" y="23858"/>
                  </a:cubicBezTo>
                  <a:cubicBezTo>
                    <a:pt x="716177" y="17301"/>
                    <a:pt x="720090" y="10046"/>
                    <a:pt x="723597" y="2093"/>
                  </a:cubicBezTo>
                  <a:cubicBezTo>
                    <a:pt x="725248" y="2442"/>
                    <a:pt x="726899" y="2790"/>
                    <a:pt x="728550" y="3139"/>
                  </a:cubicBezTo>
                  <a:cubicBezTo>
                    <a:pt x="725885" y="8999"/>
                    <a:pt x="722743" y="14999"/>
                    <a:pt x="719123" y="21138"/>
                  </a:cubicBezTo>
                  <a:cubicBezTo>
                    <a:pt x="727220" y="21138"/>
                    <a:pt x="735317" y="21138"/>
                    <a:pt x="743414" y="21138"/>
                  </a:cubicBezTo>
                  <a:cubicBezTo>
                    <a:pt x="744605" y="14092"/>
                    <a:pt x="745795" y="7046"/>
                    <a:pt x="746985" y="0"/>
                  </a:cubicBezTo>
                  <a:close/>
                  <a:moveTo>
                    <a:pt x="37263" y="0"/>
                  </a:moveTo>
                  <a:cubicBezTo>
                    <a:pt x="38868" y="0"/>
                    <a:pt x="40474" y="0"/>
                    <a:pt x="42079" y="0"/>
                  </a:cubicBezTo>
                  <a:cubicBezTo>
                    <a:pt x="41301" y="4604"/>
                    <a:pt x="40524" y="9208"/>
                    <a:pt x="39746" y="13813"/>
                  </a:cubicBezTo>
                  <a:cubicBezTo>
                    <a:pt x="45539" y="13813"/>
                    <a:pt x="51333" y="13813"/>
                    <a:pt x="57126" y="13813"/>
                  </a:cubicBezTo>
                  <a:cubicBezTo>
                    <a:pt x="56867" y="15347"/>
                    <a:pt x="56608" y="16882"/>
                    <a:pt x="56349" y="18417"/>
                  </a:cubicBezTo>
                  <a:cubicBezTo>
                    <a:pt x="50555" y="18417"/>
                    <a:pt x="44762" y="18417"/>
                    <a:pt x="38968" y="18417"/>
                  </a:cubicBezTo>
                  <a:cubicBezTo>
                    <a:pt x="38132" y="23370"/>
                    <a:pt x="37295" y="28323"/>
                    <a:pt x="36458" y="33276"/>
                  </a:cubicBezTo>
                  <a:cubicBezTo>
                    <a:pt x="43020" y="33276"/>
                    <a:pt x="49581" y="33276"/>
                    <a:pt x="56142" y="33276"/>
                  </a:cubicBezTo>
                  <a:lnTo>
                    <a:pt x="55549" y="36787"/>
                  </a:lnTo>
                  <a:lnTo>
                    <a:pt x="54584" y="37985"/>
                  </a:lnTo>
                  <a:lnTo>
                    <a:pt x="36605" y="37985"/>
                  </a:lnTo>
                  <a:cubicBezTo>
                    <a:pt x="35651" y="43635"/>
                    <a:pt x="34696" y="49286"/>
                    <a:pt x="33742" y="54937"/>
                  </a:cubicBezTo>
                  <a:cubicBezTo>
                    <a:pt x="39710" y="54937"/>
                    <a:pt x="45678" y="54937"/>
                    <a:pt x="51646" y="54937"/>
                  </a:cubicBezTo>
                  <a:cubicBezTo>
                    <a:pt x="51381" y="56506"/>
                    <a:pt x="51116" y="58076"/>
                    <a:pt x="50851" y="59645"/>
                  </a:cubicBezTo>
                  <a:cubicBezTo>
                    <a:pt x="44882" y="59645"/>
                    <a:pt x="38914" y="59645"/>
                    <a:pt x="32946" y="59645"/>
                  </a:cubicBezTo>
                  <a:cubicBezTo>
                    <a:pt x="31627" y="67459"/>
                    <a:pt x="30307" y="75272"/>
                    <a:pt x="28987" y="83085"/>
                  </a:cubicBezTo>
                  <a:cubicBezTo>
                    <a:pt x="34461" y="85806"/>
                    <a:pt x="43200" y="87166"/>
                    <a:pt x="55206" y="87166"/>
                  </a:cubicBezTo>
                  <a:cubicBezTo>
                    <a:pt x="66689" y="87166"/>
                    <a:pt x="78171" y="87166"/>
                    <a:pt x="89654" y="87166"/>
                  </a:cubicBezTo>
                  <a:cubicBezTo>
                    <a:pt x="92382" y="87131"/>
                    <a:pt x="95110" y="87096"/>
                    <a:pt x="97838" y="87061"/>
                  </a:cubicBezTo>
                  <a:cubicBezTo>
                    <a:pt x="96462" y="88596"/>
                    <a:pt x="95411" y="90270"/>
                    <a:pt x="94686" y="92084"/>
                  </a:cubicBezTo>
                  <a:cubicBezTo>
                    <a:pt x="81319" y="92084"/>
                    <a:pt x="67952" y="92084"/>
                    <a:pt x="54585" y="92084"/>
                  </a:cubicBezTo>
                  <a:cubicBezTo>
                    <a:pt x="42021" y="92084"/>
                    <a:pt x="32827" y="90724"/>
                    <a:pt x="27005" y="88003"/>
                  </a:cubicBezTo>
                  <a:cubicBezTo>
                    <a:pt x="20741" y="85003"/>
                    <a:pt x="16488" y="79597"/>
                    <a:pt x="14248" y="71784"/>
                  </a:cubicBezTo>
                  <a:cubicBezTo>
                    <a:pt x="11342" y="81550"/>
                    <a:pt x="7766" y="89294"/>
                    <a:pt x="3519" y="95014"/>
                  </a:cubicBezTo>
                  <a:cubicBezTo>
                    <a:pt x="3118" y="94700"/>
                    <a:pt x="2717" y="94386"/>
                    <a:pt x="2317" y="94072"/>
                  </a:cubicBezTo>
                  <a:cubicBezTo>
                    <a:pt x="2247" y="94072"/>
                    <a:pt x="2154" y="94003"/>
                    <a:pt x="2038" y="93863"/>
                  </a:cubicBezTo>
                  <a:cubicBezTo>
                    <a:pt x="1358" y="93340"/>
                    <a:pt x="679" y="92817"/>
                    <a:pt x="0" y="92293"/>
                  </a:cubicBezTo>
                  <a:cubicBezTo>
                    <a:pt x="3663" y="87550"/>
                    <a:pt x="6795" y="80992"/>
                    <a:pt x="9395" y="72621"/>
                  </a:cubicBezTo>
                  <a:cubicBezTo>
                    <a:pt x="10485" y="69063"/>
                    <a:pt x="11558" y="64982"/>
                    <a:pt x="12615" y="60378"/>
                  </a:cubicBezTo>
                  <a:cubicBezTo>
                    <a:pt x="13449" y="56681"/>
                    <a:pt x="14389" y="52146"/>
                    <a:pt x="15436" y="46775"/>
                  </a:cubicBezTo>
                  <a:cubicBezTo>
                    <a:pt x="17024" y="46879"/>
                    <a:pt x="18612" y="46984"/>
                    <a:pt x="20200" y="47089"/>
                  </a:cubicBezTo>
                  <a:cubicBezTo>
                    <a:pt x="19107" y="52111"/>
                    <a:pt x="18014" y="57134"/>
                    <a:pt x="16921" y="62157"/>
                  </a:cubicBezTo>
                  <a:cubicBezTo>
                    <a:pt x="18032" y="70458"/>
                    <a:pt x="20648" y="76458"/>
                    <a:pt x="24770" y="80155"/>
                  </a:cubicBezTo>
                  <a:cubicBezTo>
                    <a:pt x="27145" y="66098"/>
                    <a:pt x="29519" y="52042"/>
                    <a:pt x="31894" y="37985"/>
                  </a:cubicBezTo>
                  <a:cubicBezTo>
                    <a:pt x="25053" y="37985"/>
                    <a:pt x="18212" y="37985"/>
                    <a:pt x="11372" y="37985"/>
                  </a:cubicBezTo>
                  <a:cubicBezTo>
                    <a:pt x="11637" y="36415"/>
                    <a:pt x="11902" y="34846"/>
                    <a:pt x="12167" y="33276"/>
                  </a:cubicBezTo>
                  <a:cubicBezTo>
                    <a:pt x="18659" y="33276"/>
                    <a:pt x="25150" y="33276"/>
                    <a:pt x="31642" y="33276"/>
                  </a:cubicBezTo>
                  <a:cubicBezTo>
                    <a:pt x="32479" y="28323"/>
                    <a:pt x="33315" y="23370"/>
                    <a:pt x="34152" y="18417"/>
                  </a:cubicBezTo>
                  <a:cubicBezTo>
                    <a:pt x="28323" y="18417"/>
                    <a:pt x="22495" y="18417"/>
                    <a:pt x="16666" y="18417"/>
                  </a:cubicBezTo>
                  <a:cubicBezTo>
                    <a:pt x="16926" y="16882"/>
                    <a:pt x="17185" y="15347"/>
                    <a:pt x="17444" y="13813"/>
                  </a:cubicBezTo>
                  <a:cubicBezTo>
                    <a:pt x="23273" y="13813"/>
                    <a:pt x="29101" y="13813"/>
                    <a:pt x="34930" y="13813"/>
                  </a:cubicBezTo>
                  <a:cubicBezTo>
                    <a:pt x="35707" y="9208"/>
                    <a:pt x="36485" y="4604"/>
                    <a:pt x="3726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dist">
                <a:buNone/>
              </a:pPr>
              <a:endParaRPr lang="zh-CN" altLang="en-US" sz="800" b="1" spc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矩形 12">
            <a:extLst>
              <a:ext uri="{FF2B5EF4-FFF2-40B4-BE49-F238E27FC236}">
                <a16:creationId xmlns:a16="http://schemas.microsoft.com/office/drawing/2014/main" id="{D6E4A3C5-0EC8-4275-9CA3-98A5E85D4279}"/>
              </a:ext>
            </a:extLst>
          </p:cNvPr>
          <p:cNvSpPr/>
          <p:nvPr userDrawn="1"/>
        </p:nvSpPr>
        <p:spPr>
          <a:xfrm>
            <a:off x="231668" y="6457781"/>
            <a:ext cx="206623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en-US" altLang="zh-CN" sz="1050" dirty="0" err="1">
                <a:solidFill>
                  <a:schemeClr val="bg1">
                    <a:lumMod val="75000"/>
                  </a:schemeClr>
                </a:solidFill>
                <a:latin typeface="+mn-ea"/>
              </a:rPr>
              <a:t>SMore</a:t>
            </a:r>
            <a:r>
              <a:rPr lang="en-US" altLang="zh-CN" sz="1050" dirty="0">
                <a:solidFill>
                  <a:schemeClr val="bg1">
                    <a:lumMod val="75000"/>
                  </a:schemeClr>
                </a:solidFill>
                <a:latin typeface="+mn-ea"/>
              </a:rPr>
              <a:t> </a:t>
            </a:r>
            <a:r>
              <a:rPr lang="zh-CN" altLang="zh-CN" sz="1050" dirty="0">
                <a:solidFill>
                  <a:schemeClr val="bg1">
                    <a:lumMod val="75000"/>
                  </a:schemeClr>
                </a:solidFill>
                <a:latin typeface="+mn-ea"/>
              </a:rPr>
              <a:t>V</a:t>
            </a:r>
            <a:r>
              <a:rPr lang="en-US" altLang="zh-CN" sz="1050" dirty="0" err="1">
                <a:solidFill>
                  <a:schemeClr val="bg1">
                    <a:lumMod val="75000"/>
                  </a:schemeClr>
                </a:solidFill>
                <a:latin typeface="+mn-ea"/>
              </a:rPr>
              <a:t>i</a:t>
            </a:r>
            <a:r>
              <a:rPr lang="zh-CN" altLang="zh-CN" sz="1050" dirty="0">
                <a:solidFill>
                  <a:schemeClr val="bg1">
                    <a:lumMod val="75000"/>
                  </a:schemeClr>
                </a:solidFill>
                <a:latin typeface="+mn-ea"/>
              </a:rPr>
              <a:t>M</a:t>
            </a:r>
            <a:r>
              <a:rPr lang="en-US" altLang="zh-CN" sz="1050" dirty="0">
                <a:solidFill>
                  <a:schemeClr val="bg1">
                    <a:lumMod val="75000"/>
                  </a:schemeClr>
                </a:solidFill>
                <a:latin typeface="+mn-ea"/>
              </a:rPr>
              <a:t>o OCR </a:t>
            </a:r>
            <a:r>
              <a:rPr lang="zh-CN" altLang="zh-CN" sz="1050" dirty="0">
                <a:solidFill>
                  <a:schemeClr val="bg1">
                    <a:lumMod val="75000"/>
                  </a:schemeClr>
                </a:solidFill>
                <a:latin typeface="+mn-ea"/>
              </a:rPr>
              <a:t>应用案例</a:t>
            </a:r>
          </a:p>
        </p:txBody>
      </p:sp>
    </p:spTree>
    <p:extLst>
      <p:ext uri="{BB962C8B-B14F-4D97-AF65-F5344CB8AC3E}">
        <p14:creationId xmlns:p14="http://schemas.microsoft.com/office/powerpoint/2010/main" val="2251819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F772053-4849-4494-BD9A-931F46D14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090CC00-B1CA-4B99-A693-2C4B723DC0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099" y="129216"/>
            <a:ext cx="1915319" cy="46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59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969DF57B-E393-4A67-8964-153E026679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713"/>
            <a:ext cx="12191996" cy="685457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面-上">
            <a:extLst>
              <a:ext uri="{FF2B5EF4-FFF2-40B4-BE49-F238E27FC236}">
                <a16:creationId xmlns:a16="http://schemas.microsoft.com/office/drawing/2014/main" id="{0CAA49AC-24A4-424F-A40F-80E636E6745D}"/>
              </a:ext>
            </a:extLst>
          </p:cNvPr>
          <p:cNvSpPr/>
          <p:nvPr userDrawn="1"/>
        </p:nvSpPr>
        <p:spPr>
          <a:xfrm>
            <a:off x="5778500" y="-22860000"/>
            <a:ext cx="635000" cy="635000"/>
          </a:xfrm>
          <a:prstGeom prst="ellipse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页面-下">
            <a:extLst>
              <a:ext uri="{FF2B5EF4-FFF2-40B4-BE49-F238E27FC236}">
                <a16:creationId xmlns:a16="http://schemas.microsoft.com/office/drawing/2014/main" id="{91D50BE9-4E9E-497D-B2B9-1DDE3977E7CA}"/>
              </a:ext>
            </a:extLst>
          </p:cNvPr>
          <p:cNvSpPr/>
          <p:nvPr userDrawn="1"/>
        </p:nvSpPr>
        <p:spPr>
          <a:xfrm>
            <a:off x="5778500" y="22860000"/>
            <a:ext cx="635000" cy="635000"/>
          </a:xfrm>
          <a:prstGeom prst="ellipse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49" r:id="rId3"/>
    <p:sldLayoutId id="2147483655" r:id="rId4"/>
    <p:sldLayoutId id="2147483650" r:id="rId5"/>
    <p:sldLayoutId id="2147483654" r:id="rId6"/>
    <p:sldLayoutId id="214748365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68" userDrawn="1">
          <p15:clr>
            <a:srgbClr val="F26B43"/>
          </p15:clr>
        </p15:guide>
        <p15:guide id="4" orient="horz" pos="4184" userDrawn="1">
          <p15:clr>
            <a:srgbClr val="F26B43"/>
          </p15:clr>
        </p15:guide>
        <p15:guide id="5" pos="208" userDrawn="1">
          <p15:clr>
            <a:srgbClr val="F26B43"/>
          </p15:clr>
        </p15:guide>
        <p15:guide id="6" pos="7464" userDrawn="1">
          <p15:clr>
            <a:srgbClr val="F26B43"/>
          </p15:clr>
        </p15:guide>
        <p15:guide id="7" orient="horz" pos="384" userDrawn="1">
          <p15:clr>
            <a:srgbClr val="F26B43"/>
          </p15:clr>
        </p15:guide>
        <p15:guide id="8" orient="horz" pos="41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48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47.png"/><Relationship Id="rId5" Type="http://schemas.openxmlformats.org/officeDocument/2006/relationships/tags" Target="../tags/tag12.xml"/><Relationship Id="rId10" Type="http://schemas.openxmlformats.org/officeDocument/2006/relationships/image" Target="../media/image44.png"/><Relationship Id="rId4" Type="http://schemas.openxmlformats.org/officeDocument/2006/relationships/tags" Target="../tags/tag11.xml"/><Relationship Id="rId9" Type="http://schemas.openxmlformats.org/officeDocument/2006/relationships/image" Target="../media/image4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microsoft.com/office/2007/relationships/hdphoto" Target="../media/hdphoto4.wdp"/><Relationship Id="rId18" Type="http://schemas.openxmlformats.org/officeDocument/2006/relationships/image" Target="../media/image52.png"/><Relationship Id="rId3" Type="http://schemas.openxmlformats.org/officeDocument/2006/relationships/tags" Target="../tags/tag16.xml"/><Relationship Id="rId21" Type="http://schemas.microsoft.com/office/2007/relationships/hdphoto" Target="../media/hdphoto8.wdp"/><Relationship Id="rId7" Type="http://schemas.openxmlformats.org/officeDocument/2006/relationships/tags" Target="../tags/tag20.xml"/><Relationship Id="rId12" Type="http://schemas.openxmlformats.org/officeDocument/2006/relationships/image" Target="../media/image49.png"/><Relationship Id="rId17" Type="http://schemas.microsoft.com/office/2007/relationships/hdphoto" Target="../media/hdphoto6.wdp"/><Relationship Id="rId2" Type="http://schemas.openxmlformats.org/officeDocument/2006/relationships/tags" Target="../tags/tag15.xml"/><Relationship Id="rId16" Type="http://schemas.openxmlformats.org/officeDocument/2006/relationships/image" Target="../media/image51.png"/><Relationship Id="rId20" Type="http://schemas.openxmlformats.org/officeDocument/2006/relationships/image" Target="../media/image53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.xml"/><Relationship Id="rId15" Type="http://schemas.microsoft.com/office/2007/relationships/hdphoto" Target="../media/hdphoto5.wdp"/><Relationship Id="rId23" Type="http://schemas.openxmlformats.org/officeDocument/2006/relationships/image" Target="../media/image55.png"/><Relationship Id="rId10" Type="http://schemas.openxmlformats.org/officeDocument/2006/relationships/tags" Target="../tags/tag23.xml"/><Relationship Id="rId19" Type="http://schemas.microsoft.com/office/2007/relationships/hdphoto" Target="../media/hdphoto7.wdp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50.png"/><Relationship Id="rId22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50.png"/><Relationship Id="rId18" Type="http://schemas.microsoft.com/office/2007/relationships/hdphoto" Target="../media/hdphoto7.wdp"/><Relationship Id="rId26" Type="http://schemas.openxmlformats.org/officeDocument/2006/relationships/image" Target="../media/image58.jpeg"/><Relationship Id="rId3" Type="http://schemas.openxmlformats.org/officeDocument/2006/relationships/tags" Target="../tags/tag26.xml"/><Relationship Id="rId21" Type="http://schemas.openxmlformats.org/officeDocument/2006/relationships/image" Target="../media/image56.png"/><Relationship Id="rId7" Type="http://schemas.openxmlformats.org/officeDocument/2006/relationships/tags" Target="../tags/tag30.xml"/><Relationship Id="rId12" Type="http://schemas.openxmlformats.org/officeDocument/2006/relationships/slideLayout" Target="../slideLayouts/slideLayout3.xml"/><Relationship Id="rId17" Type="http://schemas.openxmlformats.org/officeDocument/2006/relationships/image" Target="../media/image52.png"/><Relationship Id="rId25" Type="http://schemas.openxmlformats.org/officeDocument/2006/relationships/image" Target="../media/image36.png"/><Relationship Id="rId2" Type="http://schemas.openxmlformats.org/officeDocument/2006/relationships/tags" Target="../tags/tag25.xml"/><Relationship Id="rId16" Type="http://schemas.microsoft.com/office/2007/relationships/hdphoto" Target="../media/hdphoto6.wdp"/><Relationship Id="rId20" Type="http://schemas.microsoft.com/office/2007/relationships/hdphoto" Target="../media/hdphoto8.wdp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microsoft.com/office/2007/relationships/hdphoto" Target="../media/hdphoto10.wdp"/><Relationship Id="rId5" Type="http://schemas.openxmlformats.org/officeDocument/2006/relationships/tags" Target="../tags/tag28.xml"/><Relationship Id="rId15" Type="http://schemas.openxmlformats.org/officeDocument/2006/relationships/image" Target="../media/image51.png"/><Relationship Id="rId23" Type="http://schemas.openxmlformats.org/officeDocument/2006/relationships/image" Target="../media/image57.png"/><Relationship Id="rId10" Type="http://schemas.openxmlformats.org/officeDocument/2006/relationships/tags" Target="../tags/tag33.xml"/><Relationship Id="rId19" Type="http://schemas.openxmlformats.org/officeDocument/2006/relationships/image" Target="../media/image53.png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microsoft.com/office/2007/relationships/hdphoto" Target="../media/hdphoto5.wdp"/><Relationship Id="rId22" Type="http://schemas.microsoft.com/office/2007/relationships/hdphoto" Target="../media/hdphoto9.wdp"/><Relationship Id="rId27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13" Type="http://schemas.openxmlformats.org/officeDocument/2006/relationships/slide" Target="slide27.xml"/><Relationship Id="rId18" Type="http://schemas.openxmlformats.org/officeDocument/2006/relationships/slide" Target="slide32.xml"/><Relationship Id="rId26" Type="http://schemas.openxmlformats.org/officeDocument/2006/relationships/slide" Target="slide44.xml"/><Relationship Id="rId3" Type="http://schemas.openxmlformats.org/officeDocument/2006/relationships/slide" Target="slide21.xml"/><Relationship Id="rId21" Type="http://schemas.openxmlformats.org/officeDocument/2006/relationships/slide" Target="slide39.xml"/><Relationship Id="rId7" Type="http://schemas.openxmlformats.org/officeDocument/2006/relationships/slide" Target="slide16.xml"/><Relationship Id="rId12" Type="http://schemas.openxmlformats.org/officeDocument/2006/relationships/slide" Target="slide25.xml"/><Relationship Id="rId17" Type="http://schemas.openxmlformats.org/officeDocument/2006/relationships/slide" Target="slide31.xml"/><Relationship Id="rId25" Type="http://schemas.openxmlformats.org/officeDocument/2006/relationships/slide" Target="slide43.xml"/><Relationship Id="rId2" Type="http://schemas.openxmlformats.org/officeDocument/2006/relationships/slideLayout" Target="../slideLayouts/slideLayout3.xml"/><Relationship Id="rId16" Type="http://schemas.openxmlformats.org/officeDocument/2006/relationships/slide" Target="slide30.xml"/><Relationship Id="rId20" Type="http://schemas.openxmlformats.org/officeDocument/2006/relationships/slide" Target="slide36.xml"/><Relationship Id="rId1" Type="http://schemas.openxmlformats.org/officeDocument/2006/relationships/tags" Target="../tags/tag35.xml"/><Relationship Id="rId6" Type="http://schemas.openxmlformats.org/officeDocument/2006/relationships/slide" Target="slide24.xml"/><Relationship Id="rId11" Type="http://schemas.openxmlformats.org/officeDocument/2006/relationships/slide" Target="slide20.xml"/><Relationship Id="rId24" Type="http://schemas.openxmlformats.org/officeDocument/2006/relationships/slide" Target="slide42.xml"/><Relationship Id="rId5" Type="http://schemas.openxmlformats.org/officeDocument/2006/relationships/slide" Target="slide23.xml"/><Relationship Id="rId15" Type="http://schemas.openxmlformats.org/officeDocument/2006/relationships/slide" Target="slide29.xml"/><Relationship Id="rId23" Type="http://schemas.openxmlformats.org/officeDocument/2006/relationships/slide" Target="slide41.xml"/><Relationship Id="rId10" Type="http://schemas.openxmlformats.org/officeDocument/2006/relationships/slide" Target="slide19.xml"/><Relationship Id="rId19" Type="http://schemas.openxmlformats.org/officeDocument/2006/relationships/slide" Target="slide34.xml"/><Relationship Id="rId4" Type="http://schemas.openxmlformats.org/officeDocument/2006/relationships/slide" Target="slide22.xml"/><Relationship Id="rId9" Type="http://schemas.openxmlformats.org/officeDocument/2006/relationships/slide" Target="slide18.xml"/><Relationship Id="rId14" Type="http://schemas.openxmlformats.org/officeDocument/2006/relationships/slide" Target="slide28.xml"/><Relationship Id="rId22" Type="http://schemas.openxmlformats.org/officeDocument/2006/relationships/slide" Target="slide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5" Type="http://schemas.openxmlformats.org/officeDocument/2006/relationships/image" Target="../media/image72.jpeg"/><Relationship Id="rId4" Type="http://schemas.openxmlformats.org/officeDocument/2006/relationships/image" Target="../media/image71.jpeg"/><Relationship Id="rId9" Type="http://schemas.openxmlformats.org/officeDocument/2006/relationships/image" Target="../media/image7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jpeg"/><Relationship Id="rId7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microsoft.com/office/2007/relationships/hdphoto" Target="../media/hdphoto1.wdp"/><Relationship Id="rId10" Type="http://schemas.openxmlformats.org/officeDocument/2006/relationships/image" Target="../media/image19.jpeg"/><Relationship Id="rId4" Type="http://schemas.openxmlformats.org/officeDocument/2006/relationships/image" Target="../media/image16.png"/><Relationship Id="rId9" Type="http://schemas.microsoft.com/office/2007/relationships/hdphoto" Target="../media/hdphoto3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40.xml"/><Relationship Id="rId7" Type="http://schemas.openxmlformats.org/officeDocument/2006/relationships/image" Target="../media/image93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96.png"/><Relationship Id="rId4" Type="http://schemas.openxmlformats.org/officeDocument/2006/relationships/image" Target="../media/image9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7.png"/><Relationship Id="rId4" Type="http://schemas.openxmlformats.org/officeDocument/2006/relationships/image" Target="../media/image2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6.sv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Relationship Id="rId9" Type="http://schemas.openxmlformats.org/officeDocument/2006/relationships/image" Target="../media/image13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ashx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eg"/><Relationship Id="rId13" Type="http://schemas.openxmlformats.org/officeDocument/2006/relationships/image" Target="../media/image152.jpeg"/><Relationship Id="rId18" Type="http://schemas.openxmlformats.org/officeDocument/2006/relationships/image" Target="../media/image156.jpeg"/><Relationship Id="rId3" Type="http://schemas.openxmlformats.org/officeDocument/2006/relationships/image" Target="../media/image144.jpeg"/><Relationship Id="rId21" Type="http://schemas.openxmlformats.org/officeDocument/2006/relationships/image" Target="../media/image158.jpeg"/><Relationship Id="rId7" Type="http://schemas.openxmlformats.org/officeDocument/2006/relationships/image" Target="../media/image147.png"/><Relationship Id="rId12" Type="http://schemas.openxmlformats.org/officeDocument/2006/relationships/image" Target="../media/image151.jpeg"/><Relationship Id="rId17" Type="http://schemas.openxmlformats.org/officeDocument/2006/relationships/image" Target="../media/image155.png"/><Relationship Id="rId2" Type="http://schemas.openxmlformats.org/officeDocument/2006/relationships/image" Target="../media/image143.jpeg"/><Relationship Id="rId16" Type="http://schemas.openxmlformats.org/officeDocument/2006/relationships/image" Target="../media/image115.png"/><Relationship Id="rId20" Type="http://schemas.openxmlformats.org/officeDocument/2006/relationships/image" Target="../media/image13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9.jpeg"/><Relationship Id="rId11" Type="http://schemas.openxmlformats.org/officeDocument/2006/relationships/image" Target="../media/image102.jpeg"/><Relationship Id="rId5" Type="http://schemas.openxmlformats.org/officeDocument/2006/relationships/image" Target="../media/image146.png"/><Relationship Id="rId15" Type="http://schemas.openxmlformats.org/officeDocument/2006/relationships/image" Target="../media/image154.jpeg"/><Relationship Id="rId10" Type="http://schemas.openxmlformats.org/officeDocument/2006/relationships/image" Target="../media/image150.png"/><Relationship Id="rId19" Type="http://schemas.openxmlformats.org/officeDocument/2006/relationships/image" Target="../media/image157.jpeg"/><Relationship Id="rId4" Type="http://schemas.openxmlformats.org/officeDocument/2006/relationships/image" Target="../media/image145.jpeg"/><Relationship Id="rId9" Type="http://schemas.openxmlformats.org/officeDocument/2006/relationships/image" Target="../media/image149.png"/><Relationship Id="rId14" Type="http://schemas.openxmlformats.org/officeDocument/2006/relationships/image" Target="../media/image153.jpeg"/><Relationship Id="rId22" Type="http://schemas.openxmlformats.org/officeDocument/2006/relationships/image" Target="../media/image15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3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DB706ED1-4D04-4270-92F7-265DA56DCEBC}"/>
              </a:ext>
            </a:extLst>
          </p:cNvPr>
          <p:cNvSpPr/>
          <p:nvPr/>
        </p:nvSpPr>
        <p:spPr>
          <a:xfrm>
            <a:off x="877513" y="5098245"/>
            <a:ext cx="24416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600">
                <a:solidFill>
                  <a:schemeClr val="tx1">
                    <a:alpha val="80000"/>
                  </a:schemeClr>
                </a:solidFill>
                <a:latin typeface="+mn-ea"/>
              </a:rPr>
              <a:t>超级</a:t>
            </a:r>
            <a:r>
              <a:rPr lang="en-US" altLang="zh-CN" sz="1600" dirty="0">
                <a:solidFill>
                  <a:schemeClr val="tx1">
                    <a:alpha val="80000"/>
                  </a:schemeClr>
                </a:solidFill>
                <a:latin typeface="+mn-ea"/>
              </a:rPr>
              <a:t>AI</a:t>
            </a:r>
            <a:r>
              <a:rPr lang="zh-CN" altLang="en-US" sz="1600" dirty="0">
                <a:solidFill>
                  <a:schemeClr val="tx1">
                    <a:alpha val="80000"/>
                  </a:schemeClr>
                </a:solidFill>
                <a:latin typeface="+mn-ea"/>
              </a:rPr>
              <a:t>平台，让生产无忧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8B038EE-55C4-4729-B4D2-EEB877D5F60A}"/>
              </a:ext>
            </a:extLst>
          </p:cNvPr>
          <p:cNvSpPr/>
          <p:nvPr/>
        </p:nvSpPr>
        <p:spPr>
          <a:xfrm>
            <a:off x="867888" y="3171998"/>
            <a:ext cx="415370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spc="300" dirty="0">
                <a:latin typeface="+mj-ea"/>
                <a:ea typeface="+mj-ea"/>
              </a:rPr>
              <a:t>OCR </a:t>
            </a:r>
            <a:r>
              <a:rPr lang="zh-CN" sz="4400" b="1" spc="300" dirty="0">
                <a:latin typeface="+mj-ea"/>
                <a:ea typeface="+mj-ea"/>
              </a:rPr>
              <a:t>应用案例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4233683-0565-46C2-8D03-3FAFC15D4DC8}"/>
              </a:ext>
            </a:extLst>
          </p:cNvPr>
          <p:cNvSpPr/>
          <p:nvPr/>
        </p:nvSpPr>
        <p:spPr>
          <a:xfrm>
            <a:off x="985618" y="2056869"/>
            <a:ext cx="6493211" cy="818678"/>
          </a:xfrm>
          <a:custGeom>
            <a:avLst/>
            <a:gdLst>
              <a:gd name="connsiteX0" fmla="*/ 9815372 w 10369632"/>
              <a:gd name="connsiteY0" fmla="*/ 521804 h 1307426"/>
              <a:gd name="connsiteX1" fmla="*/ 9793751 w 10369632"/>
              <a:gd name="connsiteY1" fmla="*/ 522947 h 1307426"/>
              <a:gd name="connsiteX2" fmla="*/ 9735362 w 10369632"/>
              <a:gd name="connsiteY2" fmla="*/ 535330 h 1307426"/>
              <a:gd name="connsiteX3" fmla="*/ 9733934 w 10369632"/>
              <a:gd name="connsiteY3" fmla="*/ 535996 h 1307426"/>
              <a:gd name="connsiteX4" fmla="*/ 9699548 w 10369632"/>
              <a:gd name="connsiteY4" fmla="*/ 552951 h 1307426"/>
              <a:gd name="connsiteX5" fmla="*/ 9676212 w 10369632"/>
              <a:gd name="connsiteY5" fmla="*/ 567810 h 1307426"/>
              <a:gd name="connsiteX6" fmla="*/ 9621824 w 10369632"/>
              <a:gd name="connsiteY6" fmla="*/ 622293 h 1307426"/>
              <a:gd name="connsiteX7" fmla="*/ 9595440 w 10369632"/>
              <a:gd name="connsiteY7" fmla="*/ 667251 h 1307426"/>
              <a:gd name="connsiteX8" fmla="*/ 9584105 w 10369632"/>
              <a:gd name="connsiteY8" fmla="*/ 697255 h 1307426"/>
              <a:gd name="connsiteX9" fmla="*/ 9580390 w 10369632"/>
              <a:gd name="connsiteY9" fmla="*/ 703922 h 1307426"/>
              <a:gd name="connsiteX10" fmla="*/ 9577343 w 10369632"/>
              <a:gd name="connsiteY10" fmla="*/ 710971 h 1307426"/>
              <a:gd name="connsiteX11" fmla="*/ 9568103 w 10369632"/>
              <a:gd name="connsiteY11" fmla="*/ 749833 h 1307426"/>
              <a:gd name="connsiteX12" fmla="*/ 9566389 w 10369632"/>
              <a:gd name="connsiteY12" fmla="*/ 766692 h 1307426"/>
              <a:gd name="connsiteX13" fmla="*/ 9566865 w 10369632"/>
              <a:gd name="connsiteY13" fmla="*/ 802220 h 1307426"/>
              <a:gd name="connsiteX14" fmla="*/ 9566484 w 10369632"/>
              <a:gd name="connsiteY14" fmla="*/ 802220 h 1307426"/>
              <a:gd name="connsiteX15" fmla="*/ 9566484 w 10369632"/>
              <a:gd name="connsiteY15" fmla="*/ 817746 h 1307426"/>
              <a:gd name="connsiteX16" fmla="*/ 9575152 w 10369632"/>
              <a:gd name="connsiteY16" fmla="*/ 873562 h 1307426"/>
              <a:gd name="connsiteX17" fmla="*/ 9586963 w 10369632"/>
              <a:gd name="connsiteY17" fmla="*/ 914425 h 1307426"/>
              <a:gd name="connsiteX18" fmla="*/ 9588678 w 10369632"/>
              <a:gd name="connsiteY18" fmla="*/ 918711 h 1307426"/>
              <a:gd name="connsiteX19" fmla="*/ 9605060 w 10369632"/>
              <a:gd name="connsiteY19" fmla="*/ 946333 h 1307426"/>
              <a:gd name="connsiteX20" fmla="*/ 9638493 w 10369632"/>
              <a:gd name="connsiteY20" fmla="*/ 988339 h 1307426"/>
              <a:gd name="connsiteX21" fmla="*/ 9688785 w 10369632"/>
              <a:gd name="connsiteY21" fmla="*/ 1023200 h 1307426"/>
              <a:gd name="connsiteX22" fmla="*/ 9711454 w 10369632"/>
              <a:gd name="connsiteY22" fmla="*/ 1032249 h 1307426"/>
              <a:gd name="connsiteX23" fmla="*/ 9718217 w 10369632"/>
              <a:gd name="connsiteY23" fmla="*/ 1035773 h 1307426"/>
              <a:gd name="connsiteX24" fmla="*/ 9726599 w 10369632"/>
              <a:gd name="connsiteY24" fmla="*/ 1039488 h 1307426"/>
              <a:gd name="connsiteX25" fmla="*/ 9768985 w 10369632"/>
              <a:gd name="connsiteY25" fmla="*/ 1046917 h 1307426"/>
              <a:gd name="connsiteX26" fmla="*/ 9810514 w 10369632"/>
              <a:gd name="connsiteY26" fmla="*/ 1044536 h 1307426"/>
              <a:gd name="connsiteX27" fmla="*/ 9836423 w 10369632"/>
              <a:gd name="connsiteY27" fmla="*/ 1041107 h 1307426"/>
              <a:gd name="connsiteX28" fmla="*/ 9891667 w 10369632"/>
              <a:gd name="connsiteY28" fmla="*/ 1028439 h 1307426"/>
              <a:gd name="connsiteX29" fmla="*/ 9896811 w 10369632"/>
              <a:gd name="connsiteY29" fmla="*/ 1025200 h 1307426"/>
              <a:gd name="connsiteX30" fmla="*/ 9902240 w 10369632"/>
              <a:gd name="connsiteY30" fmla="*/ 1022438 h 1307426"/>
              <a:gd name="connsiteX31" fmla="*/ 9950056 w 10369632"/>
              <a:gd name="connsiteY31" fmla="*/ 998245 h 1307426"/>
              <a:gd name="connsiteX32" fmla="*/ 9995395 w 10369632"/>
              <a:gd name="connsiteY32" fmla="*/ 958906 h 1307426"/>
              <a:gd name="connsiteX33" fmla="*/ 10028827 w 10369632"/>
              <a:gd name="connsiteY33" fmla="*/ 914806 h 1307426"/>
              <a:gd name="connsiteX34" fmla="*/ 10045687 w 10369632"/>
              <a:gd name="connsiteY34" fmla="*/ 882040 h 1307426"/>
              <a:gd name="connsiteX35" fmla="*/ 10055593 w 10369632"/>
              <a:gd name="connsiteY35" fmla="*/ 853084 h 1307426"/>
              <a:gd name="connsiteX36" fmla="*/ 10058070 w 10369632"/>
              <a:gd name="connsiteY36" fmla="*/ 847464 h 1307426"/>
              <a:gd name="connsiteX37" fmla="*/ 10064260 w 10369632"/>
              <a:gd name="connsiteY37" fmla="*/ 823747 h 1307426"/>
              <a:gd name="connsiteX38" fmla="*/ 10067880 w 10369632"/>
              <a:gd name="connsiteY38" fmla="*/ 800982 h 1307426"/>
              <a:gd name="connsiteX39" fmla="*/ 10072071 w 10369632"/>
              <a:gd name="connsiteY39" fmla="*/ 776693 h 1307426"/>
              <a:gd name="connsiteX40" fmla="*/ 10072071 w 10369632"/>
              <a:gd name="connsiteY40" fmla="*/ 739546 h 1307426"/>
              <a:gd name="connsiteX41" fmla="*/ 10068832 w 10369632"/>
              <a:gd name="connsiteY41" fmla="*/ 719829 h 1307426"/>
              <a:gd name="connsiteX42" fmla="*/ 10064260 w 10369632"/>
              <a:gd name="connsiteY42" fmla="*/ 694016 h 1307426"/>
              <a:gd name="connsiteX43" fmla="*/ 10057784 w 10369632"/>
              <a:gd name="connsiteY43" fmla="*/ 670585 h 1307426"/>
              <a:gd name="connsiteX44" fmla="*/ 10055117 w 10369632"/>
              <a:gd name="connsiteY44" fmla="*/ 663441 h 1307426"/>
              <a:gd name="connsiteX45" fmla="*/ 10040924 w 10369632"/>
              <a:gd name="connsiteY45" fmla="*/ 628008 h 1307426"/>
              <a:gd name="connsiteX46" fmla="*/ 9988156 w 10369632"/>
              <a:gd name="connsiteY46" fmla="*/ 568000 h 1307426"/>
              <a:gd name="connsiteX47" fmla="*/ 9975488 w 10369632"/>
              <a:gd name="connsiteY47" fmla="*/ 559237 h 1307426"/>
              <a:gd name="connsiteX48" fmla="*/ 9944817 w 10369632"/>
              <a:gd name="connsiteY48" fmla="*/ 541997 h 1307426"/>
              <a:gd name="connsiteX49" fmla="*/ 9911480 w 10369632"/>
              <a:gd name="connsiteY49" fmla="*/ 530948 h 1307426"/>
              <a:gd name="connsiteX50" fmla="*/ 9907193 w 10369632"/>
              <a:gd name="connsiteY50" fmla="*/ 529138 h 1307426"/>
              <a:gd name="connsiteX51" fmla="*/ 9881857 w 10369632"/>
              <a:gd name="connsiteY51" fmla="*/ 523233 h 1307426"/>
              <a:gd name="connsiteX52" fmla="*/ 9857091 w 10369632"/>
              <a:gd name="connsiteY52" fmla="*/ 522280 h 1307426"/>
              <a:gd name="connsiteX53" fmla="*/ 9815372 w 10369632"/>
              <a:gd name="connsiteY53" fmla="*/ 521804 h 1307426"/>
              <a:gd name="connsiteX54" fmla="*/ 3114820 w 10369632"/>
              <a:gd name="connsiteY54" fmla="*/ 520280 h 1307426"/>
              <a:gd name="connsiteX55" fmla="*/ 3114725 w 10369632"/>
              <a:gd name="connsiteY55" fmla="*/ 520852 h 1307426"/>
              <a:gd name="connsiteX56" fmla="*/ 3083864 w 10369632"/>
              <a:gd name="connsiteY56" fmla="*/ 522661 h 1307426"/>
              <a:gd name="connsiteX57" fmla="*/ 3022333 w 10369632"/>
              <a:gd name="connsiteY57" fmla="*/ 534853 h 1307426"/>
              <a:gd name="connsiteX58" fmla="*/ 3015665 w 10369632"/>
              <a:gd name="connsiteY58" fmla="*/ 538568 h 1307426"/>
              <a:gd name="connsiteX59" fmla="*/ 3008807 w 10369632"/>
              <a:gd name="connsiteY59" fmla="*/ 541997 h 1307426"/>
              <a:gd name="connsiteX60" fmla="*/ 2978519 w 10369632"/>
              <a:gd name="connsiteY60" fmla="*/ 556380 h 1307426"/>
              <a:gd name="connsiteX61" fmla="*/ 2947562 w 10369632"/>
              <a:gd name="connsiteY61" fmla="*/ 579145 h 1307426"/>
              <a:gd name="connsiteX62" fmla="*/ 2905271 w 10369632"/>
              <a:gd name="connsiteY62" fmla="*/ 626008 h 1307426"/>
              <a:gd name="connsiteX63" fmla="*/ 2882793 w 10369632"/>
              <a:gd name="connsiteY63" fmla="*/ 665917 h 1307426"/>
              <a:gd name="connsiteX64" fmla="*/ 2879649 w 10369632"/>
              <a:gd name="connsiteY64" fmla="*/ 671156 h 1307426"/>
              <a:gd name="connsiteX65" fmla="*/ 2874315 w 10369632"/>
              <a:gd name="connsiteY65" fmla="*/ 683824 h 1307426"/>
              <a:gd name="connsiteX66" fmla="*/ 2870696 w 10369632"/>
              <a:gd name="connsiteY66" fmla="*/ 693826 h 1307426"/>
              <a:gd name="connsiteX67" fmla="*/ 2863361 w 10369632"/>
              <a:gd name="connsiteY67" fmla="*/ 720305 h 1307426"/>
              <a:gd name="connsiteX68" fmla="*/ 2854789 w 10369632"/>
              <a:gd name="connsiteY68" fmla="*/ 748118 h 1307426"/>
              <a:gd name="connsiteX69" fmla="*/ 2852312 w 10369632"/>
              <a:gd name="connsiteY69" fmla="*/ 802220 h 1307426"/>
              <a:gd name="connsiteX70" fmla="*/ 2852503 w 10369632"/>
              <a:gd name="connsiteY70" fmla="*/ 811459 h 1307426"/>
              <a:gd name="connsiteX71" fmla="*/ 2854599 w 10369632"/>
              <a:gd name="connsiteY71" fmla="*/ 851655 h 1307426"/>
              <a:gd name="connsiteX72" fmla="*/ 2860599 w 10369632"/>
              <a:gd name="connsiteY72" fmla="*/ 876896 h 1307426"/>
              <a:gd name="connsiteX73" fmla="*/ 2863743 w 10369632"/>
              <a:gd name="connsiteY73" fmla="*/ 885469 h 1307426"/>
              <a:gd name="connsiteX74" fmla="*/ 2877077 w 10369632"/>
              <a:gd name="connsiteY74" fmla="*/ 924616 h 1307426"/>
              <a:gd name="connsiteX75" fmla="*/ 2914130 w 10369632"/>
              <a:gd name="connsiteY75" fmla="*/ 977385 h 1307426"/>
              <a:gd name="connsiteX76" fmla="*/ 2949753 w 10369632"/>
              <a:gd name="connsiteY76" fmla="*/ 1009103 h 1307426"/>
              <a:gd name="connsiteX77" fmla="*/ 2997853 w 10369632"/>
              <a:gd name="connsiteY77" fmla="*/ 1032535 h 1307426"/>
              <a:gd name="connsiteX78" fmla="*/ 3003283 w 10369632"/>
              <a:gd name="connsiteY78" fmla="*/ 1035392 h 1307426"/>
              <a:gd name="connsiteX79" fmla="*/ 3022333 w 10369632"/>
              <a:gd name="connsiteY79" fmla="*/ 1040821 h 1307426"/>
              <a:gd name="connsiteX80" fmla="*/ 3039097 w 10369632"/>
              <a:gd name="connsiteY80" fmla="*/ 1043298 h 1307426"/>
              <a:gd name="connsiteX81" fmla="*/ 3089389 w 10369632"/>
              <a:gd name="connsiteY81" fmla="*/ 1045584 h 1307426"/>
              <a:gd name="connsiteX82" fmla="*/ 3132251 w 10369632"/>
              <a:gd name="connsiteY82" fmla="*/ 1040440 h 1307426"/>
              <a:gd name="connsiteX83" fmla="*/ 3152920 w 10369632"/>
              <a:gd name="connsiteY83" fmla="*/ 1035011 h 1307426"/>
              <a:gd name="connsiteX84" fmla="*/ 3164541 w 10369632"/>
              <a:gd name="connsiteY84" fmla="*/ 1031296 h 1307426"/>
              <a:gd name="connsiteX85" fmla="*/ 3184543 w 10369632"/>
              <a:gd name="connsiteY85" fmla="*/ 1024057 h 1307426"/>
              <a:gd name="connsiteX86" fmla="*/ 3190163 w 10369632"/>
              <a:gd name="connsiteY86" fmla="*/ 1021581 h 1307426"/>
              <a:gd name="connsiteX87" fmla="*/ 3219595 w 10369632"/>
              <a:gd name="connsiteY87" fmla="*/ 1008627 h 1307426"/>
              <a:gd name="connsiteX88" fmla="*/ 3269792 w 10369632"/>
              <a:gd name="connsiteY88" fmla="*/ 970527 h 1307426"/>
              <a:gd name="connsiteX89" fmla="*/ 3323990 w 10369632"/>
              <a:gd name="connsiteY89" fmla="*/ 896613 h 1307426"/>
              <a:gd name="connsiteX90" fmla="*/ 3328181 w 10369632"/>
              <a:gd name="connsiteY90" fmla="*/ 890231 h 1307426"/>
              <a:gd name="connsiteX91" fmla="*/ 3331991 w 10369632"/>
              <a:gd name="connsiteY91" fmla="*/ 881944 h 1307426"/>
              <a:gd name="connsiteX92" fmla="*/ 3344373 w 10369632"/>
              <a:gd name="connsiteY92" fmla="*/ 842606 h 1307426"/>
              <a:gd name="connsiteX93" fmla="*/ 3346278 w 10369632"/>
              <a:gd name="connsiteY93" fmla="*/ 838415 h 1307426"/>
              <a:gd name="connsiteX94" fmla="*/ 3352279 w 10369632"/>
              <a:gd name="connsiteY94" fmla="*/ 814698 h 1307426"/>
              <a:gd name="connsiteX95" fmla="*/ 3355232 w 10369632"/>
              <a:gd name="connsiteY95" fmla="*/ 777741 h 1307426"/>
              <a:gd name="connsiteX96" fmla="*/ 3354850 w 10369632"/>
              <a:gd name="connsiteY96" fmla="*/ 733069 h 1307426"/>
              <a:gd name="connsiteX97" fmla="*/ 3352850 w 10369632"/>
              <a:gd name="connsiteY97" fmla="*/ 713066 h 1307426"/>
              <a:gd name="connsiteX98" fmla="*/ 3340277 w 10369632"/>
              <a:gd name="connsiteY98" fmla="*/ 656202 h 1307426"/>
              <a:gd name="connsiteX99" fmla="*/ 3337991 w 10369632"/>
              <a:gd name="connsiteY99" fmla="*/ 652201 h 1307426"/>
              <a:gd name="connsiteX100" fmla="*/ 3332657 w 10369632"/>
              <a:gd name="connsiteY100" fmla="*/ 641152 h 1307426"/>
              <a:gd name="connsiteX101" fmla="*/ 3318656 w 10369632"/>
              <a:gd name="connsiteY101" fmla="*/ 615625 h 1307426"/>
              <a:gd name="connsiteX102" fmla="*/ 3273317 w 10369632"/>
              <a:gd name="connsiteY102" fmla="*/ 567429 h 1307426"/>
              <a:gd name="connsiteX103" fmla="*/ 3229883 w 10369632"/>
              <a:gd name="connsiteY103" fmla="*/ 541711 h 1307426"/>
              <a:gd name="connsiteX104" fmla="*/ 3198069 w 10369632"/>
              <a:gd name="connsiteY104" fmla="*/ 531234 h 1307426"/>
              <a:gd name="connsiteX105" fmla="*/ 3193783 w 10369632"/>
              <a:gd name="connsiteY105" fmla="*/ 529424 h 1307426"/>
              <a:gd name="connsiteX106" fmla="*/ 3167113 w 10369632"/>
              <a:gd name="connsiteY106" fmla="*/ 523042 h 1307426"/>
              <a:gd name="connsiteX107" fmla="*/ 3139300 w 10369632"/>
              <a:gd name="connsiteY107" fmla="*/ 521804 h 1307426"/>
              <a:gd name="connsiteX108" fmla="*/ 3114820 w 10369632"/>
              <a:gd name="connsiteY108" fmla="*/ 520280 h 1307426"/>
              <a:gd name="connsiteX109" fmla="*/ 5095354 w 10369632"/>
              <a:gd name="connsiteY109" fmla="*/ 483514 h 1307426"/>
              <a:gd name="connsiteX110" fmla="*/ 5046967 w 10369632"/>
              <a:gd name="connsiteY110" fmla="*/ 491419 h 1307426"/>
              <a:gd name="connsiteX111" fmla="*/ 5004390 w 10369632"/>
              <a:gd name="connsiteY111" fmla="*/ 503230 h 1307426"/>
              <a:gd name="connsiteX112" fmla="*/ 4995723 w 10369632"/>
              <a:gd name="connsiteY112" fmla="*/ 506278 h 1307426"/>
              <a:gd name="connsiteX113" fmla="*/ 4948098 w 10369632"/>
              <a:gd name="connsiteY113" fmla="*/ 534282 h 1307426"/>
              <a:gd name="connsiteX114" fmla="*/ 4907902 w 10369632"/>
              <a:gd name="connsiteY114" fmla="*/ 570096 h 1307426"/>
              <a:gd name="connsiteX115" fmla="*/ 4881518 w 10369632"/>
              <a:gd name="connsiteY115" fmla="*/ 606100 h 1307426"/>
              <a:gd name="connsiteX116" fmla="*/ 4869040 w 10369632"/>
              <a:gd name="connsiteY116" fmla="*/ 628770 h 1307426"/>
              <a:gd name="connsiteX117" fmla="*/ 4859134 w 10369632"/>
              <a:gd name="connsiteY117" fmla="*/ 651058 h 1307426"/>
              <a:gd name="connsiteX118" fmla="*/ 4858182 w 10369632"/>
              <a:gd name="connsiteY118" fmla="*/ 654011 h 1307426"/>
              <a:gd name="connsiteX119" fmla="*/ 4869802 w 10369632"/>
              <a:gd name="connsiteY119" fmla="*/ 670013 h 1307426"/>
              <a:gd name="connsiteX120" fmla="*/ 4882184 w 10369632"/>
              <a:gd name="connsiteY120" fmla="*/ 670204 h 1307426"/>
              <a:gd name="connsiteX121" fmla="*/ 5073923 w 10369632"/>
              <a:gd name="connsiteY121" fmla="*/ 670394 h 1307426"/>
              <a:gd name="connsiteX122" fmla="*/ 5267281 w 10369632"/>
              <a:gd name="connsiteY122" fmla="*/ 670394 h 1307426"/>
              <a:gd name="connsiteX123" fmla="*/ 5284235 w 10369632"/>
              <a:gd name="connsiteY123" fmla="*/ 669537 h 1307426"/>
              <a:gd name="connsiteX124" fmla="*/ 5295093 w 10369632"/>
              <a:gd name="connsiteY124" fmla="*/ 658202 h 1307426"/>
              <a:gd name="connsiteX125" fmla="*/ 5290045 w 10369632"/>
              <a:gd name="connsiteY125" fmla="*/ 614197 h 1307426"/>
              <a:gd name="connsiteX126" fmla="*/ 5286711 w 10369632"/>
              <a:gd name="connsiteY126" fmla="*/ 604005 h 1307426"/>
              <a:gd name="connsiteX127" fmla="*/ 5269662 w 10369632"/>
              <a:gd name="connsiteY127" fmla="*/ 564952 h 1307426"/>
              <a:gd name="connsiteX128" fmla="*/ 5243754 w 10369632"/>
              <a:gd name="connsiteY128" fmla="*/ 534568 h 1307426"/>
              <a:gd name="connsiteX129" fmla="*/ 5192509 w 10369632"/>
              <a:gd name="connsiteY129" fmla="*/ 501706 h 1307426"/>
              <a:gd name="connsiteX130" fmla="*/ 5158981 w 10369632"/>
              <a:gd name="connsiteY130" fmla="*/ 491896 h 1307426"/>
              <a:gd name="connsiteX131" fmla="*/ 5154600 w 10369632"/>
              <a:gd name="connsiteY131" fmla="*/ 490372 h 1307426"/>
              <a:gd name="connsiteX132" fmla="*/ 5121643 w 10369632"/>
              <a:gd name="connsiteY132" fmla="*/ 483704 h 1307426"/>
              <a:gd name="connsiteX133" fmla="*/ 5095354 w 10369632"/>
              <a:gd name="connsiteY133" fmla="*/ 483514 h 1307426"/>
              <a:gd name="connsiteX134" fmla="*/ 7518514 w 10369632"/>
              <a:gd name="connsiteY134" fmla="*/ 372262 h 1307426"/>
              <a:gd name="connsiteX135" fmla="*/ 7527848 w 10369632"/>
              <a:gd name="connsiteY135" fmla="*/ 372262 h 1307426"/>
              <a:gd name="connsiteX136" fmla="*/ 7741494 w 10369632"/>
              <a:gd name="connsiteY136" fmla="*/ 372262 h 1307426"/>
              <a:gd name="connsiteX137" fmla="*/ 7753877 w 10369632"/>
              <a:gd name="connsiteY137" fmla="*/ 372643 h 1307426"/>
              <a:gd name="connsiteX138" fmla="*/ 7761877 w 10369632"/>
              <a:gd name="connsiteY138" fmla="*/ 380739 h 1307426"/>
              <a:gd name="connsiteX139" fmla="*/ 7759591 w 10369632"/>
              <a:gd name="connsiteY139" fmla="*/ 400456 h 1307426"/>
              <a:gd name="connsiteX140" fmla="*/ 7752448 w 10369632"/>
              <a:gd name="connsiteY140" fmla="*/ 439699 h 1307426"/>
              <a:gd name="connsiteX141" fmla="*/ 7748733 w 10369632"/>
              <a:gd name="connsiteY141" fmla="*/ 460844 h 1307426"/>
              <a:gd name="connsiteX142" fmla="*/ 7742827 w 10369632"/>
              <a:gd name="connsiteY142" fmla="*/ 490943 h 1307426"/>
              <a:gd name="connsiteX143" fmla="*/ 7736922 w 10369632"/>
              <a:gd name="connsiteY143" fmla="*/ 524185 h 1307426"/>
              <a:gd name="connsiteX144" fmla="*/ 7733112 w 10369632"/>
              <a:gd name="connsiteY144" fmla="*/ 548474 h 1307426"/>
              <a:gd name="connsiteX145" fmla="*/ 7727016 w 10369632"/>
              <a:gd name="connsiteY145" fmla="*/ 581717 h 1307426"/>
              <a:gd name="connsiteX146" fmla="*/ 7722920 w 10369632"/>
              <a:gd name="connsiteY146" fmla="*/ 607529 h 1307426"/>
              <a:gd name="connsiteX147" fmla="*/ 7717110 w 10369632"/>
              <a:gd name="connsiteY147" fmla="*/ 639247 h 1307426"/>
              <a:gd name="connsiteX148" fmla="*/ 7712824 w 10369632"/>
              <a:gd name="connsiteY148" fmla="*/ 668108 h 1307426"/>
              <a:gd name="connsiteX149" fmla="*/ 7707395 w 10369632"/>
              <a:gd name="connsiteY149" fmla="*/ 695159 h 1307426"/>
              <a:gd name="connsiteX150" fmla="*/ 7702918 w 10369632"/>
              <a:gd name="connsiteY150" fmla="*/ 722496 h 1307426"/>
              <a:gd name="connsiteX151" fmla="*/ 7697203 w 10369632"/>
              <a:gd name="connsiteY151" fmla="*/ 754214 h 1307426"/>
              <a:gd name="connsiteX152" fmla="*/ 7693012 w 10369632"/>
              <a:gd name="connsiteY152" fmla="*/ 783170 h 1307426"/>
              <a:gd name="connsiteX153" fmla="*/ 7687868 w 10369632"/>
              <a:gd name="connsiteY153" fmla="*/ 810316 h 1307426"/>
              <a:gd name="connsiteX154" fmla="*/ 7683201 w 10369632"/>
              <a:gd name="connsiteY154" fmla="*/ 839177 h 1307426"/>
              <a:gd name="connsiteX155" fmla="*/ 7677677 w 10369632"/>
              <a:gd name="connsiteY155" fmla="*/ 869372 h 1307426"/>
              <a:gd name="connsiteX156" fmla="*/ 7673295 w 10369632"/>
              <a:gd name="connsiteY156" fmla="*/ 896708 h 1307426"/>
              <a:gd name="connsiteX157" fmla="*/ 7667294 w 10369632"/>
              <a:gd name="connsiteY157" fmla="*/ 928427 h 1307426"/>
              <a:gd name="connsiteX158" fmla="*/ 7663294 w 10369632"/>
              <a:gd name="connsiteY158" fmla="*/ 955763 h 1307426"/>
              <a:gd name="connsiteX159" fmla="*/ 7657864 w 10369632"/>
              <a:gd name="connsiteY159" fmla="*/ 984434 h 1307426"/>
              <a:gd name="connsiteX160" fmla="*/ 7653387 w 10369632"/>
              <a:gd name="connsiteY160" fmla="*/ 1013294 h 1307426"/>
              <a:gd name="connsiteX161" fmla="*/ 7648053 w 10369632"/>
              <a:gd name="connsiteY161" fmla="*/ 1041965 h 1307426"/>
              <a:gd name="connsiteX162" fmla="*/ 7643577 w 10369632"/>
              <a:gd name="connsiteY162" fmla="*/ 1070825 h 1307426"/>
              <a:gd name="connsiteX163" fmla="*/ 7638148 w 10369632"/>
              <a:gd name="connsiteY163" fmla="*/ 1099400 h 1307426"/>
              <a:gd name="connsiteX164" fmla="*/ 7633861 w 10369632"/>
              <a:gd name="connsiteY164" fmla="*/ 1126737 h 1307426"/>
              <a:gd name="connsiteX165" fmla="*/ 7628051 w 10369632"/>
              <a:gd name="connsiteY165" fmla="*/ 1158455 h 1307426"/>
              <a:gd name="connsiteX166" fmla="*/ 7623860 w 10369632"/>
              <a:gd name="connsiteY166" fmla="*/ 1185792 h 1307426"/>
              <a:gd name="connsiteX167" fmla="*/ 7617955 w 10369632"/>
              <a:gd name="connsiteY167" fmla="*/ 1217510 h 1307426"/>
              <a:gd name="connsiteX168" fmla="*/ 7613954 w 10369632"/>
              <a:gd name="connsiteY168" fmla="*/ 1244847 h 1307426"/>
              <a:gd name="connsiteX169" fmla="*/ 7608430 w 10369632"/>
              <a:gd name="connsiteY169" fmla="*/ 1273517 h 1307426"/>
              <a:gd name="connsiteX170" fmla="*/ 7605001 w 10369632"/>
              <a:gd name="connsiteY170" fmla="*/ 1286948 h 1307426"/>
              <a:gd name="connsiteX171" fmla="*/ 7591285 w 10369632"/>
              <a:gd name="connsiteY171" fmla="*/ 1297996 h 1307426"/>
              <a:gd name="connsiteX172" fmla="*/ 7583570 w 10369632"/>
              <a:gd name="connsiteY172" fmla="*/ 1297996 h 1307426"/>
              <a:gd name="connsiteX173" fmla="*/ 7474794 w 10369632"/>
              <a:gd name="connsiteY173" fmla="*/ 1298187 h 1307426"/>
              <a:gd name="connsiteX174" fmla="*/ 7364875 w 10369632"/>
              <a:gd name="connsiteY174" fmla="*/ 1298187 h 1307426"/>
              <a:gd name="connsiteX175" fmla="*/ 7347826 w 10369632"/>
              <a:gd name="connsiteY175" fmla="*/ 1280661 h 1307426"/>
              <a:gd name="connsiteX176" fmla="*/ 7353064 w 10369632"/>
              <a:gd name="connsiteY176" fmla="*/ 1253515 h 1307426"/>
              <a:gd name="connsiteX177" fmla="*/ 7357827 w 10369632"/>
              <a:gd name="connsiteY177" fmla="*/ 1224654 h 1307426"/>
              <a:gd name="connsiteX178" fmla="*/ 7363256 w 10369632"/>
              <a:gd name="connsiteY178" fmla="*/ 1194460 h 1307426"/>
              <a:gd name="connsiteX179" fmla="*/ 7367733 w 10369632"/>
              <a:gd name="connsiteY179" fmla="*/ 1165599 h 1307426"/>
              <a:gd name="connsiteX180" fmla="*/ 7373257 w 10369632"/>
              <a:gd name="connsiteY180" fmla="*/ 1136929 h 1307426"/>
              <a:gd name="connsiteX181" fmla="*/ 7377734 w 10369632"/>
              <a:gd name="connsiteY181" fmla="*/ 1108068 h 1307426"/>
              <a:gd name="connsiteX182" fmla="*/ 7383163 w 10369632"/>
              <a:gd name="connsiteY182" fmla="*/ 1079493 h 1307426"/>
              <a:gd name="connsiteX183" fmla="*/ 7387450 w 10369632"/>
              <a:gd name="connsiteY183" fmla="*/ 1052156 h 1307426"/>
              <a:gd name="connsiteX184" fmla="*/ 7393355 w 10369632"/>
              <a:gd name="connsiteY184" fmla="*/ 1020533 h 1307426"/>
              <a:gd name="connsiteX185" fmla="*/ 7397261 w 10369632"/>
              <a:gd name="connsiteY185" fmla="*/ 994720 h 1307426"/>
              <a:gd name="connsiteX186" fmla="*/ 7403261 w 10369632"/>
              <a:gd name="connsiteY186" fmla="*/ 963002 h 1307426"/>
              <a:gd name="connsiteX187" fmla="*/ 7407357 w 10369632"/>
              <a:gd name="connsiteY187" fmla="*/ 937190 h 1307426"/>
              <a:gd name="connsiteX188" fmla="*/ 7413453 w 10369632"/>
              <a:gd name="connsiteY188" fmla="*/ 903947 h 1307426"/>
              <a:gd name="connsiteX189" fmla="*/ 7417358 w 10369632"/>
              <a:gd name="connsiteY189" fmla="*/ 878135 h 1307426"/>
              <a:gd name="connsiteX190" fmla="*/ 7423073 w 10369632"/>
              <a:gd name="connsiteY190" fmla="*/ 847940 h 1307426"/>
              <a:gd name="connsiteX191" fmla="*/ 7427359 w 10369632"/>
              <a:gd name="connsiteY191" fmla="*/ 818984 h 1307426"/>
              <a:gd name="connsiteX192" fmla="*/ 7432408 w 10369632"/>
              <a:gd name="connsiteY192" fmla="*/ 791838 h 1307426"/>
              <a:gd name="connsiteX193" fmla="*/ 7437170 w 10369632"/>
              <a:gd name="connsiteY193" fmla="*/ 762977 h 1307426"/>
              <a:gd name="connsiteX194" fmla="*/ 7442599 w 10369632"/>
              <a:gd name="connsiteY194" fmla="*/ 732783 h 1307426"/>
              <a:gd name="connsiteX195" fmla="*/ 7446790 w 10369632"/>
              <a:gd name="connsiteY195" fmla="*/ 708590 h 1307426"/>
              <a:gd name="connsiteX196" fmla="*/ 7453362 w 10369632"/>
              <a:gd name="connsiteY196" fmla="*/ 672299 h 1307426"/>
              <a:gd name="connsiteX197" fmla="*/ 7457173 w 10369632"/>
              <a:gd name="connsiteY197" fmla="*/ 644867 h 1307426"/>
              <a:gd name="connsiteX198" fmla="*/ 7462411 w 10369632"/>
              <a:gd name="connsiteY198" fmla="*/ 617721 h 1307426"/>
              <a:gd name="connsiteX199" fmla="*/ 7467078 w 10369632"/>
              <a:gd name="connsiteY199" fmla="*/ 588860 h 1307426"/>
              <a:gd name="connsiteX200" fmla="*/ 7472603 w 10369632"/>
              <a:gd name="connsiteY200" fmla="*/ 558666 h 1307426"/>
              <a:gd name="connsiteX201" fmla="*/ 7476699 w 10369632"/>
              <a:gd name="connsiteY201" fmla="*/ 532853 h 1307426"/>
              <a:gd name="connsiteX202" fmla="*/ 7482700 w 10369632"/>
              <a:gd name="connsiteY202" fmla="*/ 501230 h 1307426"/>
              <a:gd name="connsiteX203" fmla="*/ 7486700 w 10369632"/>
              <a:gd name="connsiteY203" fmla="*/ 473798 h 1307426"/>
              <a:gd name="connsiteX204" fmla="*/ 7492034 w 10369632"/>
              <a:gd name="connsiteY204" fmla="*/ 445128 h 1307426"/>
              <a:gd name="connsiteX205" fmla="*/ 7496606 w 10369632"/>
              <a:gd name="connsiteY205" fmla="*/ 413124 h 1307426"/>
              <a:gd name="connsiteX206" fmla="*/ 7504131 w 10369632"/>
              <a:gd name="connsiteY206" fmla="*/ 381787 h 1307426"/>
              <a:gd name="connsiteX207" fmla="*/ 7518514 w 10369632"/>
              <a:gd name="connsiteY207" fmla="*/ 372262 h 1307426"/>
              <a:gd name="connsiteX208" fmla="*/ 5138312 w 10369632"/>
              <a:gd name="connsiteY208" fmla="*/ 267963 h 1307426"/>
              <a:gd name="connsiteX209" fmla="*/ 5156409 w 10369632"/>
              <a:gd name="connsiteY209" fmla="*/ 270916 h 1307426"/>
              <a:gd name="connsiteX210" fmla="*/ 5191175 w 10369632"/>
              <a:gd name="connsiteY210" fmla="*/ 277393 h 1307426"/>
              <a:gd name="connsiteX211" fmla="*/ 5216226 w 10369632"/>
              <a:gd name="connsiteY211" fmla="*/ 283965 h 1307426"/>
              <a:gd name="connsiteX212" fmla="*/ 5218989 w 10369632"/>
              <a:gd name="connsiteY212" fmla="*/ 285203 h 1307426"/>
              <a:gd name="connsiteX213" fmla="*/ 5263184 w 10369632"/>
              <a:gd name="connsiteY213" fmla="*/ 297586 h 1307426"/>
              <a:gd name="connsiteX214" fmla="*/ 5270614 w 10369632"/>
              <a:gd name="connsiteY214" fmla="*/ 299586 h 1307426"/>
              <a:gd name="connsiteX215" fmla="*/ 5290140 w 10369632"/>
              <a:gd name="connsiteY215" fmla="*/ 308158 h 1307426"/>
              <a:gd name="connsiteX216" fmla="*/ 5338527 w 10369632"/>
              <a:gd name="connsiteY216" fmla="*/ 334543 h 1307426"/>
              <a:gd name="connsiteX217" fmla="*/ 5372627 w 10369632"/>
              <a:gd name="connsiteY217" fmla="*/ 355402 h 1307426"/>
              <a:gd name="connsiteX218" fmla="*/ 5387486 w 10369632"/>
              <a:gd name="connsiteY218" fmla="*/ 366356 h 1307426"/>
              <a:gd name="connsiteX219" fmla="*/ 5465972 w 10369632"/>
              <a:gd name="connsiteY219" fmla="*/ 444842 h 1307426"/>
              <a:gd name="connsiteX220" fmla="*/ 5478068 w 10369632"/>
              <a:gd name="connsiteY220" fmla="*/ 462654 h 1307426"/>
              <a:gd name="connsiteX221" fmla="*/ 5495975 w 10369632"/>
              <a:gd name="connsiteY221" fmla="*/ 489514 h 1307426"/>
              <a:gd name="connsiteX222" fmla="*/ 5513025 w 10369632"/>
              <a:gd name="connsiteY222" fmla="*/ 523804 h 1307426"/>
              <a:gd name="connsiteX223" fmla="*/ 5517121 w 10369632"/>
              <a:gd name="connsiteY223" fmla="*/ 531996 h 1307426"/>
              <a:gd name="connsiteX224" fmla="*/ 5522360 w 10369632"/>
              <a:gd name="connsiteY224" fmla="*/ 543045 h 1307426"/>
              <a:gd name="connsiteX225" fmla="*/ 5527122 w 10369632"/>
              <a:gd name="connsiteY225" fmla="*/ 554380 h 1307426"/>
              <a:gd name="connsiteX226" fmla="*/ 5531599 w 10369632"/>
              <a:gd name="connsiteY226" fmla="*/ 568953 h 1307426"/>
              <a:gd name="connsiteX227" fmla="*/ 5537409 w 10369632"/>
              <a:gd name="connsiteY227" fmla="*/ 588003 h 1307426"/>
              <a:gd name="connsiteX228" fmla="*/ 5541791 w 10369632"/>
              <a:gd name="connsiteY228" fmla="*/ 602671 h 1307426"/>
              <a:gd name="connsiteX229" fmla="*/ 5547982 w 10369632"/>
              <a:gd name="connsiteY229" fmla="*/ 629722 h 1307426"/>
              <a:gd name="connsiteX230" fmla="*/ 5551125 w 10369632"/>
              <a:gd name="connsiteY230" fmla="*/ 644772 h 1307426"/>
              <a:gd name="connsiteX231" fmla="*/ 5552268 w 10369632"/>
              <a:gd name="connsiteY231" fmla="*/ 774693 h 1307426"/>
              <a:gd name="connsiteX232" fmla="*/ 5551506 w 10369632"/>
              <a:gd name="connsiteY232" fmla="*/ 793267 h 1307426"/>
              <a:gd name="connsiteX233" fmla="*/ 5546934 w 10369632"/>
              <a:gd name="connsiteY233" fmla="*/ 820603 h 1307426"/>
              <a:gd name="connsiteX234" fmla="*/ 5542839 w 10369632"/>
              <a:gd name="connsiteY234" fmla="*/ 840225 h 1307426"/>
              <a:gd name="connsiteX235" fmla="*/ 5530456 w 10369632"/>
              <a:gd name="connsiteY235" fmla="*/ 850702 h 1307426"/>
              <a:gd name="connsiteX236" fmla="*/ 5521121 w 10369632"/>
              <a:gd name="connsiteY236" fmla="*/ 850702 h 1307426"/>
              <a:gd name="connsiteX237" fmla="*/ 5184698 w 10369632"/>
              <a:gd name="connsiteY237" fmla="*/ 850607 h 1307426"/>
              <a:gd name="connsiteX238" fmla="*/ 4847133 w 10369632"/>
              <a:gd name="connsiteY238" fmla="*/ 850607 h 1307426"/>
              <a:gd name="connsiteX239" fmla="*/ 4827511 w 10369632"/>
              <a:gd name="connsiteY239" fmla="*/ 869467 h 1307426"/>
              <a:gd name="connsiteX240" fmla="*/ 4827797 w 10369632"/>
              <a:gd name="connsiteY240" fmla="*/ 901947 h 1307426"/>
              <a:gd name="connsiteX241" fmla="*/ 4828368 w 10369632"/>
              <a:gd name="connsiteY241" fmla="*/ 912805 h 1307426"/>
              <a:gd name="connsiteX242" fmla="*/ 4836369 w 10369632"/>
              <a:gd name="connsiteY242" fmla="*/ 934427 h 1307426"/>
              <a:gd name="connsiteX243" fmla="*/ 4843037 w 10369632"/>
              <a:gd name="connsiteY243" fmla="*/ 956335 h 1307426"/>
              <a:gd name="connsiteX244" fmla="*/ 4852847 w 10369632"/>
              <a:gd name="connsiteY244" fmla="*/ 975480 h 1307426"/>
              <a:gd name="connsiteX245" fmla="*/ 4900282 w 10369632"/>
              <a:gd name="connsiteY245" fmla="*/ 1029868 h 1307426"/>
              <a:gd name="connsiteX246" fmla="*/ 4933620 w 10369632"/>
              <a:gd name="connsiteY246" fmla="*/ 1051870 h 1307426"/>
              <a:gd name="connsiteX247" fmla="*/ 4968481 w 10369632"/>
              <a:gd name="connsiteY247" fmla="*/ 1068158 h 1307426"/>
              <a:gd name="connsiteX248" fmla="*/ 4975911 w 10369632"/>
              <a:gd name="connsiteY248" fmla="*/ 1070158 h 1307426"/>
              <a:gd name="connsiteX249" fmla="*/ 4999532 w 10369632"/>
              <a:gd name="connsiteY249" fmla="*/ 1076921 h 1307426"/>
              <a:gd name="connsiteX250" fmla="*/ 5017630 w 10369632"/>
              <a:gd name="connsiteY250" fmla="*/ 1080350 h 1307426"/>
              <a:gd name="connsiteX251" fmla="*/ 5101259 w 10369632"/>
              <a:gd name="connsiteY251" fmla="*/ 1080255 h 1307426"/>
              <a:gd name="connsiteX252" fmla="*/ 5128406 w 10369632"/>
              <a:gd name="connsiteY252" fmla="*/ 1074730 h 1307426"/>
              <a:gd name="connsiteX253" fmla="*/ 5147932 w 10369632"/>
              <a:gd name="connsiteY253" fmla="*/ 1070635 h 1307426"/>
              <a:gd name="connsiteX254" fmla="*/ 5166887 w 10369632"/>
              <a:gd name="connsiteY254" fmla="*/ 1064824 h 1307426"/>
              <a:gd name="connsiteX255" fmla="*/ 5169554 w 10369632"/>
              <a:gd name="connsiteY255" fmla="*/ 1063300 h 1307426"/>
              <a:gd name="connsiteX256" fmla="*/ 5205558 w 10369632"/>
              <a:gd name="connsiteY256" fmla="*/ 1050632 h 1307426"/>
              <a:gd name="connsiteX257" fmla="*/ 5216512 w 10369632"/>
              <a:gd name="connsiteY257" fmla="*/ 1045393 h 1307426"/>
              <a:gd name="connsiteX258" fmla="*/ 5221751 w 10369632"/>
              <a:gd name="connsiteY258" fmla="*/ 1042155 h 1307426"/>
              <a:gd name="connsiteX259" fmla="*/ 5231943 w 10369632"/>
              <a:gd name="connsiteY259" fmla="*/ 1038535 h 1307426"/>
              <a:gd name="connsiteX260" fmla="*/ 5266995 w 10369632"/>
              <a:gd name="connsiteY260" fmla="*/ 1016437 h 1307426"/>
              <a:gd name="connsiteX261" fmla="*/ 5315572 w 10369632"/>
              <a:gd name="connsiteY261" fmla="*/ 978528 h 1307426"/>
              <a:gd name="connsiteX262" fmla="*/ 5321573 w 10369632"/>
              <a:gd name="connsiteY262" fmla="*/ 973670 h 1307426"/>
              <a:gd name="connsiteX263" fmla="*/ 5332717 w 10369632"/>
              <a:gd name="connsiteY263" fmla="*/ 975480 h 1307426"/>
              <a:gd name="connsiteX264" fmla="*/ 5349386 w 10369632"/>
              <a:gd name="connsiteY264" fmla="*/ 995768 h 1307426"/>
              <a:gd name="connsiteX265" fmla="*/ 5387771 w 10369632"/>
              <a:gd name="connsiteY265" fmla="*/ 1042155 h 1307426"/>
              <a:gd name="connsiteX266" fmla="*/ 5448160 w 10369632"/>
              <a:gd name="connsiteY266" fmla="*/ 1116450 h 1307426"/>
              <a:gd name="connsiteX267" fmla="*/ 5447970 w 10369632"/>
              <a:gd name="connsiteY267" fmla="*/ 1132452 h 1307426"/>
              <a:gd name="connsiteX268" fmla="*/ 5446922 w 10369632"/>
              <a:gd name="connsiteY268" fmla="*/ 1133595 h 1307426"/>
              <a:gd name="connsiteX269" fmla="*/ 5381485 w 10369632"/>
              <a:gd name="connsiteY269" fmla="*/ 1187506 h 1307426"/>
              <a:gd name="connsiteX270" fmla="*/ 5341956 w 10369632"/>
              <a:gd name="connsiteY270" fmla="*/ 1214081 h 1307426"/>
              <a:gd name="connsiteX271" fmla="*/ 5321859 w 10369632"/>
              <a:gd name="connsiteY271" fmla="*/ 1225225 h 1307426"/>
              <a:gd name="connsiteX272" fmla="*/ 5294331 w 10369632"/>
              <a:gd name="connsiteY272" fmla="*/ 1238656 h 1307426"/>
              <a:gd name="connsiteX273" fmla="*/ 5262327 w 10369632"/>
              <a:gd name="connsiteY273" fmla="*/ 1253419 h 1307426"/>
              <a:gd name="connsiteX274" fmla="*/ 5229466 w 10369632"/>
              <a:gd name="connsiteY274" fmla="*/ 1265897 h 1307426"/>
              <a:gd name="connsiteX275" fmla="*/ 5204891 w 10369632"/>
              <a:gd name="connsiteY275" fmla="*/ 1274374 h 1307426"/>
              <a:gd name="connsiteX276" fmla="*/ 5192890 w 10369632"/>
              <a:gd name="connsiteY276" fmla="*/ 1276660 h 1307426"/>
              <a:gd name="connsiteX277" fmla="*/ 5173650 w 10369632"/>
              <a:gd name="connsiteY277" fmla="*/ 1281899 h 1307426"/>
              <a:gd name="connsiteX278" fmla="*/ 5155838 w 10369632"/>
              <a:gd name="connsiteY278" fmla="*/ 1286471 h 1307426"/>
              <a:gd name="connsiteX279" fmla="*/ 5121071 w 10369632"/>
              <a:gd name="connsiteY279" fmla="*/ 1292948 h 1307426"/>
              <a:gd name="connsiteX280" fmla="*/ 5102879 w 10369632"/>
              <a:gd name="connsiteY280" fmla="*/ 1295996 h 1307426"/>
              <a:gd name="connsiteX281" fmla="*/ 4977434 w 10369632"/>
              <a:gd name="connsiteY281" fmla="*/ 1296282 h 1307426"/>
              <a:gd name="connsiteX282" fmla="*/ 4953432 w 10369632"/>
              <a:gd name="connsiteY282" fmla="*/ 1291424 h 1307426"/>
              <a:gd name="connsiteX283" fmla="*/ 4926190 w 10369632"/>
              <a:gd name="connsiteY283" fmla="*/ 1286566 h 1307426"/>
              <a:gd name="connsiteX284" fmla="*/ 4904187 w 10369632"/>
              <a:gd name="connsiteY284" fmla="*/ 1280566 h 1307426"/>
              <a:gd name="connsiteX285" fmla="*/ 4892471 w 10369632"/>
              <a:gd name="connsiteY285" fmla="*/ 1276946 h 1307426"/>
              <a:gd name="connsiteX286" fmla="*/ 4884852 w 10369632"/>
              <a:gd name="connsiteY286" fmla="*/ 1276089 h 1307426"/>
              <a:gd name="connsiteX287" fmla="*/ 4851895 w 10369632"/>
              <a:gd name="connsiteY287" fmla="*/ 1263802 h 1307426"/>
              <a:gd name="connsiteX288" fmla="*/ 4815891 w 10369632"/>
              <a:gd name="connsiteY288" fmla="*/ 1247133 h 1307426"/>
              <a:gd name="connsiteX289" fmla="*/ 4794269 w 10369632"/>
              <a:gd name="connsiteY289" fmla="*/ 1235417 h 1307426"/>
              <a:gd name="connsiteX290" fmla="*/ 4746358 w 10369632"/>
              <a:gd name="connsiteY290" fmla="*/ 1201984 h 1307426"/>
              <a:gd name="connsiteX291" fmla="*/ 4688636 w 10369632"/>
              <a:gd name="connsiteY291" fmla="*/ 1148644 h 1307426"/>
              <a:gd name="connsiteX292" fmla="*/ 4679778 w 10369632"/>
              <a:gd name="connsiteY292" fmla="*/ 1138072 h 1307426"/>
              <a:gd name="connsiteX293" fmla="*/ 4655870 w 10369632"/>
              <a:gd name="connsiteY293" fmla="*/ 1107782 h 1307426"/>
              <a:gd name="connsiteX294" fmla="*/ 4650822 w 10369632"/>
              <a:gd name="connsiteY294" fmla="*/ 1100067 h 1307426"/>
              <a:gd name="connsiteX295" fmla="*/ 4624819 w 10369632"/>
              <a:gd name="connsiteY295" fmla="*/ 1058347 h 1307426"/>
              <a:gd name="connsiteX296" fmla="*/ 4621580 w 10369632"/>
              <a:gd name="connsiteY296" fmla="*/ 1051394 h 1307426"/>
              <a:gd name="connsiteX297" fmla="*/ 4615580 w 10369632"/>
              <a:gd name="connsiteY297" fmla="*/ 1039107 h 1307426"/>
              <a:gd name="connsiteX298" fmla="*/ 4611865 w 10369632"/>
              <a:gd name="connsiteY298" fmla="*/ 1030725 h 1307426"/>
              <a:gd name="connsiteX299" fmla="*/ 4606817 w 10369632"/>
              <a:gd name="connsiteY299" fmla="*/ 1019676 h 1307426"/>
              <a:gd name="connsiteX300" fmla="*/ 4605007 w 10369632"/>
              <a:gd name="connsiteY300" fmla="*/ 1017199 h 1307426"/>
              <a:gd name="connsiteX301" fmla="*/ 4592053 w 10369632"/>
              <a:gd name="connsiteY301" fmla="*/ 981195 h 1307426"/>
              <a:gd name="connsiteX302" fmla="*/ 4589291 w 10369632"/>
              <a:gd name="connsiteY302" fmla="*/ 970813 h 1307426"/>
              <a:gd name="connsiteX303" fmla="*/ 4581290 w 10369632"/>
              <a:gd name="connsiteY303" fmla="*/ 943000 h 1307426"/>
              <a:gd name="connsiteX304" fmla="*/ 4577003 w 10369632"/>
              <a:gd name="connsiteY304" fmla="*/ 928331 h 1307426"/>
              <a:gd name="connsiteX305" fmla="*/ 4572051 w 10369632"/>
              <a:gd name="connsiteY305" fmla="*/ 907471 h 1307426"/>
              <a:gd name="connsiteX306" fmla="*/ 4565193 w 10369632"/>
              <a:gd name="connsiteY306" fmla="*/ 864895 h 1307426"/>
              <a:gd name="connsiteX307" fmla="*/ 4562621 w 10369632"/>
              <a:gd name="connsiteY307" fmla="*/ 846607 h 1307426"/>
              <a:gd name="connsiteX308" fmla="*/ 4562716 w 10369632"/>
              <a:gd name="connsiteY308" fmla="*/ 762977 h 1307426"/>
              <a:gd name="connsiteX309" fmla="*/ 4565954 w 10369632"/>
              <a:gd name="connsiteY309" fmla="*/ 740117 h 1307426"/>
              <a:gd name="connsiteX310" fmla="*/ 4572146 w 10369632"/>
              <a:gd name="connsiteY310" fmla="*/ 703636 h 1307426"/>
              <a:gd name="connsiteX311" fmla="*/ 4578337 w 10369632"/>
              <a:gd name="connsiteY311" fmla="*/ 676966 h 1307426"/>
              <a:gd name="connsiteX312" fmla="*/ 4581957 w 10369632"/>
              <a:gd name="connsiteY312" fmla="*/ 660583 h 1307426"/>
              <a:gd name="connsiteX313" fmla="*/ 4587576 w 10369632"/>
              <a:gd name="connsiteY313" fmla="*/ 641438 h 1307426"/>
              <a:gd name="connsiteX314" fmla="*/ 4591862 w 10369632"/>
              <a:gd name="connsiteY314" fmla="*/ 628294 h 1307426"/>
              <a:gd name="connsiteX315" fmla="*/ 4598054 w 10369632"/>
              <a:gd name="connsiteY315" fmla="*/ 612673 h 1307426"/>
              <a:gd name="connsiteX316" fmla="*/ 4600245 w 10369632"/>
              <a:gd name="connsiteY316" fmla="*/ 608672 h 1307426"/>
              <a:gd name="connsiteX317" fmla="*/ 4612913 w 10369632"/>
              <a:gd name="connsiteY317" fmla="*/ 575716 h 1307426"/>
              <a:gd name="connsiteX318" fmla="*/ 4625200 w 10369632"/>
              <a:gd name="connsiteY318" fmla="*/ 550951 h 1307426"/>
              <a:gd name="connsiteX319" fmla="*/ 4663110 w 10369632"/>
              <a:gd name="connsiteY319" fmla="*/ 489324 h 1307426"/>
              <a:gd name="connsiteX320" fmla="*/ 4670253 w 10369632"/>
              <a:gd name="connsiteY320" fmla="*/ 481228 h 1307426"/>
              <a:gd name="connsiteX321" fmla="*/ 4704543 w 10369632"/>
              <a:gd name="connsiteY321" fmla="*/ 439413 h 1307426"/>
              <a:gd name="connsiteX322" fmla="*/ 4747882 w 10369632"/>
              <a:gd name="connsiteY322" fmla="*/ 397693 h 1307426"/>
              <a:gd name="connsiteX323" fmla="*/ 4804461 w 10369632"/>
              <a:gd name="connsiteY323" fmla="*/ 355021 h 1307426"/>
              <a:gd name="connsiteX324" fmla="*/ 4815510 w 10369632"/>
              <a:gd name="connsiteY324" fmla="*/ 346639 h 1307426"/>
              <a:gd name="connsiteX325" fmla="*/ 4853038 w 10369632"/>
              <a:gd name="connsiteY325" fmla="*/ 325875 h 1307426"/>
              <a:gd name="connsiteX326" fmla="*/ 4876089 w 10369632"/>
              <a:gd name="connsiteY326" fmla="*/ 313969 h 1307426"/>
              <a:gd name="connsiteX327" fmla="*/ 4894377 w 10369632"/>
              <a:gd name="connsiteY327" fmla="*/ 306444 h 1307426"/>
              <a:gd name="connsiteX328" fmla="*/ 4902854 w 10369632"/>
              <a:gd name="connsiteY328" fmla="*/ 302920 h 1307426"/>
              <a:gd name="connsiteX329" fmla="*/ 4920094 w 10369632"/>
              <a:gd name="connsiteY329" fmla="*/ 296919 h 1307426"/>
              <a:gd name="connsiteX330" fmla="*/ 4924571 w 10369632"/>
              <a:gd name="connsiteY330" fmla="*/ 295966 h 1307426"/>
              <a:gd name="connsiteX331" fmla="*/ 4972577 w 10369632"/>
              <a:gd name="connsiteY331" fmla="*/ 279964 h 1307426"/>
              <a:gd name="connsiteX332" fmla="*/ 4987721 w 10369632"/>
              <a:gd name="connsiteY332" fmla="*/ 277583 h 1307426"/>
              <a:gd name="connsiteX333" fmla="*/ 5013439 w 10369632"/>
              <a:gd name="connsiteY333" fmla="*/ 272916 h 1307426"/>
              <a:gd name="connsiteX334" fmla="*/ 5043824 w 10369632"/>
              <a:gd name="connsiteY334" fmla="*/ 268058 h 1307426"/>
              <a:gd name="connsiteX335" fmla="*/ 5138312 w 10369632"/>
              <a:gd name="connsiteY335" fmla="*/ 267963 h 1307426"/>
              <a:gd name="connsiteX336" fmla="*/ 4473562 w 10369632"/>
              <a:gd name="connsiteY336" fmla="*/ 267867 h 1307426"/>
              <a:gd name="connsiteX337" fmla="*/ 4490803 w 10369632"/>
              <a:gd name="connsiteY337" fmla="*/ 285012 h 1307426"/>
              <a:gd name="connsiteX338" fmla="*/ 4484421 w 10369632"/>
              <a:gd name="connsiteY338" fmla="*/ 321303 h 1307426"/>
              <a:gd name="connsiteX339" fmla="*/ 4480706 w 10369632"/>
              <a:gd name="connsiteY339" fmla="*/ 348735 h 1307426"/>
              <a:gd name="connsiteX340" fmla="*/ 4475181 w 10369632"/>
              <a:gd name="connsiteY340" fmla="*/ 377405 h 1307426"/>
              <a:gd name="connsiteX341" fmla="*/ 4470895 w 10369632"/>
              <a:gd name="connsiteY341" fmla="*/ 403218 h 1307426"/>
              <a:gd name="connsiteX342" fmla="*/ 4464799 w 10369632"/>
              <a:gd name="connsiteY342" fmla="*/ 437984 h 1307426"/>
              <a:gd name="connsiteX343" fmla="*/ 4460799 w 10369632"/>
              <a:gd name="connsiteY343" fmla="*/ 466845 h 1307426"/>
              <a:gd name="connsiteX344" fmla="*/ 4451178 w 10369632"/>
              <a:gd name="connsiteY344" fmla="*/ 508850 h 1307426"/>
              <a:gd name="connsiteX345" fmla="*/ 4443178 w 10369632"/>
              <a:gd name="connsiteY345" fmla="*/ 515041 h 1307426"/>
              <a:gd name="connsiteX346" fmla="*/ 4432319 w 10369632"/>
              <a:gd name="connsiteY346" fmla="*/ 515422 h 1307426"/>
              <a:gd name="connsiteX347" fmla="*/ 4376883 w 10369632"/>
              <a:gd name="connsiteY347" fmla="*/ 520756 h 1307426"/>
              <a:gd name="connsiteX348" fmla="*/ 4344594 w 10369632"/>
              <a:gd name="connsiteY348" fmla="*/ 523423 h 1307426"/>
              <a:gd name="connsiteX349" fmla="*/ 4302398 w 10369632"/>
              <a:gd name="connsiteY349" fmla="*/ 530948 h 1307426"/>
              <a:gd name="connsiteX350" fmla="*/ 4288777 w 10369632"/>
              <a:gd name="connsiteY350" fmla="*/ 533234 h 1307426"/>
              <a:gd name="connsiteX351" fmla="*/ 4265251 w 10369632"/>
              <a:gd name="connsiteY351" fmla="*/ 539806 h 1307426"/>
              <a:gd name="connsiteX352" fmla="*/ 4259631 w 10369632"/>
              <a:gd name="connsiteY352" fmla="*/ 542283 h 1307426"/>
              <a:gd name="connsiteX353" fmla="*/ 4233723 w 10369632"/>
              <a:gd name="connsiteY353" fmla="*/ 551427 h 1307426"/>
              <a:gd name="connsiteX354" fmla="*/ 4143807 w 10369632"/>
              <a:gd name="connsiteY354" fmla="*/ 617244 h 1307426"/>
              <a:gd name="connsiteX355" fmla="*/ 4105326 w 10369632"/>
              <a:gd name="connsiteY355" fmla="*/ 674680 h 1307426"/>
              <a:gd name="connsiteX356" fmla="*/ 4092562 w 10369632"/>
              <a:gd name="connsiteY356" fmla="*/ 707446 h 1307426"/>
              <a:gd name="connsiteX357" fmla="*/ 4089705 w 10369632"/>
              <a:gd name="connsiteY357" fmla="*/ 712875 h 1307426"/>
              <a:gd name="connsiteX358" fmla="*/ 4087133 w 10369632"/>
              <a:gd name="connsiteY358" fmla="*/ 716685 h 1307426"/>
              <a:gd name="connsiteX359" fmla="*/ 4074179 w 10369632"/>
              <a:gd name="connsiteY359" fmla="*/ 760691 h 1307426"/>
              <a:gd name="connsiteX360" fmla="*/ 4069607 w 10369632"/>
              <a:gd name="connsiteY360" fmla="*/ 778503 h 1307426"/>
              <a:gd name="connsiteX361" fmla="*/ 4063987 w 10369632"/>
              <a:gd name="connsiteY361" fmla="*/ 802315 h 1307426"/>
              <a:gd name="connsiteX362" fmla="*/ 4058463 w 10369632"/>
              <a:gd name="connsiteY362" fmla="*/ 830890 h 1307426"/>
              <a:gd name="connsiteX363" fmla="*/ 4054177 w 10369632"/>
              <a:gd name="connsiteY363" fmla="*/ 856608 h 1307426"/>
              <a:gd name="connsiteX364" fmla="*/ 4048461 w 10369632"/>
              <a:gd name="connsiteY364" fmla="*/ 885183 h 1307426"/>
              <a:gd name="connsiteX365" fmla="*/ 4044175 w 10369632"/>
              <a:gd name="connsiteY365" fmla="*/ 912519 h 1307426"/>
              <a:gd name="connsiteX366" fmla="*/ 4039032 w 10369632"/>
              <a:gd name="connsiteY366" fmla="*/ 939666 h 1307426"/>
              <a:gd name="connsiteX367" fmla="*/ 4034650 w 10369632"/>
              <a:gd name="connsiteY367" fmla="*/ 963859 h 1307426"/>
              <a:gd name="connsiteX368" fmla="*/ 4028364 w 10369632"/>
              <a:gd name="connsiteY368" fmla="*/ 998625 h 1307426"/>
              <a:gd name="connsiteX369" fmla="*/ 4024649 w 10369632"/>
              <a:gd name="connsiteY369" fmla="*/ 1024438 h 1307426"/>
              <a:gd name="connsiteX370" fmla="*/ 4019029 w 10369632"/>
              <a:gd name="connsiteY370" fmla="*/ 1053108 h 1307426"/>
              <a:gd name="connsiteX371" fmla="*/ 4014457 w 10369632"/>
              <a:gd name="connsiteY371" fmla="*/ 1081969 h 1307426"/>
              <a:gd name="connsiteX372" fmla="*/ 4009028 w 10369632"/>
              <a:gd name="connsiteY372" fmla="*/ 1112163 h 1307426"/>
              <a:gd name="connsiteX373" fmla="*/ 4004646 w 10369632"/>
              <a:gd name="connsiteY373" fmla="*/ 1141024 h 1307426"/>
              <a:gd name="connsiteX374" fmla="*/ 3999408 w 10369632"/>
              <a:gd name="connsiteY374" fmla="*/ 1168170 h 1307426"/>
              <a:gd name="connsiteX375" fmla="*/ 3994740 w 10369632"/>
              <a:gd name="connsiteY375" fmla="*/ 1197031 h 1307426"/>
              <a:gd name="connsiteX376" fmla="*/ 3989121 w 10369632"/>
              <a:gd name="connsiteY376" fmla="*/ 1227130 h 1307426"/>
              <a:gd name="connsiteX377" fmla="*/ 3984930 w 10369632"/>
              <a:gd name="connsiteY377" fmla="*/ 1256086 h 1307426"/>
              <a:gd name="connsiteX378" fmla="*/ 3977024 w 10369632"/>
              <a:gd name="connsiteY378" fmla="*/ 1290471 h 1307426"/>
              <a:gd name="connsiteX379" fmla="*/ 3965308 w 10369632"/>
              <a:gd name="connsiteY379" fmla="*/ 1298853 h 1307426"/>
              <a:gd name="connsiteX380" fmla="*/ 3955974 w 10369632"/>
              <a:gd name="connsiteY380" fmla="*/ 1298853 h 1307426"/>
              <a:gd name="connsiteX381" fmla="*/ 3841578 w 10369632"/>
              <a:gd name="connsiteY381" fmla="*/ 1298377 h 1307426"/>
              <a:gd name="connsiteX382" fmla="*/ 3728517 w 10369632"/>
              <a:gd name="connsiteY382" fmla="*/ 1298377 h 1307426"/>
              <a:gd name="connsiteX383" fmla="*/ 3723849 w 10369632"/>
              <a:gd name="connsiteY383" fmla="*/ 1298377 h 1307426"/>
              <a:gd name="connsiteX384" fmla="*/ 3708038 w 10369632"/>
              <a:gd name="connsiteY384" fmla="*/ 1280565 h 1307426"/>
              <a:gd name="connsiteX385" fmla="*/ 3709181 w 10369632"/>
              <a:gd name="connsiteY385" fmla="*/ 1268278 h 1307426"/>
              <a:gd name="connsiteX386" fmla="*/ 3715277 w 10369632"/>
              <a:gd name="connsiteY386" fmla="*/ 1235131 h 1307426"/>
              <a:gd name="connsiteX387" fmla="*/ 3719087 w 10369632"/>
              <a:gd name="connsiteY387" fmla="*/ 1207699 h 1307426"/>
              <a:gd name="connsiteX388" fmla="*/ 3724421 w 10369632"/>
              <a:gd name="connsiteY388" fmla="*/ 1182172 h 1307426"/>
              <a:gd name="connsiteX389" fmla="*/ 3728898 w 10369632"/>
              <a:gd name="connsiteY389" fmla="*/ 1156455 h 1307426"/>
              <a:gd name="connsiteX390" fmla="*/ 3734708 w 10369632"/>
              <a:gd name="connsiteY390" fmla="*/ 1124736 h 1307426"/>
              <a:gd name="connsiteX391" fmla="*/ 3738708 w 10369632"/>
              <a:gd name="connsiteY391" fmla="*/ 1098924 h 1307426"/>
              <a:gd name="connsiteX392" fmla="*/ 3744233 w 10369632"/>
              <a:gd name="connsiteY392" fmla="*/ 1070349 h 1307426"/>
              <a:gd name="connsiteX393" fmla="*/ 3748805 w 10369632"/>
              <a:gd name="connsiteY393" fmla="*/ 1043107 h 1307426"/>
              <a:gd name="connsiteX394" fmla="*/ 3754710 w 10369632"/>
              <a:gd name="connsiteY394" fmla="*/ 1013008 h 1307426"/>
              <a:gd name="connsiteX395" fmla="*/ 3758711 w 10369632"/>
              <a:gd name="connsiteY395" fmla="*/ 987195 h 1307426"/>
              <a:gd name="connsiteX396" fmla="*/ 3764426 w 10369632"/>
              <a:gd name="connsiteY396" fmla="*/ 958620 h 1307426"/>
              <a:gd name="connsiteX397" fmla="*/ 3768712 w 10369632"/>
              <a:gd name="connsiteY397" fmla="*/ 931284 h 1307426"/>
              <a:gd name="connsiteX398" fmla="*/ 3774332 w 10369632"/>
              <a:gd name="connsiteY398" fmla="*/ 902709 h 1307426"/>
              <a:gd name="connsiteX399" fmla="*/ 3778523 w 10369632"/>
              <a:gd name="connsiteY399" fmla="*/ 876896 h 1307426"/>
              <a:gd name="connsiteX400" fmla="*/ 3784143 w 10369632"/>
              <a:gd name="connsiteY400" fmla="*/ 846702 h 1307426"/>
              <a:gd name="connsiteX401" fmla="*/ 3788238 w 10369632"/>
              <a:gd name="connsiteY401" fmla="*/ 822508 h 1307426"/>
              <a:gd name="connsiteX402" fmla="*/ 3794144 w 10369632"/>
              <a:gd name="connsiteY402" fmla="*/ 790790 h 1307426"/>
              <a:gd name="connsiteX403" fmla="*/ 3798430 w 10369632"/>
              <a:gd name="connsiteY403" fmla="*/ 763453 h 1307426"/>
              <a:gd name="connsiteX404" fmla="*/ 3804050 w 10369632"/>
              <a:gd name="connsiteY404" fmla="*/ 734878 h 1307426"/>
              <a:gd name="connsiteX405" fmla="*/ 3808336 w 10369632"/>
              <a:gd name="connsiteY405" fmla="*/ 707541 h 1307426"/>
              <a:gd name="connsiteX406" fmla="*/ 3813861 w 10369632"/>
              <a:gd name="connsiteY406" fmla="*/ 680490 h 1307426"/>
              <a:gd name="connsiteX407" fmla="*/ 3818147 w 10369632"/>
              <a:gd name="connsiteY407" fmla="*/ 659440 h 1307426"/>
              <a:gd name="connsiteX408" fmla="*/ 3823957 w 10369632"/>
              <a:gd name="connsiteY408" fmla="*/ 637342 h 1307426"/>
              <a:gd name="connsiteX409" fmla="*/ 3825862 w 10369632"/>
              <a:gd name="connsiteY409" fmla="*/ 633151 h 1307426"/>
              <a:gd name="connsiteX410" fmla="*/ 3838340 w 10369632"/>
              <a:gd name="connsiteY410" fmla="*/ 590574 h 1307426"/>
              <a:gd name="connsiteX411" fmla="*/ 3839102 w 10369632"/>
              <a:gd name="connsiteY411" fmla="*/ 587622 h 1307426"/>
              <a:gd name="connsiteX412" fmla="*/ 3854628 w 10369632"/>
              <a:gd name="connsiteY412" fmla="*/ 554284 h 1307426"/>
              <a:gd name="connsiteX413" fmla="*/ 3866344 w 10369632"/>
              <a:gd name="connsiteY413" fmla="*/ 531043 h 1307426"/>
              <a:gd name="connsiteX414" fmla="*/ 3884441 w 10369632"/>
              <a:gd name="connsiteY414" fmla="*/ 500754 h 1307426"/>
              <a:gd name="connsiteX415" fmla="*/ 3915683 w 10369632"/>
              <a:gd name="connsiteY415" fmla="*/ 456939 h 1307426"/>
              <a:gd name="connsiteX416" fmla="*/ 3989121 w 10369632"/>
              <a:gd name="connsiteY416" fmla="*/ 384739 h 1307426"/>
              <a:gd name="connsiteX417" fmla="*/ 4038079 w 10369632"/>
              <a:gd name="connsiteY417" fmla="*/ 349973 h 1307426"/>
              <a:gd name="connsiteX418" fmla="*/ 4059415 w 10369632"/>
              <a:gd name="connsiteY418" fmla="*/ 337781 h 1307426"/>
              <a:gd name="connsiteX419" fmla="*/ 4095134 w 10369632"/>
              <a:gd name="connsiteY419" fmla="*/ 319969 h 1307426"/>
              <a:gd name="connsiteX420" fmla="*/ 4130948 w 10369632"/>
              <a:gd name="connsiteY420" fmla="*/ 306634 h 1307426"/>
              <a:gd name="connsiteX421" fmla="*/ 4167429 w 10369632"/>
              <a:gd name="connsiteY421" fmla="*/ 295490 h 1307426"/>
              <a:gd name="connsiteX422" fmla="*/ 4201433 w 10369632"/>
              <a:gd name="connsiteY422" fmla="*/ 286822 h 1307426"/>
              <a:gd name="connsiteX423" fmla="*/ 4219340 w 10369632"/>
              <a:gd name="connsiteY423" fmla="*/ 282155 h 1307426"/>
              <a:gd name="connsiteX424" fmla="*/ 4240390 w 10369632"/>
              <a:gd name="connsiteY424" fmla="*/ 277869 h 1307426"/>
              <a:gd name="connsiteX425" fmla="*/ 4312780 w 10369632"/>
              <a:gd name="connsiteY425" fmla="*/ 271487 h 1307426"/>
              <a:gd name="connsiteX426" fmla="*/ 4362120 w 10369632"/>
              <a:gd name="connsiteY426" fmla="*/ 268153 h 1307426"/>
              <a:gd name="connsiteX427" fmla="*/ 4473562 w 10369632"/>
              <a:gd name="connsiteY427" fmla="*/ 267867 h 1307426"/>
              <a:gd name="connsiteX428" fmla="*/ 9829945 w 10369632"/>
              <a:gd name="connsiteY428" fmla="*/ 262534 h 1307426"/>
              <a:gd name="connsiteX429" fmla="*/ 9893192 w 10369632"/>
              <a:gd name="connsiteY429" fmla="*/ 262724 h 1307426"/>
              <a:gd name="connsiteX430" fmla="*/ 9954913 w 10369632"/>
              <a:gd name="connsiteY430" fmla="*/ 267677 h 1307426"/>
              <a:gd name="connsiteX431" fmla="*/ 9980346 w 10369632"/>
              <a:gd name="connsiteY431" fmla="*/ 272916 h 1307426"/>
              <a:gd name="connsiteX432" fmla="*/ 10001300 w 10369632"/>
              <a:gd name="connsiteY432" fmla="*/ 277297 h 1307426"/>
              <a:gd name="connsiteX433" fmla="*/ 10023494 w 10369632"/>
              <a:gd name="connsiteY433" fmla="*/ 283108 h 1307426"/>
              <a:gd name="connsiteX434" fmla="*/ 10036639 w 10369632"/>
              <a:gd name="connsiteY434" fmla="*/ 287203 h 1307426"/>
              <a:gd name="connsiteX435" fmla="*/ 10045782 w 10369632"/>
              <a:gd name="connsiteY435" fmla="*/ 288632 h 1307426"/>
              <a:gd name="connsiteX436" fmla="*/ 10077309 w 10369632"/>
              <a:gd name="connsiteY436" fmla="*/ 300729 h 1307426"/>
              <a:gd name="connsiteX437" fmla="*/ 10095788 w 10369632"/>
              <a:gd name="connsiteY437" fmla="*/ 308063 h 1307426"/>
              <a:gd name="connsiteX438" fmla="*/ 10102551 w 10369632"/>
              <a:gd name="connsiteY438" fmla="*/ 311587 h 1307426"/>
              <a:gd name="connsiteX439" fmla="*/ 10110457 w 10369632"/>
              <a:gd name="connsiteY439" fmla="*/ 316255 h 1307426"/>
              <a:gd name="connsiteX440" fmla="*/ 10144080 w 10369632"/>
              <a:gd name="connsiteY440" fmla="*/ 334257 h 1307426"/>
              <a:gd name="connsiteX441" fmla="*/ 10156081 w 10369632"/>
              <a:gd name="connsiteY441" fmla="*/ 341115 h 1307426"/>
              <a:gd name="connsiteX442" fmla="*/ 10255998 w 10369632"/>
              <a:gd name="connsiteY442" fmla="*/ 427507 h 1307426"/>
              <a:gd name="connsiteX443" fmla="*/ 10292099 w 10369632"/>
              <a:gd name="connsiteY443" fmla="*/ 477418 h 1307426"/>
              <a:gd name="connsiteX444" fmla="*/ 10317054 w 10369632"/>
              <a:gd name="connsiteY444" fmla="*/ 519804 h 1307426"/>
              <a:gd name="connsiteX445" fmla="*/ 10329342 w 10369632"/>
              <a:gd name="connsiteY445" fmla="*/ 547903 h 1307426"/>
              <a:gd name="connsiteX446" fmla="*/ 10336485 w 10369632"/>
              <a:gd name="connsiteY446" fmla="*/ 564857 h 1307426"/>
              <a:gd name="connsiteX447" fmla="*/ 10339438 w 10369632"/>
              <a:gd name="connsiteY447" fmla="*/ 573525 h 1307426"/>
              <a:gd name="connsiteX448" fmla="*/ 10346106 w 10369632"/>
              <a:gd name="connsiteY448" fmla="*/ 593908 h 1307426"/>
              <a:gd name="connsiteX449" fmla="*/ 10349820 w 10369632"/>
              <a:gd name="connsiteY449" fmla="*/ 608672 h 1307426"/>
              <a:gd name="connsiteX450" fmla="*/ 10356106 w 10369632"/>
              <a:gd name="connsiteY450" fmla="*/ 632389 h 1307426"/>
              <a:gd name="connsiteX451" fmla="*/ 10359726 w 10369632"/>
              <a:gd name="connsiteY451" fmla="*/ 650392 h 1307426"/>
              <a:gd name="connsiteX452" fmla="*/ 10362107 w 10369632"/>
              <a:gd name="connsiteY452" fmla="*/ 685920 h 1307426"/>
              <a:gd name="connsiteX453" fmla="*/ 10369537 w 10369632"/>
              <a:gd name="connsiteY453" fmla="*/ 700398 h 1307426"/>
              <a:gd name="connsiteX454" fmla="*/ 10369632 w 10369632"/>
              <a:gd name="connsiteY454" fmla="*/ 786980 h 1307426"/>
              <a:gd name="connsiteX455" fmla="*/ 10361536 w 10369632"/>
              <a:gd name="connsiteY455" fmla="*/ 808316 h 1307426"/>
              <a:gd name="connsiteX456" fmla="*/ 10359917 w 10369632"/>
              <a:gd name="connsiteY456" fmla="*/ 836129 h 1307426"/>
              <a:gd name="connsiteX457" fmla="*/ 10354773 w 10369632"/>
              <a:gd name="connsiteY457" fmla="*/ 860132 h 1307426"/>
              <a:gd name="connsiteX458" fmla="*/ 10350582 w 10369632"/>
              <a:gd name="connsiteY458" fmla="*/ 876420 h 1307426"/>
              <a:gd name="connsiteX459" fmla="*/ 10343534 w 10369632"/>
              <a:gd name="connsiteY459" fmla="*/ 901375 h 1307426"/>
              <a:gd name="connsiteX460" fmla="*/ 10342866 w 10369632"/>
              <a:gd name="connsiteY460" fmla="*/ 902709 h 1307426"/>
              <a:gd name="connsiteX461" fmla="*/ 10331056 w 10369632"/>
              <a:gd name="connsiteY461" fmla="*/ 939094 h 1307426"/>
              <a:gd name="connsiteX462" fmla="*/ 10323436 w 10369632"/>
              <a:gd name="connsiteY462" fmla="*/ 957382 h 1307426"/>
              <a:gd name="connsiteX463" fmla="*/ 10309624 w 10369632"/>
              <a:gd name="connsiteY463" fmla="*/ 988243 h 1307426"/>
              <a:gd name="connsiteX464" fmla="*/ 10300099 w 10369632"/>
              <a:gd name="connsiteY464" fmla="*/ 1005769 h 1307426"/>
              <a:gd name="connsiteX465" fmla="*/ 10263428 w 10369632"/>
              <a:gd name="connsiteY465" fmla="*/ 1062634 h 1307426"/>
              <a:gd name="connsiteX466" fmla="*/ 10231995 w 10369632"/>
              <a:gd name="connsiteY466" fmla="*/ 1102639 h 1307426"/>
              <a:gd name="connsiteX467" fmla="*/ 10170369 w 10369632"/>
              <a:gd name="connsiteY467" fmla="*/ 1163122 h 1307426"/>
              <a:gd name="connsiteX468" fmla="*/ 10138365 w 10369632"/>
              <a:gd name="connsiteY468" fmla="*/ 1187316 h 1307426"/>
              <a:gd name="connsiteX469" fmla="*/ 10098931 w 10369632"/>
              <a:gd name="connsiteY469" fmla="*/ 1214081 h 1307426"/>
              <a:gd name="connsiteX470" fmla="*/ 10052831 w 10369632"/>
              <a:gd name="connsiteY470" fmla="*/ 1238465 h 1307426"/>
              <a:gd name="connsiteX471" fmla="*/ 10022636 w 10369632"/>
              <a:gd name="connsiteY471" fmla="*/ 1253419 h 1307426"/>
              <a:gd name="connsiteX472" fmla="*/ 9985299 w 10369632"/>
              <a:gd name="connsiteY472" fmla="*/ 1267040 h 1307426"/>
              <a:gd name="connsiteX473" fmla="*/ 9960819 w 10369632"/>
              <a:gd name="connsiteY473" fmla="*/ 1275803 h 1307426"/>
              <a:gd name="connsiteX474" fmla="*/ 9935577 w 10369632"/>
              <a:gd name="connsiteY474" fmla="*/ 1282471 h 1307426"/>
              <a:gd name="connsiteX475" fmla="*/ 9919195 w 10369632"/>
              <a:gd name="connsiteY475" fmla="*/ 1286185 h 1307426"/>
              <a:gd name="connsiteX476" fmla="*/ 9889095 w 10369632"/>
              <a:gd name="connsiteY476" fmla="*/ 1292567 h 1307426"/>
              <a:gd name="connsiteX477" fmla="*/ 9875666 w 10369632"/>
              <a:gd name="connsiteY477" fmla="*/ 1295710 h 1307426"/>
              <a:gd name="connsiteX478" fmla="*/ 9782892 w 10369632"/>
              <a:gd name="connsiteY478" fmla="*/ 1300568 h 1307426"/>
              <a:gd name="connsiteX479" fmla="*/ 9747459 w 10369632"/>
              <a:gd name="connsiteY479" fmla="*/ 1298854 h 1307426"/>
              <a:gd name="connsiteX480" fmla="*/ 9690214 w 10369632"/>
              <a:gd name="connsiteY480" fmla="*/ 1296187 h 1307426"/>
              <a:gd name="connsiteX481" fmla="*/ 9663163 w 10369632"/>
              <a:gd name="connsiteY481" fmla="*/ 1290852 h 1307426"/>
              <a:gd name="connsiteX482" fmla="*/ 9640588 w 10369632"/>
              <a:gd name="connsiteY482" fmla="*/ 1286566 h 1307426"/>
              <a:gd name="connsiteX483" fmla="*/ 9619919 w 10369632"/>
              <a:gd name="connsiteY483" fmla="*/ 1281137 h 1307426"/>
              <a:gd name="connsiteX484" fmla="*/ 9614395 w 10369632"/>
              <a:gd name="connsiteY484" fmla="*/ 1278565 h 1307426"/>
              <a:gd name="connsiteX485" fmla="*/ 9573247 w 10369632"/>
              <a:gd name="connsiteY485" fmla="*/ 1266564 h 1307426"/>
              <a:gd name="connsiteX486" fmla="*/ 9561817 w 10369632"/>
              <a:gd name="connsiteY486" fmla="*/ 1262087 h 1307426"/>
              <a:gd name="connsiteX487" fmla="*/ 9556483 w 10369632"/>
              <a:gd name="connsiteY487" fmla="*/ 1259039 h 1307426"/>
              <a:gd name="connsiteX488" fmla="*/ 9525527 w 10369632"/>
              <a:gd name="connsiteY488" fmla="*/ 1245990 h 1307426"/>
              <a:gd name="connsiteX489" fmla="*/ 9498762 w 10369632"/>
              <a:gd name="connsiteY489" fmla="*/ 1231417 h 1307426"/>
              <a:gd name="connsiteX490" fmla="*/ 9482854 w 10369632"/>
              <a:gd name="connsiteY490" fmla="*/ 1222082 h 1307426"/>
              <a:gd name="connsiteX491" fmla="*/ 9389700 w 10369632"/>
              <a:gd name="connsiteY491" fmla="*/ 1144072 h 1307426"/>
              <a:gd name="connsiteX492" fmla="*/ 9350267 w 10369632"/>
              <a:gd name="connsiteY492" fmla="*/ 1094828 h 1307426"/>
              <a:gd name="connsiteX493" fmla="*/ 9323882 w 10369632"/>
              <a:gd name="connsiteY493" fmla="*/ 1051489 h 1307426"/>
              <a:gd name="connsiteX494" fmla="*/ 9309881 w 10369632"/>
              <a:gd name="connsiteY494" fmla="*/ 1020724 h 1307426"/>
              <a:gd name="connsiteX495" fmla="*/ 9306452 w 10369632"/>
              <a:gd name="connsiteY495" fmla="*/ 1013866 h 1307426"/>
              <a:gd name="connsiteX496" fmla="*/ 9303880 w 10369632"/>
              <a:gd name="connsiteY496" fmla="*/ 1010056 h 1307426"/>
              <a:gd name="connsiteX497" fmla="*/ 9290831 w 10369632"/>
              <a:gd name="connsiteY497" fmla="*/ 970908 h 1307426"/>
              <a:gd name="connsiteX498" fmla="*/ 9286830 w 10369632"/>
              <a:gd name="connsiteY498" fmla="*/ 956144 h 1307426"/>
              <a:gd name="connsiteX499" fmla="*/ 9280924 w 10369632"/>
              <a:gd name="connsiteY499" fmla="*/ 934046 h 1307426"/>
              <a:gd name="connsiteX500" fmla="*/ 9275209 w 10369632"/>
              <a:gd name="connsiteY500" fmla="*/ 906995 h 1307426"/>
              <a:gd name="connsiteX501" fmla="*/ 9271495 w 10369632"/>
              <a:gd name="connsiteY501" fmla="*/ 887469 h 1307426"/>
              <a:gd name="connsiteX502" fmla="*/ 9271304 w 10369632"/>
              <a:gd name="connsiteY502" fmla="*/ 751261 h 1307426"/>
              <a:gd name="connsiteX503" fmla="*/ 9276448 w 10369632"/>
              <a:gd name="connsiteY503" fmla="*/ 724115 h 1307426"/>
              <a:gd name="connsiteX504" fmla="*/ 9281401 w 10369632"/>
              <a:gd name="connsiteY504" fmla="*/ 696874 h 1307426"/>
              <a:gd name="connsiteX505" fmla="*/ 9286354 w 10369632"/>
              <a:gd name="connsiteY505" fmla="*/ 677633 h 1307426"/>
              <a:gd name="connsiteX506" fmla="*/ 9291021 w 10369632"/>
              <a:gd name="connsiteY506" fmla="*/ 661441 h 1307426"/>
              <a:gd name="connsiteX507" fmla="*/ 9296641 w 10369632"/>
              <a:gd name="connsiteY507" fmla="*/ 643915 h 1307426"/>
              <a:gd name="connsiteX508" fmla="*/ 9300451 w 10369632"/>
              <a:gd name="connsiteY508" fmla="*/ 633913 h 1307426"/>
              <a:gd name="connsiteX509" fmla="*/ 9306356 w 10369632"/>
              <a:gd name="connsiteY509" fmla="*/ 618102 h 1307426"/>
              <a:gd name="connsiteX510" fmla="*/ 9310452 w 10369632"/>
              <a:gd name="connsiteY510" fmla="*/ 608196 h 1307426"/>
              <a:gd name="connsiteX511" fmla="*/ 9317120 w 10369632"/>
              <a:gd name="connsiteY511" fmla="*/ 592861 h 1307426"/>
              <a:gd name="connsiteX512" fmla="*/ 9319501 w 10369632"/>
              <a:gd name="connsiteY512" fmla="*/ 588955 h 1307426"/>
              <a:gd name="connsiteX513" fmla="*/ 9351886 w 10369632"/>
              <a:gd name="connsiteY513" fmla="*/ 528186 h 1307426"/>
              <a:gd name="connsiteX514" fmla="*/ 9461233 w 10369632"/>
              <a:gd name="connsiteY514" fmla="*/ 403408 h 1307426"/>
              <a:gd name="connsiteX515" fmla="*/ 9513334 w 10369632"/>
              <a:gd name="connsiteY515" fmla="*/ 365213 h 1307426"/>
              <a:gd name="connsiteX516" fmla="*/ 9551815 w 10369632"/>
              <a:gd name="connsiteY516" fmla="*/ 339972 h 1307426"/>
              <a:gd name="connsiteX517" fmla="*/ 9580486 w 10369632"/>
              <a:gd name="connsiteY517" fmla="*/ 325589 h 1307426"/>
              <a:gd name="connsiteX518" fmla="*/ 9606679 w 10369632"/>
              <a:gd name="connsiteY518" fmla="*/ 313397 h 1307426"/>
              <a:gd name="connsiteX519" fmla="*/ 9623730 w 10369632"/>
              <a:gd name="connsiteY519" fmla="*/ 306730 h 1307426"/>
              <a:gd name="connsiteX520" fmla="*/ 9644875 w 10369632"/>
              <a:gd name="connsiteY520" fmla="*/ 297967 h 1307426"/>
              <a:gd name="connsiteX521" fmla="*/ 9665163 w 10369632"/>
              <a:gd name="connsiteY521" fmla="*/ 291204 h 1307426"/>
              <a:gd name="connsiteX522" fmla="*/ 9669259 w 10369632"/>
              <a:gd name="connsiteY522" fmla="*/ 289204 h 1307426"/>
              <a:gd name="connsiteX523" fmla="*/ 9724694 w 10369632"/>
              <a:gd name="connsiteY523" fmla="*/ 276726 h 1307426"/>
              <a:gd name="connsiteX524" fmla="*/ 9741078 w 10369632"/>
              <a:gd name="connsiteY524" fmla="*/ 272725 h 1307426"/>
              <a:gd name="connsiteX525" fmla="*/ 9765176 w 10369632"/>
              <a:gd name="connsiteY525" fmla="*/ 267772 h 1307426"/>
              <a:gd name="connsiteX526" fmla="*/ 9829945 w 10369632"/>
              <a:gd name="connsiteY526" fmla="*/ 262534 h 1307426"/>
              <a:gd name="connsiteX527" fmla="*/ 3116440 w 10369632"/>
              <a:gd name="connsiteY527" fmla="*/ 261772 h 1307426"/>
              <a:gd name="connsiteX528" fmla="*/ 3181210 w 10369632"/>
              <a:gd name="connsiteY528" fmla="*/ 262248 h 1307426"/>
              <a:gd name="connsiteX529" fmla="*/ 3239789 w 10369632"/>
              <a:gd name="connsiteY529" fmla="*/ 266915 h 1307426"/>
              <a:gd name="connsiteX530" fmla="*/ 3266840 w 10369632"/>
              <a:gd name="connsiteY530" fmla="*/ 272344 h 1307426"/>
              <a:gd name="connsiteX531" fmla="*/ 3287890 w 10369632"/>
              <a:gd name="connsiteY531" fmla="*/ 276535 h 1307426"/>
              <a:gd name="connsiteX532" fmla="*/ 3308559 w 10369632"/>
              <a:gd name="connsiteY532" fmla="*/ 281965 h 1307426"/>
              <a:gd name="connsiteX533" fmla="*/ 3324656 w 10369632"/>
              <a:gd name="connsiteY533" fmla="*/ 286727 h 1307426"/>
              <a:gd name="connsiteX534" fmla="*/ 3341992 w 10369632"/>
              <a:gd name="connsiteY534" fmla="*/ 292728 h 1307426"/>
              <a:gd name="connsiteX535" fmla="*/ 3346088 w 10369632"/>
              <a:gd name="connsiteY535" fmla="*/ 294823 h 1307426"/>
              <a:gd name="connsiteX536" fmla="*/ 3371805 w 10369632"/>
              <a:gd name="connsiteY536" fmla="*/ 304634 h 1307426"/>
              <a:gd name="connsiteX537" fmla="*/ 3414572 w 10369632"/>
              <a:gd name="connsiteY537" fmla="*/ 325018 h 1307426"/>
              <a:gd name="connsiteX538" fmla="*/ 3464102 w 10369632"/>
              <a:gd name="connsiteY538" fmla="*/ 355974 h 1307426"/>
              <a:gd name="connsiteX539" fmla="*/ 3532206 w 10369632"/>
              <a:gd name="connsiteY539" fmla="*/ 416267 h 1307426"/>
              <a:gd name="connsiteX540" fmla="*/ 3560209 w 10369632"/>
              <a:gd name="connsiteY540" fmla="*/ 451129 h 1307426"/>
              <a:gd name="connsiteX541" fmla="*/ 3586213 w 10369632"/>
              <a:gd name="connsiteY541" fmla="*/ 489229 h 1307426"/>
              <a:gd name="connsiteX542" fmla="*/ 3605549 w 10369632"/>
              <a:gd name="connsiteY542" fmla="*/ 525614 h 1307426"/>
              <a:gd name="connsiteX543" fmla="*/ 3619074 w 10369632"/>
              <a:gd name="connsiteY543" fmla="*/ 559618 h 1307426"/>
              <a:gd name="connsiteX544" fmla="*/ 3621932 w 10369632"/>
              <a:gd name="connsiteY544" fmla="*/ 566762 h 1307426"/>
              <a:gd name="connsiteX545" fmla="*/ 3628885 w 10369632"/>
              <a:gd name="connsiteY545" fmla="*/ 586955 h 1307426"/>
              <a:gd name="connsiteX546" fmla="*/ 3632695 w 10369632"/>
              <a:gd name="connsiteY546" fmla="*/ 598576 h 1307426"/>
              <a:gd name="connsiteX547" fmla="*/ 3638029 w 10369632"/>
              <a:gd name="connsiteY547" fmla="*/ 617626 h 1307426"/>
              <a:gd name="connsiteX548" fmla="*/ 3643649 w 10369632"/>
              <a:gd name="connsiteY548" fmla="*/ 643153 h 1307426"/>
              <a:gd name="connsiteX549" fmla="*/ 3647459 w 10369632"/>
              <a:gd name="connsiteY549" fmla="*/ 659631 h 1307426"/>
              <a:gd name="connsiteX550" fmla="*/ 3651459 w 10369632"/>
              <a:gd name="connsiteY550" fmla="*/ 733831 h 1307426"/>
              <a:gd name="connsiteX551" fmla="*/ 3651554 w 10369632"/>
              <a:gd name="connsiteY551" fmla="*/ 772502 h 1307426"/>
              <a:gd name="connsiteX552" fmla="*/ 3650030 w 10369632"/>
              <a:gd name="connsiteY552" fmla="*/ 772788 h 1307426"/>
              <a:gd name="connsiteX553" fmla="*/ 3647649 w 10369632"/>
              <a:gd name="connsiteY553" fmla="*/ 826890 h 1307426"/>
              <a:gd name="connsiteX554" fmla="*/ 3643934 w 10369632"/>
              <a:gd name="connsiteY554" fmla="*/ 846416 h 1307426"/>
              <a:gd name="connsiteX555" fmla="*/ 3637934 w 10369632"/>
              <a:gd name="connsiteY555" fmla="*/ 871753 h 1307426"/>
              <a:gd name="connsiteX556" fmla="*/ 3632123 w 10369632"/>
              <a:gd name="connsiteY556" fmla="*/ 892231 h 1307426"/>
              <a:gd name="connsiteX557" fmla="*/ 3630123 w 10369632"/>
              <a:gd name="connsiteY557" fmla="*/ 896327 h 1307426"/>
              <a:gd name="connsiteX558" fmla="*/ 3618979 w 10369632"/>
              <a:gd name="connsiteY558" fmla="*/ 932808 h 1307426"/>
              <a:gd name="connsiteX559" fmla="*/ 3610883 w 10369632"/>
              <a:gd name="connsiteY559" fmla="*/ 952525 h 1307426"/>
              <a:gd name="connsiteX560" fmla="*/ 3608787 w 10369632"/>
              <a:gd name="connsiteY560" fmla="*/ 958240 h 1307426"/>
              <a:gd name="connsiteX561" fmla="*/ 3602691 w 10369632"/>
              <a:gd name="connsiteY561" fmla="*/ 972146 h 1307426"/>
              <a:gd name="connsiteX562" fmla="*/ 3599643 w 10369632"/>
              <a:gd name="connsiteY562" fmla="*/ 977480 h 1307426"/>
              <a:gd name="connsiteX563" fmla="*/ 3581450 w 10369632"/>
              <a:gd name="connsiteY563" fmla="*/ 1012723 h 1307426"/>
              <a:gd name="connsiteX564" fmla="*/ 3559448 w 10369632"/>
              <a:gd name="connsiteY564" fmla="*/ 1047965 h 1307426"/>
              <a:gd name="connsiteX565" fmla="*/ 3549065 w 10369632"/>
              <a:gd name="connsiteY565" fmla="*/ 1063205 h 1307426"/>
              <a:gd name="connsiteX566" fmla="*/ 3457720 w 10369632"/>
              <a:gd name="connsiteY566" fmla="*/ 1161122 h 1307426"/>
              <a:gd name="connsiteX567" fmla="*/ 3405524 w 10369632"/>
              <a:gd name="connsiteY567" fmla="*/ 1199317 h 1307426"/>
              <a:gd name="connsiteX568" fmla="*/ 3367042 w 10369632"/>
              <a:gd name="connsiteY568" fmla="*/ 1224559 h 1307426"/>
              <a:gd name="connsiteX569" fmla="*/ 3337896 w 10369632"/>
              <a:gd name="connsiteY569" fmla="*/ 1238084 h 1307426"/>
              <a:gd name="connsiteX570" fmla="*/ 3309321 w 10369632"/>
              <a:gd name="connsiteY570" fmla="*/ 1252848 h 1307426"/>
              <a:gd name="connsiteX571" fmla="*/ 3300749 w 10369632"/>
              <a:gd name="connsiteY571" fmla="*/ 1256086 h 1307426"/>
              <a:gd name="connsiteX572" fmla="*/ 3283699 w 10369632"/>
              <a:gd name="connsiteY572" fmla="*/ 1262754 h 1307426"/>
              <a:gd name="connsiteX573" fmla="*/ 3278174 w 10369632"/>
              <a:gd name="connsiteY573" fmla="*/ 1265421 h 1307426"/>
              <a:gd name="connsiteX574" fmla="*/ 3241598 w 10369632"/>
              <a:gd name="connsiteY574" fmla="*/ 1276565 h 1307426"/>
              <a:gd name="connsiteX575" fmla="*/ 3226739 w 10369632"/>
              <a:gd name="connsiteY575" fmla="*/ 1280089 h 1307426"/>
              <a:gd name="connsiteX576" fmla="*/ 3201498 w 10369632"/>
              <a:gd name="connsiteY576" fmla="*/ 1286566 h 1307426"/>
              <a:gd name="connsiteX577" fmla="*/ 3175876 w 10369632"/>
              <a:gd name="connsiteY577" fmla="*/ 1292091 h 1307426"/>
              <a:gd name="connsiteX578" fmla="*/ 3159302 w 10369632"/>
              <a:gd name="connsiteY578" fmla="*/ 1295615 h 1307426"/>
              <a:gd name="connsiteX579" fmla="*/ 3063481 w 10369632"/>
              <a:gd name="connsiteY579" fmla="*/ 1300568 h 1307426"/>
              <a:gd name="connsiteX580" fmla="*/ 3035763 w 10369632"/>
              <a:gd name="connsiteY580" fmla="*/ 1299044 h 1307426"/>
              <a:gd name="connsiteX581" fmla="*/ 2976995 w 10369632"/>
              <a:gd name="connsiteY581" fmla="*/ 1295996 h 1307426"/>
              <a:gd name="connsiteX582" fmla="*/ 2948325 w 10369632"/>
              <a:gd name="connsiteY582" fmla="*/ 1290567 h 1307426"/>
              <a:gd name="connsiteX583" fmla="*/ 2925750 w 10369632"/>
              <a:gd name="connsiteY583" fmla="*/ 1286281 h 1307426"/>
              <a:gd name="connsiteX584" fmla="*/ 2905176 w 10369632"/>
              <a:gd name="connsiteY584" fmla="*/ 1280661 h 1307426"/>
              <a:gd name="connsiteX585" fmla="*/ 2900985 w 10369632"/>
              <a:gd name="connsiteY585" fmla="*/ 1278661 h 1307426"/>
              <a:gd name="connsiteX586" fmla="*/ 2859933 w 10369632"/>
              <a:gd name="connsiteY586" fmla="*/ 1266564 h 1307426"/>
              <a:gd name="connsiteX587" fmla="*/ 2845740 w 10369632"/>
              <a:gd name="connsiteY587" fmla="*/ 1260849 h 1307426"/>
              <a:gd name="connsiteX588" fmla="*/ 2835834 w 10369632"/>
              <a:gd name="connsiteY588" fmla="*/ 1256848 h 1307426"/>
              <a:gd name="connsiteX589" fmla="*/ 2829929 w 10369632"/>
              <a:gd name="connsiteY589" fmla="*/ 1255229 h 1307426"/>
              <a:gd name="connsiteX590" fmla="*/ 2802878 w 10369632"/>
              <a:gd name="connsiteY590" fmla="*/ 1240942 h 1307426"/>
              <a:gd name="connsiteX591" fmla="*/ 2776112 w 10369632"/>
              <a:gd name="connsiteY591" fmla="*/ 1226178 h 1307426"/>
              <a:gd name="connsiteX592" fmla="*/ 2761920 w 10369632"/>
              <a:gd name="connsiteY592" fmla="*/ 1217034 h 1307426"/>
              <a:gd name="connsiteX593" fmla="*/ 2675148 w 10369632"/>
              <a:gd name="connsiteY593" fmla="*/ 1143215 h 1307426"/>
              <a:gd name="connsiteX594" fmla="*/ 2645620 w 10369632"/>
              <a:gd name="connsiteY594" fmla="*/ 1107592 h 1307426"/>
              <a:gd name="connsiteX595" fmla="*/ 2617521 w 10369632"/>
              <a:gd name="connsiteY595" fmla="*/ 1063586 h 1307426"/>
              <a:gd name="connsiteX596" fmla="*/ 2602281 w 10369632"/>
              <a:gd name="connsiteY596" fmla="*/ 1037107 h 1307426"/>
              <a:gd name="connsiteX597" fmla="*/ 2598948 w 10369632"/>
              <a:gd name="connsiteY597" fmla="*/ 1028534 h 1307426"/>
              <a:gd name="connsiteX598" fmla="*/ 2594566 w 10369632"/>
              <a:gd name="connsiteY598" fmla="*/ 1018819 h 1307426"/>
              <a:gd name="connsiteX599" fmla="*/ 2589327 w 10369632"/>
              <a:gd name="connsiteY599" fmla="*/ 1006150 h 1307426"/>
              <a:gd name="connsiteX600" fmla="*/ 2574849 w 10369632"/>
              <a:gd name="connsiteY600" fmla="*/ 964240 h 1307426"/>
              <a:gd name="connsiteX601" fmla="*/ 2569515 w 10369632"/>
              <a:gd name="connsiteY601" fmla="*/ 945190 h 1307426"/>
              <a:gd name="connsiteX602" fmla="*/ 2563133 w 10369632"/>
              <a:gd name="connsiteY602" fmla="*/ 918235 h 1307426"/>
              <a:gd name="connsiteX603" fmla="*/ 2559704 w 10369632"/>
              <a:gd name="connsiteY603" fmla="*/ 903280 h 1307426"/>
              <a:gd name="connsiteX604" fmla="*/ 2554942 w 10369632"/>
              <a:gd name="connsiteY604" fmla="*/ 826033 h 1307426"/>
              <a:gd name="connsiteX605" fmla="*/ 2556275 w 10369632"/>
              <a:gd name="connsiteY605" fmla="*/ 788980 h 1307426"/>
              <a:gd name="connsiteX606" fmla="*/ 2559323 w 10369632"/>
              <a:gd name="connsiteY606" fmla="*/ 736402 h 1307426"/>
              <a:gd name="connsiteX607" fmla="*/ 2564753 w 10369632"/>
              <a:gd name="connsiteY607" fmla="*/ 710971 h 1307426"/>
              <a:gd name="connsiteX608" fmla="*/ 2569515 w 10369632"/>
              <a:gd name="connsiteY608" fmla="*/ 686872 h 1307426"/>
              <a:gd name="connsiteX609" fmla="*/ 2574373 w 10369632"/>
              <a:gd name="connsiteY609" fmla="*/ 669251 h 1307426"/>
              <a:gd name="connsiteX610" fmla="*/ 2579040 w 10369632"/>
              <a:gd name="connsiteY610" fmla="*/ 653154 h 1307426"/>
              <a:gd name="connsiteX611" fmla="*/ 2583612 w 10369632"/>
              <a:gd name="connsiteY611" fmla="*/ 638581 h 1307426"/>
              <a:gd name="connsiteX612" fmla="*/ 2589518 w 10369632"/>
              <a:gd name="connsiteY612" fmla="*/ 622769 h 1307426"/>
              <a:gd name="connsiteX613" fmla="*/ 2593518 w 10369632"/>
              <a:gd name="connsiteY613" fmla="*/ 612863 h 1307426"/>
              <a:gd name="connsiteX614" fmla="*/ 2596757 w 10369632"/>
              <a:gd name="connsiteY614" fmla="*/ 607624 h 1307426"/>
              <a:gd name="connsiteX615" fmla="*/ 2617998 w 10369632"/>
              <a:gd name="connsiteY615" fmla="*/ 561714 h 1307426"/>
              <a:gd name="connsiteX616" fmla="*/ 2655621 w 10369632"/>
              <a:gd name="connsiteY616" fmla="*/ 501992 h 1307426"/>
              <a:gd name="connsiteX617" fmla="*/ 2687911 w 10369632"/>
              <a:gd name="connsiteY617" fmla="*/ 460654 h 1307426"/>
              <a:gd name="connsiteX618" fmla="*/ 2750681 w 10369632"/>
              <a:gd name="connsiteY618" fmla="*/ 399217 h 1307426"/>
              <a:gd name="connsiteX619" fmla="*/ 2809355 w 10369632"/>
              <a:gd name="connsiteY619" fmla="*/ 356736 h 1307426"/>
              <a:gd name="connsiteX620" fmla="*/ 2858218 w 10369632"/>
              <a:gd name="connsiteY620" fmla="*/ 328066 h 1307426"/>
              <a:gd name="connsiteX621" fmla="*/ 2889269 w 10369632"/>
              <a:gd name="connsiteY621" fmla="*/ 315016 h 1307426"/>
              <a:gd name="connsiteX622" fmla="*/ 2925560 w 10369632"/>
              <a:gd name="connsiteY622" fmla="*/ 298824 h 1307426"/>
              <a:gd name="connsiteX623" fmla="*/ 2934418 w 10369632"/>
              <a:gd name="connsiteY623" fmla="*/ 296538 h 1307426"/>
              <a:gd name="connsiteX624" fmla="*/ 2943371 w 10369632"/>
              <a:gd name="connsiteY624" fmla="*/ 294442 h 1307426"/>
              <a:gd name="connsiteX625" fmla="*/ 2971184 w 10369632"/>
              <a:gd name="connsiteY625" fmla="*/ 285870 h 1307426"/>
              <a:gd name="connsiteX626" fmla="*/ 2978519 w 10369632"/>
              <a:gd name="connsiteY626" fmla="*/ 283584 h 1307426"/>
              <a:gd name="connsiteX627" fmla="*/ 3006617 w 10369632"/>
              <a:gd name="connsiteY627" fmla="*/ 276345 h 1307426"/>
              <a:gd name="connsiteX628" fmla="*/ 3027572 w 10369632"/>
              <a:gd name="connsiteY628" fmla="*/ 271582 h 1307426"/>
              <a:gd name="connsiteX629" fmla="*/ 3050146 w 10369632"/>
              <a:gd name="connsiteY629" fmla="*/ 267106 h 1307426"/>
              <a:gd name="connsiteX630" fmla="*/ 3116440 w 10369632"/>
              <a:gd name="connsiteY630" fmla="*/ 261772 h 1307426"/>
              <a:gd name="connsiteX631" fmla="*/ 8948597 w 10369632"/>
              <a:gd name="connsiteY631" fmla="*/ 691 h 1307426"/>
              <a:gd name="connsiteX632" fmla="*/ 9236633 w 10369632"/>
              <a:gd name="connsiteY632" fmla="*/ 691 h 1307426"/>
              <a:gd name="connsiteX633" fmla="*/ 9245110 w 10369632"/>
              <a:gd name="connsiteY633" fmla="*/ 1263 h 1307426"/>
              <a:gd name="connsiteX634" fmla="*/ 9250158 w 10369632"/>
              <a:gd name="connsiteY634" fmla="*/ 14312 h 1307426"/>
              <a:gd name="connsiteX635" fmla="*/ 9243110 w 10369632"/>
              <a:gd name="connsiteY635" fmla="*/ 61461 h 1307426"/>
              <a:gd name="connsiteX636" fmla="*/ 9239395 w 10369632"/>
              <a:gd name="connsiteY636" fmla="*/ 88893 h 1307426"/>
              <a:gd name="connsiteX637" fmla="*/ 9233966 w 10369632"/>
              <a:gd name="connsiteY637" fmla="*/ 115944 h 1307426"/>
              <a:gd name="connsiteX638" fmla="*/ 9229489 w 10369632"/>
              <a:gd name="connsiteY638" fmla="*/ 143281 h 1307426"/>
              <a:gd name="connsiteX639" fmla="*/ 9223774 w 10369632"/>
              <a:gd name="connsiteY639" fmla="*/ 174999 h 1307426"/>
              <a:gd name="connsiteX640" fmla="*/ 9219869 w 10369632"/>
              <a:gd name="connsiteY640" fmla="*/ 199288 h 1307426"/>
              <a:gd name="connsiteX641" fmla="*/ 9213964 w 10369632"/>
              <a:gd name="connsiteY641" fmla="*/ 232530 h 1307426"/>
              <a:gd name="connsiteX642" fmla="*/ 9209963 w 10369632"/>
              <a:gd name="connsiteY642" fmla="*/ 259867 h 1307426"/>
              <a:gd name="connsiteX643" fmla="*/ 9204439 w 10369632"/>
              <a:gd name="connsiteY643" fmla="*/ 288537 h 1307426"/>
              <a:gd name="connsiteX644" fmla="*/ 9199771 w 10369632"/>
              <a:gd name="connsiteY644" fmla="*/ 317398 h 1307426"/>
              <a:gd name="connsiteX645" fmla="*/ 9194247 w 10369632"/>
              <a:gd name="connsiteY645" fmla="*/ 347592 h 1307426"/>
              <a:gd name="connsiteX646" fmla="*/ 9189960 w 10369632"/>
              <a:gd name="connsiteY646" fmla="*/ 374929 h 1307426"/>
              <a:gd name="connsiteX647" fmla="*/ 9184246 w 10369632"/>
              <a:gd name="connsiteY647" fmla="*/ 405028 h 1307426"/>
              <a:gd name="connsiteX648" fmla="*/ 9180055 w 10369632"/>
              <a:gd name="connsiteY648" fmla="*/ 432364 h 1307426"/>
              <a:gd name="connsiteX649" fmla="*/ 9174625 w 10369632"/>
              <a:gd name="connsiteY649" fmla="*/ 462559 h 1307426"/>
              <a:gd name="connsiteX650" fmla="*/ 9170434 w 10369632"/>
              <a:gd name="connsiteY650" fmla="*/ 488276 h 1307426"/>
              <a:gd name="connsiteX651" fmla="*/ 9164338 w 10369632"/>
              <a:gd name="connsiteY651" fmla="*/ 521518 h 1307426"/>
              <a:gd name="connsiteX652" fmla="*/ 9160528 w 10369632"/>
              <a:gd name="connsiteY652" fmla="*/ 547331 h 1307426"/>
              <a:gd name="connsiteX653" fmla="*/ 9154718 w 10369632"/>
              <a:gd name="connsiteY653" fmla="*/ 577525 h 1307426"/>
              <a:gd name="connsiteX654" fmla="*/ 9150241 w 10369632"/>
              <a:gd name="connsiteY654" fmla="*/ 606386 h 1307426"/>
              <a:gd name="connsiteX655" fmla="*/ 9144812 w 10369632"/>
              <a:gd name="connsiteY655" fmla="*/ 635056 h 1307426"/>
              <a:gd name="connsiteX656" fmla="*/ 9140335 w 10369632"/>
              <a:gd name="connsiteY656" fmla="*/ 663917 h 1307426"/>
              <a:gd name="connsiteX657" fmla="*/ 9134906 w 10369632"/>
              <a:gd name="connsiteY657" fmla="*/ 692588 h 1307426"/>
              <a:gd name="connsiteX658" fmla="*/ 9130524 w 10369632"/>
              <a:gd name="connsiteY658" fmla="*/ 719924 h 1307426"/>
              <a:gd name="connsiteX659" fmla="*/ 9124810 w 10369632"/>
              <a:gd name="connsiteY659" fmla="*/ 751642 h 1307426"/>
              <a:gd name="connsiteX660" fmla="*/ 9120714 w 10369632"/>
              <a:gd name="connsiteY660" fmla="*/ 778979 h 1307426"/>
              <a:gd name="connsiteX661" fmla="*/ 9114999 w 10369632"/>
              <a:gd name="connsiteY661" fmla="*/ 809173 h 1307426"/>
              <a:gd name="connsiteX662" fmla="*/ 9110998 w 10369632"/>
              <a:gd name="connsiteY662" fmla="*/ 833462 h 1307426"/>
              <a:gd name="connsiteX663" fmla="*/ 9104617 w 10369632"/>
              <a:gd name="connsiteY663" fmla="*/ 868228 h 1307426"/>
              <a:gd name="connsiteX664" fmla="*/ 9100807 w 10369632"/>
              <a:gd name="connsiteY664" fmla="*/ 894136 h 1307426"/>
              <a:gd name="connsiteX665" fmla="*/ 9095092 w 10369632"/>
              <a:gd name="connsiteY665" fmla="*/ 924331 h 1307426"/>
              <a:gd name="connsiteX666" fmla="*/ 9090805 w 10369632"/>
              <a:gd name="connsiteY666" fmla="*/ 953287 h 1307426"/>
              <a:gd name="connsiteX667" fmla="*/ 9085757 w 10369632"/>
              <a:gd name="connsiteY667" fmla="*/ 980433 h 1307426"/>
              <a:gd name="connsiteX668" fmla="*/ 9080899 w 10369632"/>
              <a:gd name="connsiteY668" fmla="*/ 1010818 h 1307426"/>
              <a:gd name="connsiteX669" fmla="*/ 9075375 w 10369632"/>
              <a:gd name="connsiteY669" fmla="*/ 1039393 h 1307426"/>
              <a:gd name="connsiteX670" fmla="*/ 9071184 w 10369632"/>
              <a:gd name="connsiteY670" fmla="*/ 1065205 h 1307426"/>
              <a:gd name="connsiteX671" fmla="*/ 9065183 w 10369632"/>
              <a:gd name="connsiteY671" fmla="*/ 1098448 h 1307426"/>
              <a:gd name="connsiteX672" fmla="*/ 9061373 w 10369632"/>
              <a:gd name="connsiteY672" fmla="*/ 1122736 h 1307426"/>
              <a:gd name="connsiteX673" fmla="*/ 9055277 w 10369632"/>
              <a:gd name="connsiteY673" fmla="*/ 1155979 h 1307426"/>
              <a:gd name="connsiteX674" fmla="*/ 9051276 w 10369632"/>
              <a:gd name="connsiteY674" fmla="*/ 1181791 h 1307426"/>
              <a:gd name="connsiteX675" fmla="*/ 9045466 w 10369632"/>
              <a:gd name="connsiteY675" fmla="*/ 1213510 h 1307426"/>
              <a:gd name="connsiteX676" fmla="*/ 9041371 w 10369632"/>
              <a:gd name="connsiteY676" fmla="*/ 1240846 h 1307426"/>
              <a:gd name="connsiteX677" fmla="*/ 9036037 w 10369632"/>
              <a:gd name="connsiteY677" fmla="*/ 1269517 h 1307426"/>
              <a:gd name="connsiteX678" fmla="*/ 9032036 w 10369632"/>
              <a:gd name="connsiteY678" fmla="*/ 1287519 h 1307426"/>
              <a:gd name="connsiteX679" fmla="*/ 9019653 w 10369632"/>
              <a:gd name="connsiteY679" fmla="*/ 1298092 h 1307426"/>
              <a:gd name="connsiteX680" fmla="*/ 9011938 w 10369632"/>
              <a:gd name="connsiteY680" fmla="*/ 1298092 h 1307426"/>
              <a:gd name="connsiteX681" fmla="*/ 8782767 w 10369632"/>
              <a:gd name="connsiteY681" fmla="*/ 1298092 h 1307426"/>
              <a:gd name="connsiteX682" fmla="*/ 8772003 w 10369632"/>
              <a:gd name="connsiteY682" fmla="*/ 1297520 h 1307426"/>
              <a:gd name="connsiteX683" fmla="*/ 8766860 w 10369632"/>
              <a:gd name="connsiteY683" fmla="*/ 1290757 h 1307426"/>
              <a:gd name="connsiteX684" fmla="*/ 8769051 w 10369632"/>
              <a:gd name="connsiteY684" fmla="*/ 1281804 h 1307426"/>
              <a:gd name="connsiteX685" fmla="*/ 8775623 w 10369632"/>
              <a:gd name="connsiteY685" fmla="*/ 1247133 h 1307426"/>
              <a:gd name="connsiteX686" fmla="*/ 8781243 w 10369632"/>
              <a:gd name="connsiteY686" fmla="*/ 1216939 h 1307426"/>
              <a:gd name="connsiteX687" fmla="*/ 8785624 w 10369632"/>
              <a:gd name="connsiteY687" fmla="*/ 1187983 h 1307426"/>
              <a:gd name="connsiteX688" fmla="*/ 8791053 w 10369632"/>
              <a:gd name="connsiteY688" fmla="*/ 1157788 h 1307426"/>
              <a:gd name="connsiteX689" fmla="*/ 8795530 w 10369632"/>
              <a:gd name="connsiteY689" fmla="*/ 1128928 h 1307426"/>
              <a:gd name="connsiteX690" fmla="*/ 8801245 w 10369632"/>
              <a:gd name="connsiteY690" fmla="*/ 1098829 h 1307426"/>
              <a:gd name="connsiteX691" fmla="*/ 8805436 w 10369632"/>
              <a:gd name="connsiteY691" fmla="*/ 1071492 h 1307426"/>
              <a:gd name="connsiteX692" fmla="*/ 8811151 w 10369632"/>
              <a:gd name="connsiteY692" fmla="*/ 1039774 h 1307426"/>
              <a:gd name="connsiteX693" fmla="*/ 8815152 w 10369632"/>
              <a:gd name="connsiteY693" fmla="*/ 1013961 h 1307426"/>
              <a:gd name="connsiteX694" fmla="*/ 8821153 w 10369632"/>
              <a:gd name="connsiteY694" fmla="*/ 980719 h 1307426"/>
              <a:gd name="connsiteX695" fmla="*/ 8824962 w 10369632"/>
              <a:gd name="connsiteY695" fmla="*/ 954906 h 1307426"/>
              <a:gd name="connsiteX696" fmla="*/ 8831058 w 10369632"/>
              <a:gd name="connsiteY696" fmla="*/ 921664 h 1307426"/>
              <a:gd name="connsiteX697" fmla="*/ 8835059 w 10369632"/>
              <a:gd name="connsiteY697" fmla="*/ 895851 h 1307426"/>
              <a:gd name="connsiteX698" fmla="*/ 8841155 w 10369632"/>
              <a:gd name="connsiteY698" fmla="*/ 862609 h 1307426"/>
              <a:gd name="connsiteX699" fmla="*/ 8845155 w 10369632"/>
              <a:gd name="connsiteY699" fmla="*/ 835177 h 1307426"/>
              <a:gd name="connsiteX700" fmla="*/ 8850871 w 10369632"/>
              <a:gd name="connsiteY700" fmla="*/ 804982 h 1307426"/>
              <a:gd name="connsiteX701" fmla="*/ 8855062 w 10369632"/>
              <a:gd name="connsiteY701" fmla="*/ 777646 h 1307426"/>
              <a:gd name="connsiteX702" fmla="*/ 8860776 w 10369632"/>
              <a:gd name="connsiteY702" fmla="*/ 745927 h 1307426"/>
              <a:gd name="connsiteX703" fmla="*/ 8864777 w 10369632"/>
              <a:gd name="connsiteY703" fmla="*/ 720115 h 1307426"/>
              <a:gd name="connsiteX704" fmla="*/ 8870778 w 10369632"/>
              <a:gd name="connsiteY704" fmla="*/ 686872 h 1307426"/>
              <a:gd name="connsiteX705" fmla="*/ 8874683 w 10369632"/>
              <a:gd name="connsiteY705" fmla="*/ 661060 h 1307426"/>
              <a:gd name="connsiteX706" fmla="*/ 8880684 w 10369632"/>
              <a:gd name="connsiteY706" fmla="*/ 627817 h 1307426"/>
              <a:gd name="connsiteX707" fmla="*/ 8884780 w 10369632"/>
              <a:gd name="connsiteY707" fmla="*/ 600481 h 1307426"/>
              <a:gd name="connsiteX708" fmla="*/ 8890304 w 10369632"/>
              <a:gd name="connsiteY708" fmla="*/ 570286 h 1307426"/>
              <a:gd name="connsiteX709" fmla="*/ 8894685 w 10369632"/>
              <a:gd name="connsiteY709" fmla="*/ 542950 h 1307426"/>
              <a:gd name="connsiteX710" fmla="*/ 8900401 w 10369632"/>
              <a:gd name="connsiteY710" fmla="*/ 511231 h 1307426"/>
              <a:gd name="connsiteX711" fmla="*/ 8904496 w 10369632"/>
              <a:gd name="connsiteY711" fmla="*/ 486943 h 1307426"/>
              <a:gd name="connsiteX712" fmla="*/ 8909735 w 10369632"/>
              <a:gd name="connsiteY712" fmla="*/ 455129 h 1307426"/>
              <a:gd name="connsiteX713" fmla="*/ 8910307 w 10369632"/>
              <a:gd name="connsiteY713" fmla="*/ 452081 h 1307426"/>
              <a:gd name="connsiteX714" fmla="*/ 8904020 w 10369632"/>
              <a:gd name="connsiteY714" fmla="*/ 447128 h 1307426"/>
              <a:gd name="connsiteX715" fmla="*/ 8894209 w 10369632"/>
              <a:gd name="connsiteY715" fmla="*/ 454177 h 1307426"/>
              <a:gd name="connsiteX716" fmla="*/ 8871826 w 10369632"/>
              <a:gd name="connsiteY716" fmla="*/ 489229 h 1307426"/>
              <a:gd name="connsiteX717" fmla="*/ 8838869 w 10369632"/>
              <a:gd name="connsiteY717" fmla="*/ 537520 h 1307426"/>
              <a:gd name="connsiteX718" fmla="*/ 8792196 w 10369632"/>
              <a:gd name="connsiteY718" fmla="*/ 608196 h 1307426"/>
              <a:gd name="connsiteX719" fmla="*/ 8761811 w 10369632"/>
              <a:gd name="connsiteY719" fmla="*/ 652678 h 1307426"/>
              <a:gd name="connsiteX720" fmla="*/ 8732284 w 10369632"/>
              <a:gd name="connsiteY720" fmla="*/ 697731 h 1307426"/>
              <a:gd name="connsiteX721" fmla="*/ 8700947 w 10369632"/>
              <a:gd name="connsiteY721" fmla="*/ 743451 h 1307426"/>
              <a:gd name="connsiteX722" fmla="*/ 8673134 w 10369632"/>
              <a:gd name="connsiteY722" fmla="*/ 785932 h 1307426"/>
              <a:gd name="connsiteX723" fmla="*/ 8642844 w 10369632"/>
              <a:gd name="connsiteY723" fmla="*/ 830509 h 1307426"/>
              <a:gd name="connsiteX724" fmla="*/ 8613031 w 10369632"/>
              <a:gd name="connsiteY724" fmla="*/ 875372 h 1307426"/>
              <a:gd name="connsiteX725" fmla="*/ 8581980 w 10369632"/>
              <a:gd name="connsiteY725" fmla="*/ 921283 h 1307426"/>
              <a:gd name="connsiteX726" fmla="*/ 8554071 w 10369632"/>
              <a:gd name="connsiteY726" fmla="*/ 963669 h 1307426"/>
              <a:gd name="connsiteX727" fmla="*/ 8547499 w 10369632"/>
              <a:gd name="connsiteY727" fmla="*/ 972241 h 1307426"/>
              <a:gd name="connsiteX728" fmla="*/ 8498446 w 10369632"/>
              <a:gd name="connsiteY728" fmla="*/ 1044917 h 1307426"/>
              <a:gd name="connsiteX729" fmla="*/ 8465680 w 10369632"/>
              <a:gd name="connsiteY729" fmla="*/ 1095209 h 1307426"/>
              <a:gd name="connsiteX730" fmla="*/ 8452154 w 10369632"/>
              <a:gd name="connsiteY730" fmla="*/ 1114355 h 1307426"/>
              <a:gd name="connsiteX731" fmla="*/ 8439771 w 10369632"/>
              <a:gd name="connsiteY731" fmla="*/ 1099686 h 1307426"/>
              <a:gd name="connsiteX732" fmla="*/ 8431199 w 10369632"/>
              <a:gd name="connsiteY732" fmla="*/ 1075111 h 1307426"/>
              <a:gd name="connsiteX733" fmla="*/ 8428913 w 10369632"/>
              <a:gd name="connsiteY733" fmla="*/ 1066253 h 1307426"/>
              <a:gd name="connsiteX734" fmla="*/ 8422722 w 10369632"/>
              <a:gd name="connsiteY734" fmla="*/ 1049108 h 1307426"/>
              <a:gd name="connsiteX735" fmla="*/ 8421865 w 10369632"/>
              <a:gd name="connsiteY735" fmla="*/ 1047775 h 1307426"/>
              <a:gd name="connsiteX736" fmla="*/ 8409386 w 10369632"/>
              <a:gd name="connsiteY736" fmla="*/ 1008532 h 1307426"/>
              <a:gd name="connsiteX737" fmla="*/ 8400243 w 10369632"/>
              <a:gd name="connsiteY737" fmla="*/ 985767 h 1307426"/>
              <a:gd name="connsiteX738" fmla="*/ 8393099 w 10369632"/>
              <a:gd name="connsiteY738" fmla="*/ 962431 h 1307426"/>
              <a:gd name="connsiteX739" fmla="*/ 8392242 w 10369632"/>
              <a:gd name="connsiteY739" fmla="*/ 961097 h 1307426"/>
              <a:gd name="connsiteX740" fmla="*/ 8379097 w 10369632"/>
              <a:gd name="connsiteY740" fmla="*/ 921949 h 1307426"/>
              <a:gd name="connsiteX741" fmla="*/ 8378430 w 10369632"/>
              <a:gd name="connsiteY741" fmla="*/ 917377 h 1307426"/>
              <a:gd name="connsiteX742" fmla="*/ 8370144 w 10369632"/>
              <a:gd name="connsiteY742" fmla="*/ 897565 h 1307426"/>
              <a:gd name="connsiteX743" fmla="*/ 8363857 w 10369632"/>
              <a:gd name="connsiteY743" fmla="*/ 877087 h 1307426"/>
              <a:gd name="connsiteX744" fmla="*/ 8360238 w 10369632"/>
              <a:gd name="connsiteY744" fmla="*/ 868609 h 1307426"/>
              <a:gd name="connsiteX745" fmla="*/ 8352236 w 10369632"/>
              <a:gd name="connsiteY745" fmla="*/ 845464 h 1307426"/>
              <a:gd name="connsiteX746" fmla="*/ 8350046 w 10369632"/>
              <a:gd name="connsiteY746" fmla="*/ 838129 h 1307426"/>
              <a:gd name="connsiteX747" fmla="*/ 8342998 w 10369632"/>
              <a:gd name="connsiteY747" fmla="*/ 817936 h 1307426"/>
              <a:gd name="connsiteX748" fmla="*/ 8340140 w 10369632"/>
              <a:gd name="connsiteY748" fmla="*/ 809173 h 1307426"/>
              <a:gd name="connsiteX749" fmla="*/ 8332901 w 10369632"/>
              <a:gd name="connsiteY749" fmla="*/ 789076 h 1307426"/>
              <a:gd name="connsiteX750" fmla="*/ 8319852 w 10369632"/>
              <a:gd name="connsiteY750" fmla="*/ 748309 h 1307426"/>
              <a:gd name="connsiteX751" fmla="*/ 8313851 w 10369632"/>
              <a:gd name="connsiteY751" fmla="*/ 732688 h 1307426"/>
              <a:gd name="connsiteX752" fmla="*/ 8312232 w 10369632"/>
              <a:gd name="connsiteY752" fmla="*/ 730116 h 1307426"/>
              <a:gd name="connsiteX753" fmla="*/ 8299277 w 10369632"/>
              <a:gd name="connsiteY753" fmla="*/ 689349 h 1307426"/>
              <a:gd name="connsiteX754" fmla="*/ 8284990 w 10369632"/>
              <a:gd name="connsiteY754" fmla="*/ 647439 h 1307426"/>
              <a:gd name="connsiteX755" fmla="*/ 8283371 w 10369632"/>
              <a:gd name="connsiteY755" fmla="*/ 644772 h 1307426"/>
              <a:gd name="connsiteX756" fmla="*/ 8269941 w 10369632"/>
              <a:gd name="connsiteY756" fmla="*/ 604100 h 1307426"/>
              <a:gd name="connsiteX757" fmla="*/ 8269465 w 10369632"/>
              <a:gd name="connsiteY757" fmla="*/ 601052 h 1307426"/>
              <a:gd name="connsiteX758" fmla="*/ 8254701 w 10369632"/>
              <a:gd name="connsiteY758" fmla="*/ 560857 h 1307426"/>
              <a:gd name="connsiteX759" fmla="*/ 8250700 w 10369632"/>
              <a:gd name="connsiteY759" fmla="*/ 549236 h 1307426"/>
              <a:gd name="connsiteX760" fmla="*/ 8243937 w 10369632"/>
              <a:gd name="connsiteY760" fmla="*/ 530567 h 1307426"/>
              <a:gd name="connsiteX761" fmla="*/ 8241271 w 10369632"/>
              <a:gd name="connsiteY761" fmla="*/ 523423 h 1307426"/>
              <a:gd name="connsiteX762" fmla="*/ 8233174 w 10369632"/>
              <a:gd name="connsiteY762" fmla="*/ 500373 h 1307426"/>
              <a:gd name="connsiteX763" fmla="*/ 8231174 w 10369632"/>
              <a:gd name="connsiteY763" fmla="*/ 494563 h 1307426"/>
              <a:gd name="connsiteX764" fmla="*/ 8223364 w 10369632"/>
              <a:gd name="connsiteY764" fmla="*/ 471417 h 1307426"/>
              <a:gd name="connsiteX765" fmla="*/ 8220220 w 10369632"/>
              <a:gd name="connsiteY765" fmla="*/ 458082 h 1307426"/>
              <a:gd name="connsiteX766" fmla="*/ 8203933 w 10369632"/>
              <a:gd name="connsiteY766" fmla="*/ 437984 h 1307426"/>
              <a:gd name="connsiteX767" fmla="*/ 8199932 w 10369632"/>
              <a:gd name="connsiteY767" fmla="*/ 446176 h 1307426"/>
              <a:gd name="connsiteX768" fmla="*/ 8198313 w 10369632"/>
              <a:gd name="connsiteY768" fmla="*/ 470845 h 1307426"/>
              <a:gd name="connsiteX769" fmla="*/ 8194979 w 10369632"/>
              <a:gd name="connsiteY769" fmla="*/ 488943 h 1307426"/>
              <a:gd name="connsiteX770" fmla="*/ 8188788 w 10369632"/>
              <a:gd name="connsiteY770" fmla="*/ 522185 h 1307426"/>
              <a:gd name="connsiteX771" fmla="*/ 8183168 w 10369632"/>
              <a:gd name="connsiteY771" fmla="*/ 553903 h 1307426"/>
              <a:gd name="connsiteX772" fmla="*/ 8179072 w 10369632"/>
              <a:gd name="connsiteY772" fmla="*/ 579716 h 1307426"/>
              <a:gd name="connsiteX773" fmla="*/ 8172976 w 10369632"/>
              <a:gd name="connsiteY773" fmla="*/ 612958 h 1307426"/>
              <a:gd name="connsiteX774" fmla="*/ 8169071 w 10369632"/>
              <a:gd name="connsiteY774" fmla="*/ 637247 h 1307426"/>
              <a:gd name="connsiteX775" fmla="*/ 8162594 w 10369632"/>
              <a:gd name="connsiteY775" fmla="*/ 673538 h 1307426"/>
              <a:gd name="connsiteX776" fmla="*/ 8158784 w 10369632"/>
              <a:gd name="connsiteY776" fmla="*/ 700969 h 1307426"/>
              <a:gd name="connsiteX777" fmla="*/ 8153450 w 10369632"/>
              <a:gd name="connsiteY777" fmla="*/ 729640 h 1307426"/>
              <a:gd name="connsiteX778" fmla="*/ 8149069 w 10369632"/>
              <a:gd name="connsiteY778" fmla="*/ 756976 h 1307426"/>
              <a:gd name="connsiteX779" fmla="*/ 8142972 w 10369632"/>
              <a:gd name="connsiteY779" fmla="*/ 790219 h 1307426"/>
              <a:gd name="connsiteX780" fmla="*/ 8139162 w 10369632"/>
              <a:gd name="connsiteY780" fmla="*/ 816031 h 1307426"/>
              <a:gd name="connsiteX781" fmla="*/ 8133352 w 10369632"/>
              <a:gd name="connsiteY781" fmla="*/ 847750 h 1307426"/>
              <a:gd name="connsiteX782" fmla="*/ 8129352 w 10369632"/>
              <a:gd name="connsiteY782" fmla="*/ 873563 h 1307426"/>
              <a:gd name="connsiteX783" fmla="*/ 8123256 w 10369632"/>
              <a:gd name="connsiteY783" fmla="*/ 906805 h 1307426"/>
              <a:gd name="connsiteX784" fmla="*/ 8119351 w 10369632"/>
              <a:gd name="connsiteY784" fmla="*/ 931093 h 1307426"/>
              <a:gd name="connsiteX785" fmla="*/ 8112874 w 10369632"/>
              <a:gd name="connsiteY785" fmla="*/ 967384 h 1307426"/>
              <a:gd name="connsiteX786" fmla="*/ 8109159 w 10369632"/>
              <a:gd name="connsiteY786" fmla="*/ 994816 h 1307426"/>
              <a:gd name="connsiteX787" fmla="*/ 8103634 w 10369632"/>
              <a:gd name="connsiteY787" fmla="*/ 1023486 h 1307426"/>
              <a:gd name="connsiteX788" fmla="*/ 8099252 w 10369632"/>
              <a:gd name="connsiteY788" fmla="*/ 1052442 h 1307426"/>
              <a:gd name="connsiteX789" fmla="*/ 8093633 w 10369632"/>
              <a:gd name="connsiteY789" fmla="*/ 1082636 h 1307426"/>
              <a:gd name="connsiteX790" fmla="*/ 8089347 w 10369632"/>
              <a:gd name="connsiteY790" fmla="*/ 1109973 h 1307426"/>
              <a:gd name="connsiteX791" fmla="*/ 8083727 w 10369632"/>
              <a:gd name="connsiteY791" fmla="*/ 1141691 h 1307426"/>
              <a:gd name="connsiteX792" fmla="*/ 8079631 w 10369632"/>
              <a:gd name="connsiteY792" fmla="*/ 1167504 h 1307426"/>
              <a:gd name="connsiteX793" fmla="*/ 8073726 w 10369632"/>
              <a:gd name="connsiteY793" fmla="*/ 1200746 h 1307426"/>
              <a:gd name="connsiteX794" fmla="*/ 8069535 w 10369632"/>
              <a:gd name="connsiteY794" fmla="*/ 1228083 h 1307426"/>
              <a:gd name="connsiteX795" fmla="*/ 8063629 w 10369632"/>
              <a:gd name="connsiteY795" fmla="*/ 1259801 h 1307426"/>
              <a:gd name="connsiteX796" fmla="*/ 8059819 w 10369632"/>
              <a:gd name="connsiteY796" fmla="*/ 1279423 h 1307426"/>
              <a:gd name="connsiteX797" fmla="*/ 8058867 w 10369632"/>
              <a:gd name="connsiteY797" fmla="*/ 1290186 h 1307426"/>
              <a:gd name="connsiteX798" fmla="*/ 8050485 w 10369632"/>
              <a:gd name="connsiteY798" fmla="*/ 1297615 h 1307426"/>
              <a:gd name="connsiteX799" fmla="*/ 8041246 w 10369632"/>
              <a:gd name="connsiteY799" fmla="*/ 1297806 h 1307426"/>
              <a:gd name="connsiteX800" fmla="*/ 7819789 w 10369632"/>
              <a:gd name="connsiteY800" fmla="*/ 1297806 h 1307426"/>
              <a:gd name="connsiteX801" fmla="*/ 7804359 w 10369632"/>
              <a:gd name="connsiteY801" fmla="*/ 1296853 h 1307426"/>
              <a:gd name="connsiteX802" fmla="*/ 7798930 w 10369632"/>
              <a:gd name="connsiteY802" fmla="*/ 1288948 h 1307426"/>
              <a:gd name="connsiteX803" fmla="*/ 7804359 w 10369632"/>
              <a:gd name="connsiteY803" fmla="*/ 1246085 h 1307426"/>
              <a:gd name="connsiteX804" fmla="*/ 7807216 w 10369632"/>
              <a:gd name="connsiteY804" fmla="*/ 1234179 h 1307426"/>
              <a:gd name="connsiteX805" fmla="*/ 7813598 w 10369632"/>
              <a:gd name="connsiteY805" fmla="*/ 1200937 h 1307426"/>
              <a:gd name="connsiteX806" fmla="*/ 7819027 w 10369632"/>
              <a:gd name="connsiteY806" fmla="*/ 1170743 h 1307426"/>
              <a:gd name="connsiteX807" fmla="*/ 7823313 w 10369632"/>
              <a:gd name="connsiteY807" fmla="*/ 1145025 h 1307426"/>
              <a:gd name="connsiteX808" fmla="*/ 7829314 w 10369632"/>
              <a:gd name="connsiteY808" fmla="*/ 1111783 h 1307426"/>
              <a:gd name="connsiteX809" fmla="*/ 7833124 w 10369632"/>
              <a:gd name="connsiteY809" fmla="*/ 1087494 h 1307426"/>
              <a:gd name="connsiteX810" fmla="*/ 7839220 w 10369632"/>
              <a:gd name="connsiteY810" fmla="*/ 1054252 h 1307426"/>
              <a:gd name="connsiteX811" fmla="*/ 7843126 w 10369632"/>
              <a:gd name="connsiteY811" fmla="*/ 1028439 h 1307426"/>
              <a:gd name="connsiteX812" fmla="*/ 7849031 w 10369632"/>
              <a:gd name="connsiteY812" fmla="*/ 996721 h 1307426"/>
              <a:gd name="connsiteX813" fmla="*/ 7853317 w 10369632"/>
              <a:gd name="connsiteY813" fmla="*/ 967765 h 1307426"/>
              <a:gd name="connsiteX814" fmla="*/ 7858651 w 10369632"/>
              <a:gd name="connsiteY814" fmla="*/ 940714 h 1307426"/>
              <a:gd name="connsiteX815" fmla="*/ 7863319 w 10369632"/>
              <a:gd name="connsiteY815" fmla="*/ 910329 h 1307426"/>
              <a:gd name="connsiteX816" fmla="*/ 7868367 w 10369632"/>
              <a:gd name="connsiteY816" fmla="*/ 883183 h 1307426"/>
              <a:gd name="connsiteX817" fmla="*/ 7872939 w 10369632"/>
              <a:gd name="connsiteY817" fmla="*/ 857465 h 1307426"/>
              <a:gd name="connsiteX818" fmla="*/ 7879130 w 10369632"/>
              <a:gd name="connsiteY818" fmla="*/ 822699 h 1307426"/>
              <a:gd name="connsiteX819" fmla="*/ 7882749 w 10369632"/>
              <a:gd name="connsiteY819" fmla="*/ 798410 h 1307426"/>
              <a:gd name="connsiteX820" fmla="*/ 7888560 w 10369632"/>
              <a:gd name="connsiteY820" fmla="*/ 766692 h 1307426"/>
              <a:gd name="connsiteX821" fmla="*/ 7892560 w 10369632"/>
              <a:gd name="connsiteY821" fmla="*/ 742403 h 1307426"/>
              <a:gd name="connsiteX822" fmla="*/ 7898847 w 10369632"/>
              <a:gd name="connsiteY822" fmla="*/ 707637 h 1307426"/>
              <a:gd name="connsiteX823" fmla="*/ 7902752 w 10369632"/>
              <a:gd name="connsiteY823" fmla="*/ 680205 h 1307426"/>
              <a:gd name="connsiteX824" fmla="*/ 7908372 w 10369632"/>
              <a:gd name="connsiteY824" fmla="*/ 651630 h 1307426"/>
              <a:gd name="connsiteX825" fmla="*/ 7912658 w 10369632"/>
              <a:gd name="connsiteY825" fmla="*/ 622674 h 1307426"/>
              <a:gd name="connsiteX826" fmla="*/ 7917992 w 10369632"/>
              <a:gd name="connsiteY826" fmla="*/ 594004 h 1307426"/>
              <a:gd name="connsiteX827" fmla="*/ 7922468 w 10369632"/>
              <a:gd name="connsiteY827" fmla="*/ 565143 h 1307426"/>
              <a:gd name="connsiteX828" fmla="*/ 7927898 w 10369632"/>
              <a:gd name="connsiteY828" fmla="*/ 536568 h 1307426"/>
              <a:gd name="connsiteX829" fmla="*/ 7932184 w 10369632"/>
              <a:gd name="connsiteY829" fmla="*/ 509231 h 1307426"/>
              <a:gd name="connsiteX830" fmla="*/ 7938090 w 10369632"/>
              <a:gd name="connsiteY830" fmla="*/ 477513 h 1307426"/>
              <a:gd name="connsiteX831" fmla="*/ 7941805 w 10369632"/>
              <a:gd name="connsiteY831" fmla="*/ 454748 h 1307426"/>
              <a:gd name="connsiteX832" fmla="*/ 7948377 w 10369632"/>
              <a:gd name="connsiteY832" fmla="*/ 418458 h 1307426"/>
              <a:gd name="connsiteX833" fmla="*/ 7952186 w 10369632"/>
              <a:gd name="connsiteY833" fmla="*/ 391026 h 1307426"/>
              <a:gd name="connsiteX834" fmla="*/ 7957426 w 10369632"/>
              <a:gd name="connsiteY834" fmla="*/ 363880 h 1307426"/>
              <a:gd name="connsiteX835" fmla="*/ 7962093 w 10369632"/>
              <a:gd name="connsiteY835" fmla="*/ 335019 h 1307426"/>
              <a:gd name="connsiteX836" fmla="*/ 7967712 w 10369632"/>
              <a:gd name="connsiteY836" fmla="*/ 304920 h 1307426"/>
              <a:gd name="connsiteX837" fmla="*/ 7971903 w 10369632"/>
              <a:gd name="connsiteY837" fmla="*/ 277583 h 1307426"/>
              <a:gd name="connsiteX838" fmla="*/ 7977428 w 10369632"/>
              <a:gd name="connsiteY838" fmla="*/ 247389 h 1307426"/>
              <a:gd name="connsiteX839" fmla="*/ 7981524 w 10369632"/>
              <a:gd name="connsiteY839" fmla="*/ 223195 h 1307426"/>
              <a:gd name="connsiteX840" fmla="*/ 7987905 w 10369632"/>
              <a:gd name="connsiteY840" fmla="*/ 188429 h 1307426"/>
              <a:gd name="connsiteX841" fmla="*/ 7991430 w 10369632"/>
              <a:gd name="connsiteY841" fmla="*/ 165664 h 1307426"/>
              <a:gd name="connsiteX842" fmla="*/ 7998002 w 10369632"/>
              <a:gd name="connsiteY842" fmla="*/ 129374 h 1307426"/>
              <a:gd name="connsiteX843" fmla="*/ 8001717 w 10369632"/>
              <a:gd name="connsiteY843" fmla="*/ 101942 h 1307426"/>
              <a:gd name="connsiteX844" fmla="*/ 8007051 w 10369632"/>
              <a:gd name="connsiteY844" fmla="*/ 74796 h 1307426"/>
              <a:gd name="connsiteX845" fmla="*/ 8011432 w 10369632"/>
              <a:gd name="connsiteY845" fmla="*/ 47459 h 1307426"/>
              <a:gd name="connsiteX846" fmla="*/ 8025339 w 10369632"/>
              <a:gd name="connsiteY846" fmla="*/ 1072 h 1307426"/>
              <a:gd name="connsiteX847" fmla="*/ 8323090 w 10369632"/>
              <a:gd name="connsiteY847" fmla="*/ 1072 h 1307426"/>
              <a:gd name="connsiteX848" fmla="*/ 8334139 w 10369632"/>
              <a:gd name="connsiteY848" fmla="*/ 18503 h 1307426"/>
              <a:gd name="connsiteX849" fmla="*/ 8334901 w 10369632"/>
              <a:gd name="connsiteY849" fmla="*/ 19837 h 1307426"/>
              <a:gd name="connsiteX850" fmla="*/ 8347284 w 10369632"/>
              <a:gd name="connsiteY850" fmla="*/ 59175 h 1307426"/>
              <a:gd name="connsiteX851" fmla="*/ 8348808 w 10369632"/>
              <a:gd name="connsiteY851" fmla="*/ 66700 h 1307426"/>
              <a:gd name="connsiteX852" fmla="*/ 8362714 w 10369632"/>
              <a:gd name="connsiteY852" fmla="*/ 103942 h 1307426"/>
              <a:gd name="connsiteX853" fmla="*/ 8365000 w 10369632"/>
              <a:gd name="connsiteY853" fmla="*/ 107943 h 1307426"/>
              <a:gd name="connsiteX854" fmla="*/ 8375954 w 10369632"/>
              <a:gd name="connsiteY854" fmla="*/ 141471 h 1307426"/>
              <a:gd name="connsiteX855" fmla="*/ 8384622 w 10369632"/>
              <a:gd name="connsiteY855" fmla="*/ 165950 h 1307426"/>
              <a:gd name="connsiteX856" fmla="*/ 8387194 w 10369632"/>
              <a:gd name="connsiteY856" fmla="*/ 176332 h 1307426"/>
              <a:gd name="connsiteX857" fmla="*/ 8401767 w 10369632"/>
              <a:gd name="connsiteY857" fmla="*/ 218242 h 1307426"/>
              <a:gd name="connsiteX858" fmla="*/ 8405768 w 10369632"/>
              <a:gd name="connsiteY858" fmla="*/ 228148 h 1307426"/>
              <a:gd name="connsiteX859" fmla="*/ 8414054 w 10369632"/>
              <a:gd name="connsiteY859" fmla="*/ 251104 h 1307426"/>
              <a:gd name="connsiteX860" fmla="*/ 8427294 w 10369632"/>
              <a:gd name="connsiteY860" fmla="*/ 293490 h 1307426"/>
              <a:gd name="connsiteX861" fmla="*/ 8439486 w 10369632"/>
              <a:gd name="connsiteY861" fmla="*/ 331304 h 1307426"/>
              <a:gd name="connsiteX862" fmla="*/ 8447296 w 10369632"/>
              <a:gd name="connsiteY862" fmla="*/ 352735 h 1307426"/>
              <a:gd name="connsiteX863" fmla="*/ 8459203 w 10369632"/>
              <a:gd name="connsiteY863" fmla="*/ 389026 h 1307426"/>
              <a:gd name="connsiteX864" fmla="*/ 8467585 w 10369632"/>
              <a:gd name="connsiteY864" fmla="*/ 411886 h 1307426"/>
              <a:gd name="connsiteX865" fmla="*/ 8479396 w 10369632"/>
              <a:gd name="connsiteY865" fmla="*/ 446652 h 1307426"/>
              <a:gd name="connsiteX866" fmla="*/ 8487015 w 10369632"/>
              <a:gd name="connsiteY866" fmla="*/ 469798 h 1307426"/>
              <a:gd name="connsiteX867" fmla="*/ 8489587 w 10369632"/>
              <a:gd name="connsiteY867" fmla="*/ 477037 h 1307426"/>
              <a:gd name="connsiteX868" fmla="*/ 8496921 w 10369632"/>
              <a:gd name="connsiteY868" fmla="*/ 497039 h 1307426"/>
              <a:gd name="connsiteX869" fmla="*/ 8510352 w 10369632"/>
              <a:gd name="connsiteY869" fmla="*/ 536092 h 1307426"/>
              <a:gd name="connsiteX870" fmla="*/ 8516543 w 10369632"/>
              <a:gd name="connsiteY870" fmla="*/ 555046 h 1307426"/>
              <a:gd name="connsiteX871" fmla="*/ 8519401 w 10369632"/>
              <a:gd name="connsiteY871" fmla="*/ 563809 h 1307426"/>
              <a:gd name="connsiteX872" fmla="*/ 8526544 w 10369632"/>
              <a:gd name="connsiteY872" fmla="*/ 585622 h 1307426"/>
              <a:gd name="connsiteX873" fmla="*/ 8540260 w 10369632"/>
              <a:gd name="connsiteY873" fmla="*/ 591241 h 1307426"/>
              <a:gd name="connsiteX874" fmla="*/ 8546356 w 10369632"/>
              <a:gd name="connsiteY874" fmla="*/ 584383 h 1307426"/>
              <a:gd name="connsiteX875" fmla="*/ 8569788 w 10369632"/>
              <a:gd name="connsiteY875" fmla="*/ 548284 h 1307426"/>
              <a:gd name="connsiteX876" fmla="*/ 8602363 w 10369632"/>
              <a:gd name="connsiteY876" fmla="*/ 501516 h 1307426"/>
              <a:gd name="connsiteX877" fmla="*/ 8628271 w 10369632"/>
              <a:gd name="connsiteY877" fmla="*/ 461511 h 1307426"/>
              <a:gd name="connsiteX878" fmla="*/ 8634939 w 10369632"/>
              <a:gd name="connsiteY878" fmla="*/ 453034 h 1307426"/>
              <a:gd name="connsiteX879" fmla="*/ 8683897 w 10369632"/>
              <a:gd name="connsiteY879" fmla="*/ 380263 h 1307426"/>
              <a:gd name="connsiteX880" fmla="*/ 8723521 w 10369632"/>
              <a:gd name="connsiteY880" fmla="*/ 321589 h 1307426"/>
              <a:gd name="connsiteX881" fmla="*/ 8755621 w 10369632"/>
              <a:gd name="connsiteY881" fmla="*/ 272725 h 1307426"/>
              <a:gd name="connsiteX882" fmla="*/ 8783624 w 10369632"/>
              <a:gd name="connsiteY882" fmla="*/ 232244 h 1307426"/>
              <a:gd name="connsiteX883" fmla="*/ 8813151 w 10369632"/>
              <a:gd name="connsiteY883" fmla="*/ 187191 h 1307426"/>
              <a:gd name="connsiteX884" fmla="*/ 8842584 w 10369632"/>
              <a:gd name="connsiteY884" fmla="*/ 143947 h 1307426"/>
              <a:gd name="connsiteX885" fmla="*/ 8873921 w 10369632"/>
              <a:gd name="connsiteY885" fmla="*/ 96418 h 1307426"/>
              <a:gd name="connsiteX886" fmla="*/ 8901829 w 10369632"/>
              <a:gd name="connsiteY886" fmla="*/ 55936 h 1307426"/>
              <a:gd name="connsiteX887" fmla="*/ 8909068 w 10369632"/>
              <a:gd name="connsiteY887" fmla="*/ 44125 h 1307426"/>
              <a:gd name="connsiteX888" fmla="*/ 8938310 w 10369632"/>
              <a:gd name="connsiteY888" fmla="*/ 1739 h 1307426"/>
              <a:gd name="connsiteX889" fmla="*/ 8948597 w 10369632"/>
              <a:gd name="connsiteY889" fmla="*/ 691 h 1307426"/>
              <a:gd name="connsiteX890" fmla="*/ 7404405 w 10369632"/>
              <a:gd name="connsiteY890" fmla="*/ 596 h 1307426"/>
              <a:gd name="connsiteX891" fmla="*/ 7410691 w 10369632"/>
              <a:gd name="connsiteY891" fmla="*/ 1263 h 1307426"/>
              <a:gd name="connsiteX892" fmla="*/ 7411643 w 10369632"/>
              <a:gd name="connsiteY892" fmla="*/ 16884 h 1307426"/>
              <a:gd name="connsiteX893" fmla="*/ 7404786 w 10369632"/>
              <a:gd name="connsiteY893" fmla="*/ 32219 h 1307426"/>
              <a:gd name="connsiteX894" fmla="*/ 7400785 w 10369632"/>
              <a:gd name="connsiteY894" fmla="*/ 40411 h 1307426"/>
              <a:gd name="connsiteX895" fmla="*/ 7396023 w 10369632"/>
              <a:gd name="connsiteY895" fmla="*/ 50031 h 1307426"/>
              <a:gd name="connsiteX896" fmla="*/ 7389260 w 10369632"/>
              <a:gd name="connsiteY896" fmla="*/ 65461 h 1307426"/>
              <a:gd name="connsiteX897" fmla="*/ 7385831 w 10369632"/>
              <a:gd name="connsiteY897" fmla="*/ 74034 h 1307426"/>
              <a:gd name="connsiteX898" fmla="*/ 7379640 w 10369632"/>
              <a:gd name="connsiteY898" fmla="*/ 88036 h 1307426"/>
              <a:gd name="connsiteX899" fmla="*/ 7375544 w 10369632"/>
              <a:gd name="connsiteY899" fmla="*/ 97846 h 1307426"/>
              <a:gd name="connsiteX900" fmla="*/ 7371448 w 10369632"/>
              <a:gd name="connsiteY900" fmla="*/ 107752 h 1307426"/>
              <a:gd name="connsiteX901" fmla="*/ 7365734 w 10369632"/>
              <a:gd name="connsiteY901" fmla="*/ 120230 h 1307426"/>
              <a:gd name="connsiteX902" fmla="*/ 7360494 w 10369632"/>
              <a:gd name="connsiteY902" fmla="*/ 131279 h 1307426"/>
              <a:gd name="connsiteX903" fmla="*/ 7356209 w 10369632"/>
              <a:gd name="connsiteY903" fmla="*/ 141090 h 1307426"/>
              <a:gd name="connsiteX904" fmla="*/ 7349350 w 10369632"/>
              <a:gd name="connsiteY904" fmla="*/ 156520 h 1307426"/>
              <a:gd name="connsiteX905" fmla="*/ 7345541 w 10369632"/>
              <a:gd name="connsiteY905" fmla="*/ 166522 h 1307426"/>
              <a:gd name="connsiteX906" fmla="*/ 7341254 w 10369632"/>
              <a:gd name="connsiteY906" fmla="*/ 176332 h 1307426"/>
              <a:gd name="connsiteX907" fmla="*/ 7336206 w 10369632"/>
              <a:gd name="connsiteY907" fmla="*/ 187381 h 1307426"/>
              <a:gd name="connsiteX908" fmla="*/ 7331253 w 10369632"/>
              <a:gd name="connsiteY908" fmla="*/ 198526 h 1307426"/>
              <a:gd name="connsiteX909" fmla="*/ 7326585 w 10369632"/>
              <a:gd name="connsiteY909" fmla="*/ 208241 h 1307426"/>
              <a:gd name="connsiteX910" fmla="*/ 7320394 w 10369632"/>
              <a:gd name="connsiteY910" fmla="*/ 222243 h 1307426"/>
              <a:gd name="connsiteX911" fmla="*/ 7316108 w 10369632"/>
              <a:gd name="connsiteY911" fmla="*/ 232149 h 1307426"/>
              <a:gd name="connsiteX912" fmla="*/ 7309822 w 10369632"/>
              <a:gd name="connsiteY912" fmla="*/ 246055 h 1307426"/>
              <a:gd name="connsiteX913" fmla="*/ 7306392 w 10369632"/>
              <a:gd name="connsiteY913" fmla="*/ 254533 h 1307426"/>
              <a:gd name="connsiteX914" fmla="*/ 7300963 w 10369632"/>
              <a:gd name="connsiteY914" fmla="*/ 267201 h 1307426"/>
              <a:gd name="connsiteX915" fmla="*/ 7296582 w 10369632"/>
              <a:gd name="connsiteY915" fmla="*/ 276916 h 1307426"/>
              <a:gd name="connsiteX916" fmla="*/ 7291724 w 10369632"/>
              <a:gd name="connsiteY916" fmla="*/ 288156 h 1307426"/>
              <a:gd name="connsiteX917" fmla="*/ 7286676 w 10369632"/>
              <a:gd name="connsiteY917" fmla="*/ 299300 h 1307426"/>
              <a:gd name="connsiteX918" fmla="*/ 7281151 w 10369632"/>
              <a:gd name="connsiteY918" fmla="*/ 311968 h 1307426"/>
              <a:gd name="connsiteX919" fmla="*/ 7276294 w 10369632"/>
              <a:gd name="connsiteY919" fmla="*/ 323208 h 1307426"/>
              <a:gd name="connsiteX920" fmla="*/ 7271436 w 10369632"/>
              <a:gd name="connsiteY920" fmla="*/ 334447 h 1307426"/>
              <a:gd name="connsiteX921" fmla="*/ 7266483 w 10369632"/>
              <a:gd name="connsiteY921" fmla="*/ 345592 h 1307426"/>
              <a:gd name="connsiteX922" fmla="*/ 7262292 w 10369632"/>
              <a:gd name="connsiteY922" fmla="*/ 355307 h 1307426"/>
              <a:gd name="connsiteX923" fmla="*/ 7256767 w 10369632"/>
              <a:gd name="connsiteY923" fmla="*/ 367880 h 1307426"/>
              <a:gd name="connsiteX924" fmla="*/ 7256005 w 10369632"/>
              <a:gd name="connsiteY924" fmla="*/ 370833 h 1307426"/>
              <a:gd name="connsiteX925" fmla="*/ 7241051 w 10369632"/>
              <a:gd name="connsiteY925" fmla="*/ 402742 h 1307426"/>
              <a:gd name="connsiteX926" fmla="*/ 7236860 w 10369632"/>
              <a:gd name="connsiteY926" fmla="*/ 412552 h 1307426"/>
              <a:gd name="connsiteX927" fmla="*/ 7231241 w 10369632"/>
              <a:gd name="connsiteY927" fmla="*/ 425030 h 1307426"/>
              <a:gd name="connsiteX928" fmla="*/ 7227144 w 10369632"/>
              <a:gd name="connsiteY928" fmla="*/ 434936 h 1307426"/>
              <a:gd name="connsiteX929" fmla="*/ 7222192 w 10369632"/>
              <a:gd name="connsiteY929" fmla="*/ 446080 h 1307426"/>
              <a:gd name="connsiteX930" fmla="*/ 7217619 w 10369632"/>
              <a:gd name="connsiteY930" fmla="*/ 455796 h 1307426"/>
              <a:gd name="connsiteX931" fmla="*/ 7211428 w 10369632"/>
              <a:gd name="connsiteY931" fmla="*/ 469798 h 1307426"/>
              <a:gd name="connsiteX932" fmla="*/ 7206951 w 10369632"/>
              <a:gd name="connsiteY932" fmla="*/ 481228 h 1307426"/>
              <a:gd name="connsiteX933" fmla="*/ 7202666 w 10369632"/>
              <a:gd name="connsiteY933" fmla="*/ 491038 h 1307426"/>
              <a:gd name="connsiteX934" fmla="*/ 7196759 w 10369632"/>
              <a:gd name="connsiteY934" fmla="*/ 505135 h 1307426"/>
              <a:gd name="connsiteX935" fmla="*/ 7192950 w 10369632"/>
              <a:gd name="connsiteY935" fmla="*/ 513517 h 1307426"/>
              <a:gd name="connsiteX936" fmla="*/ 7187425 w 10369632"/>
              <a:gd name="connsiteY936" fmla="*/ 526090 h 1307426"/>
              <a:gd name="connsiteX937" fmla="*/ 7183806 w 10369632"/>
              <a:gd name="connsiteY937" fmla="*/ 534568 h 1307426"/>
              <a:gd name="connsiteX938" fmla="*/ 7177329 w 10369632"/>
              <a:gd name="connsiteY938" fmla="*/ 548474 h 1307426"/>
              <a:gd name="connsiteX939" fmla="*/ 7172090 w 10369632"/>
              <a:gd name="connsiteY939" fmla="*/ 559618 h 1307426"/>
              <a:gd name="connsiteX940" fmla="*/ 7167232 w 10369632"/>
              <a:gd name="connsiteY940" fmla="*/ 570858 h 1307426"/>
              <a:gd name="connsiteX941" fmla="*/ 7162374 w 10369632"/>
              <a:gd name="connsiteY941" fmla="*/ 582097 h 1307426"/>
              <a:gd name="connsiteX942" fmla="*/ 7157517 w 10369632"/>
              <a:gd name="connsiteY942" fmla="*/ 593242 h 1307426"/>
              <a:gd name="connsiteX943" fmla="*/ 7153326 w 10369632"/>
              <a:gd name="connsiteY943" fmla="*/ 603052 h 1307426"/>
              <a:gd name="connsiteX944" fmla="*/ 7147706 w 10369632"/>
              <a:gd name="connsiteY944" fmla="*/ 615625 h 1307426"/>
              <a:gd name="connsiteX945" fmla="*/ 7143515 w 10369632"/>
              <a:gd name="connsiteY945" fmla="*/ 625436 h 1307426"/>
              <a:gd name="connsiteX946" fmla="*/ 7137800 w 10369632"/>
              <a:gd name="connsiteY946" fmla="*/ 638009 h 1307426"/>
              <a:gd name="connsiteX947" fmla="*/ 7132847 w 10369632"/>
              <a:gd name="connsiteY947" fmla="*/ 649249 h 1307426"/>
              <a:gd name="connsiteX948" fmla="*/ 7127418 w 10369632"/>
              <a:gd name="connsiteY948" fmla="*/ 661917 h 1307426"/>
              <a:gd name="connsiteX949" fmla="*/ 7123131 w 10369632"/>
              <a:gd name="connsiteY949" fmla="*/ 671728 h 1307426"/>
              <a:gd name="connsiteX950" fmla="*/ 7117797 w 10369632"/>
              <a:gd name="connsiteY950" fmla="*/ 684301 h 1307426"/>
              <a:gd name="connsiteX951" fmla="*/ 7117035 w 10369632"/>
              <a:gd name="connsiteY951" fmla="*/ 687253 h 1307426"/>
              <a:gd name="connsiteX952" fmla="*/ 7102462 w 10369632"/>
              <a:gd name="connsiteY952" fmla="*/ 717543 h 1307426"/>
              <a:gd name="connsiteX953" fmla="*/ 7098271 w 10369632"/>
              <a:gd name="connsiteY953" fmla="*/ 727449 h 1307426"/>
              <a:gd name="connsiteX954" fmla="*/ 7092747 w 10369632"/>
              <a:gd name="connsiteY954" fmla="*/ 740117 h 1307426"/>
              <a:gd name="connsiteX955" fmla="*/ 7088079 w 10369632"/>
              <a:gd name="connsiteY955" fmla="*/ 751452 h 1307426"/>
              <a:gd name="connsiteX956" fmla="*/ 7083793 w 10369632"/>
              <a:gd name="connsiteY956" fmla="*/ 761263 h 1307426"/>
              <a:gd name="connsiteX957" fmla="*/ 7078650 w 10369632"/>
              <a:gd name="connsiteY957" fmla="*/ 772312 h 1307426"/>
              <a:gd name="connsiteX958" fmla="*/ 7072840 w 10369632"/>
              <a:gd name="connsiteY958" fmla="*/ 784789 h 1307426"/>
              <a:gd name="connsiteX959" fmla="*/ 7069029 w 10369632"/>
              <a:gd name="connsiteY959" fmla="*/ 793171 h 1307426"/>
              <a:gd name="connsiteX960" fmla="*/ 7063029 w 10369632"/>
              <a:gd name="connsiteY960" fmla="*/ 807268 h 1307426"/>
              <a:gd name="connsiteX961" fmla="*/ 7058362 w 10369632"/>
              <a:gd name="connsiteY961" fmla="*/ 818603 h 1307426"/>
              <a:gd name="connsiteX962" fmla="*/ 7053504 w 10369632"/>
              <a:gd name="connsiteY962" fmla="*/ 829843 h 1307426"/>
              <a:gd name="connsiteX963" fmla="*/ 7048646 w 10369632"/>
              <a:gd name="connsiteY963" fmla="*/ 841082 h 1307426"/>
              <a:gd name="connsiteX964" fmla="*/ 7044550 w 10369632"/>
              <a:gd name="connsiteY964" fmla="*/ 850988 h 1307426"/>
              <a:gd name="connsiteX965" fmla="*/ 7039026 w 10369632"/>
              <a:gd name="connsiteY965" fmla="*/ 863561 h 1307426"/>
              <a:gd name="connsiteX966" fmla="*/ 7034644 w 10369632"/>
              <a:gd name="connsiteY966" fmla="*/ 873372 h 1307426"/>
              <a:gd name="connsiteX967" fmla="*/ 7029787 w 10369632"/>
              <a:gd name="connsiteY967" fmla="*/ 882897 h 1307426"/>
              <a:gd name="connsiteX968" fmla="*/ 7022357 w 10369632"/>
              <a:gd name="connsiteY968" fmla="*/ 899756 h 1307426"/>
              <a:gd name="connsiteX969" fmla="*/ 7018547 w 10369632"/>
              <a:gd name="connsiteY969" fmla="*/ 909757 h 1307426"/>
              <a:gd name="connsiteX970" fmla="*/ 7014165 w 10369632"/>
              <a:gd name="connsiteY970" fmla="*/ 919568 h 1307426"/>
              <a:gd name="connsiteX971" fmla="*/ 7009212 w 10369632"/>
              <a:gd name="connsiteY971" fmla="*/ 930712 h 1307426"/>
              <a:gd name="connsiteX972" fmla="*/ 7008069 w 10369632"/>
              <a:gd name="connsiteY972" fmla="*/ 935189 h 1307426"/>
              <a:gd name="connsiteX973" fmla="*/ 6993401 w 10369632"/>
              <a:gd name="connsiteY973" fmla="*/ 965479 h 1307426"/>
              <a:gd name="connsiteX974" fmla="*/ 6989210 w 10369632"/>
              <a:gd name="connsiteY974" fmla="*/ 975385 h 1307426"/>
              <a:gd name="connsiteX975" fmla="*/ 6983591 w 10369632"/>
              <a:gd name="connsiteY975" fmla="*/ 987958 h 1307426"/>
              <a:gd name="connsiteX976" fmla="*/ 6978923 w 10369632"/>
              <a:gd name="connsiteY976" fmla="*/ 999292 h 1307426"/>
              <a:gd name="connsiteX977" fmla="*/ 6974732 w 10369632"/>
              <a:gd name="connsiteY977" fmla="*/ 1009103 h 1307426"/>
              <a:gd name="connsiteX978" fmla="*/ 6969208 w 10369632"/>
              <a:gd name="connsiteY978" fmla="*/ 1021676 h 1307426"/>
              <a:gd name="connsiteX979" fmla="*/ 6964635 w 10369632"/>
              <a:gd name="connsiteY979" fmla="*/ 1031296 h 1307426"/>
              <a:gd name="connsiteX980" fmla="*/ 6959968 w 10369632"/>
              <a:gd name="connsiteY980" fmla="*/ 1040917 h 1307426"/>
              <a:gd name="connsiteX981" fmla="*/ 6953872 w 10369632"/>
              <a:gd name="connsiteY981" fmla="*/ 1054918 h 1307426"/>
              <a:gd name="connsiteX982" fmla="*/ 6949586 w 10369632"/>
              <a:gd name="connsiteY982" fmla="*/ 1064824 h 1307426"/>
              <a:gd name="connsiteX983" fmla="*/ 6943299 w 10369632"/>
              <a:gd name="connsiteY983" fmla="*/ 1078731 h 1307426"/>
              <a:gd name="connsiteX984" fmla="*/ 6940156 w 10369632"/>
              <a:gd name="connsiteY984" fmla="*/ 1085779 h 1307426"/>
              <a:gd name="connsiteX985" fmla="*/ 6933489 w 10369632"/>
              <a:gd name="connsiteY985" fmla="*/ 1101210 h 1307426"/>
              <a:gd name="connsiteX986" fmla="*/ 6930441 w 10369632"/>
              <a:gd name="connsiteY986" fmla="*/ 1108163 h 1307426"/>
              <a:gd name="connsiteX987" fmla="*/ 6923583 w 10369632"/>
              <a:gd name="connsiteY987" fmla="*/ 1123498 h 1307426"/>
              <a:gd name="connsiteX988" fmla="*/ 6920058 w 10369632"/>
              <a:gd name="connsiteY988" fmla="*/ 1131976 h 1307426"/>
              <a:gd name="connsiteX989" fmla="*/ 6914629 w 10369632"/>
              <a:gd name="connsiteY989" fmla="*/ 1144644 h 1307426"/>
              <a:gd name="connsiteX990" fmla="*/ 6909772 w 10369632"/>
              <a:gd name="connsiteY990" fmla="*/ 1155883 h 1307426"/>
              <a:gd name="connsiteX991" fmla="*/ 6904152 w 10369632"/>
              <a:gd name="connsiteY991" fmla="*/ 1168456 h 1307426"/>
              <a:gd name="connsiteX992" fmla="*/ 6900056 w 10369632"/>
              <a:gd name="connsiteY992" fmla="*/ 1178362 h 1307426"/>
              <a:gd name="connsiteX993" fmla="*/ 6895103 w 10369632"/>
              <a:gd name="connsiteY993" fmla="*/ 1189507 h 1307426"/>
              <a:gd name="connsiteX994" fmla="*/ 6890340 w 10369632"/>
              <a:gd name="connsiteY994" fmla="*/ 1200746 h 1307426"/>
              <a:gd name="connsiteX995" fmla="*/ 6886149 w 10369632"/>
              <a:gd name="connsiteY995" fmla="*/ 1210652 h 1307426"/>
              <a:gd name="connsiteX996" fmla="*/ 6879863 w 10369632"/>
              <a:gd name="connsiteY996" fmla="*/ 1224559 h 1307426"/>
              <a:gd name="connsiteX997" fmla="*/ 6875481 w 10369632"/>
              <a:gd name="connsiteY997" fmla="*/ 1234369 h 1307426"/>
              <a:gd name="connsiteX998" fmla="*/ 6869957 w 10369632"/>
              <a:gd name="connsiteY998" fmla="*/ 1246942 h 1307426"/>
              <a:gd name="connsiteX999" fmla="*/ 6865671 w 10369632"/>
              <a:gd name="connsiteY999" fmla="*/ 1256658 h 1307426"/>
              <a:gd name="connsiteX1000" fmla="*/ 6860242 w 10369632"/>
              <a:gd name="connsiteY1000" fmla="*/ 1269231 h 1307426"/>
              <a:gd name="connsiteX1001" fmla="*/ 6856717 w 10369632"/>
              <a:gd name="connsiteY1001" fmla="*/ 1277613 h 1307426"/>
              <a:gd name="connsiteX1002" fmla="*/ 6845097 w 10369632"/>
              <a:gd name="connsiteY1002" fmla="*/ 1307426 h 1307426"/>
              <a:gd name="connsiteX1003" fmla="*/ 6590684 w 10369632"/>
              <a:gd name="connsiteY1003" fmla="*/ 1307331 h 1307426"/>
              <a:gd name="connsiteX1004" fmla="*/ 6589446 w 10369632"/>
              <a:gd name="connsiteY1004" fmla="*/ 1298473 h 1307426"/>
              <a:gd name="connsiteX1005" fmla="*/ 6584397 w 10369632"/>
              <a:gd name="connsiteY1005" fmla="*/ 1277613 h 1307426"/>
              <a:gd name="connsiteX1006" fmla="*/ 6578873 w 10369632"/>
              <a:gd name="connsiteY1006" fmla="*/ 1255324 h 1307426"/>
              <a:gd name="connsiteX1007" fmla="*/ 6574777 w 10369632"/>
              <a:gd name="connsiteY1007" fmla="*/ 1239037 h 1307426"/>
              <a:gd name="connsiteX1008" fmla="*/ 6568586 w 10369632"/>
              <a:gd name="connsiteY1008" fmla="*/ 1213700 h 1307426"/>
              <a:gd name="connsiteX1009" fmla="*/ 6564681 w 10369632"/>
              <a:gd name="connsiteY1009" fmla="*/ 1195793 h 1307426"/>
              <a:gd name="connsiteX1010" fmla="*/ 6558680 w 10369632"/>
              <a:gd name="connsiteY1010" fmla="*/ 1173600 h 1307426"/>
              <a:gd name="connsiteX1011" fmla="*/ 6554489 w 10369632"/>
              <a:gd name="connsiteY1011" fmla="*/ 1155693 h 1307426"/>
              <a:gd name="connsiteX1012" fmla="*/ 6548965 w 10369632"/>
              <a:gd name="connsiteY1012" fmla="*/ 1133404 h 1307426"/>
              <a:gd name="connsiteX1013" fmla="*/ 6544678 w 10369632"/>
              <a:gd name="connsiteY1013" fmla="*/ 1115593 h 1307426"/>
              <a:gd name="connsiteX1014" fmla="*/ 6538678 w 10369632"/>
              <a:gd name="connsiteY1014" fmla="*/ 1091875 h 1307426"/>
              <a:gd name="connsiteX1015" fmla="*/ 6534963 w 10369632"/>
              <a:gd name="connsiteY1015" fmla="*/ 1075492 h 1307426"/>
              <a:gd name="connsiteX1016" fmla="*/ 6528962 w 10369632"/>
              <a:gd name="connsiteY1016" fmla="*/ 1051775 h 1307426"/>
              <a:gd name="connsiteX1017" fmla="*/ 6525152 w 10369632"/>
              <a:gd name="connsiteY1017" fmla="*/ 1035392 h 1307426"/>
              <a:gd name="connsiteX1018" fmla="*/ 6518961 w 10369632"/>
              <a:gd name="connsiteY1018" fmla="*/ 1010151 h 1307426"/>
              <a:gd name="connsiteX1019" fmla="*/ 6515341 w 10369632"/>
              <a:gd name="connsiteY1019" fmla="*/ 993768 h 1307426"/>
              <a:gd name="connsiteX1020" fmla="*/ 6509245 w 10369632"/>
              <a:gd name="connsiteY1020" fmla="*/ 969955 h 1307426"/>
              <a:gd name="connsiteX1021" fmla="*/ 6505245 w 10369632"/>
              <a:gd name="connsiteY1021" fmla="*/ 952048 h 1307426"/>
              <a:gd name="connsiteX1022" fmla="*/ 6499720 w 10369632"/>
              <a:gd name="connsiteY1022" fmla="*/ 929760 h 1307426"/>
              <a:gd name="connsiteX1023" fmla="*/ 6495434 w 10369632"/>
              <a:gd name="connsiteY1023" fmla="*/ 911948 h 1307426"/>
              <a:gd name="connsiteX1024" fmla="*/ 6489528 w 10369632"/>
              <a:gd name="connsiteY1024" fmla="*/ 888136 h 1307426"/>
              <a:gd name="connsiteX1025" fmla="*/ 6485528 w 10369632"/>
              <a:gd name="connsiteY1025" fmla="*/ 870229 h 1307426"/>
              <a:gd name="connsiteX1026" fmla="*/ 6479622 w 10369632"/>
              <a:gd name="connsiteY1026" fmla="*/ 848035 h 1307426"/>
              <a:gd name="connsiteX1027" fmla="*/ 6475527 w 10369632"/>
              <a:gd name="connsiteY1027" fmla="*/ 830128 h 1307426"/>
              <a:gd name="connsiteX1028" fmla="*/ 6469907 w 10369632"/>
              <a:gd name="connsiteY1028" fmla="*/ 807840 h 1307426"/>
              <a:gd name="connsiteX1029" fmla="*/ 6465621 w 10369632"/>
              <a:gd name="connsiteY1029" fmla="*/ 789933 h 1307426"/>
              <a:gd name="connsiteX1030" fmla="*/ 6459810 w 10369632"/>
              <a:gd name="connsiteY1030" fmla="*/ 766120 h 1307426"/>
              <a:gd name="connsiteX1031" fmla="*/ 6455715 w 10369632"/>
              <a:gd name="connsiteY1031" fmla="*/ 749833 h 1307426"/>
              <a:gd name="connsiteX1032" fmla="*/ 6449428 w 10369632"/>
              <a:gd name="connsiteY1032" fmla="*/ 724591 h 1307426"/>
              <a:gd name="connsiteX1033" fmla="*/ 6445809 w 10369632"/>
              <a:gd name="connsiteY1033" fmla="*/ 708208 h 1307426"/>
              <a:gd name="connsiteX1034" fmla="*/ 6439522 w 10369632"/>
              <a:gd name="connsiteY1034" fmla="*/ 684491 h 1307426"/>
              <a:gd name="connsiteX1035" fmla="*/ 6435903 w 10369632"/>
              <a:gd name="connsiteY1035" fmla="*/ 668108 h 1307426"/>
              <a:gd name="connsiteX1036" fmla="*/ 6430092 w 10369632"/>
              <a:gd name="connsiteY1036" fmla="*/ 644296 h 1307426"/>
              <a:gd name="connsiteX1037" fmla="*/ 6426187 w 10369632"/>
              <a:gd name="connsiteY1037" fmla="*/ 628008 h 1307426"/>
              <a:gd name="connsiteX1038" fmla="*/ 6419710 w 10369632"/>
              <a:gd name="connsiteY1038" fmla="*/ 602767 h 1307426"/>
              <a:gd name="connsiteX1039" fmla="*/ 6416091 w 10369632"/>
              <a:gd name="connsiteY1039" fmla="*/ 586384 h 1307426"/>
              <a:gd name="connsiteX1040" fmla="*/ 6409995 w 10369632"/>
              <a:gd name="connsiteY1040" fmla="*/ 562571 h 1307426"/>
              <a:gd name="connsiteX1041" fmla="*/ 6405994 w 10369632"/>
              <a:gd name="connsiteY1041" fmla="*/ 544664 h 1307426"/>
              <a:gd name="connsiteX1042" fmla="*/ 6400279 w 10369632"/>
              <a:gd name="connsiteY1042" fmla="*/ 522376 h 1307426"/>
              <a:gd name="connsiteX1043" fmla="*/ 6395993 w 10369632"/>
              <a:gd name="connsiteY1043" fmla="*/ 502945 h 1307426"/>
              <a:gd name="connsiteX1044" fmla="*/ 6390659 w 10369632"/>
              <a:gd name="connsiteY1044" fmla="*/ 482180 h 1307426"/>
              <a:gd name="connsiteX1045" fmla="*/ 6386278 w 10369632"/>
              <a:gd name="connsiteY1045" fmla="*/ 464368 h 1307426"/>
              <a:gd name="connsiteX1046" fmla="*/ 6380372 w 10369632"/>
              <a:gd name="connsiteY1046" fmla="*/ 440651 h 1307426"/>
              <a:gd name="connsiteX1047" fmla="*/ 6376276 w 10369632"/>
              <a:gd name="connsiteY1047" fmla="*/ 422744 h 1307426"/>
              <a:gd name="connsiteX1048" fmla="*/ 6370752 w 10369632"/>
              <a:gd name="connsiteY1048" fmla="*/ 400456 h 1307426"/>
              <a:gd name="connsiteX1049" fmla="*/ 6366370 w 10369632"/>
              <a:gd name="connsiteY1049" fmla="*/ 382644 h 1307426"/>
              <a:gd name="connsiteX1050" fmla="*/ 6360274 w 10369632"/>
              <a:gd name="connsiteY1050" fmla="*/ 358927 h 1307426"/>
              <a:gd name="connsiteX1051" fmla="*/ 6356369 w 10369632"/>
              <a:gd name="connsiteY1051" fmla="*/ 342544 h 1307426"/>
              <a:gd name="connsiteX1052" fmla="*/ 6350083 w 10369632"/>
              <a:gd name="connsiteY1052" fmla="*/ 317302 h 1307426"/>
              <a:gd name="connsiteX1053" fmla="*/ 6346653 w 10369632"/>
              <a:gd name="connsiteY1053" fmla="*/ 300919 h 1307426"/>
              <a:gd name="connsiteX1054" fmla="*/ 6340558 w 10369632"/>
              <a:gd name="connsiteY1054" fmla="*/ 277202 h 1307426"/>
              <a:gd name="connsiteX1055" fmla="*/ 6336843 w 10369632"/>
              <a:gd name="connsiteY1055" fmla="*/ 260819 h 1307426"/>
              <a:gd name="connsiteX1056" fmla="*/ 6330747 w 10369632"/>
              <a:gd name="connsiteY1056" fmla="*/ 237102 h 1307426"/>
              <a:gd name="connsiteX1057" fmla="*/ 6327127 w 10369632"/>
              <a:gd name="connsiteY1057" fmla="*/ 222338 h 1307426"/>
              <a:gd name="connsiteX1058" fmla="*/ 6320555 w 10369632"/>
              <a:gd name="connsiteY1058" fmla="*/ 195573 h 1307426"/>
              <a:gd name="connsiteX1059" fmla="*/ 6317031 w 10369632"/>
              <a:gd name="connsiteY1059" fmla="*/ 179095 h 1307426"/>
              <a:gd name="connsiteX1060" fmla="*/ 6310934 w 10369632"/>
              <a:gd name="connsiteY1060" fmla="*/ 155377 h 1307426"/>
              <a:gd name="connsiteX1061" fmla="*/ 6306934 w 10369632"/>
              <a:gd name="connsiteY1061" fmla="*/ 137470 h 1307426"/>
              <a:gd name="connsiteX1062" fmla="*/ 6301315 w 10369632"/>
              <a:gd name="connsiteY1062" fmla="*/ 115182 h 1307426"/>
              <a:gd name="connsiteX1063" fmla="*/ 6297124 w 10369632"/>
              <a:gd name="connsiteY1063" fmla="*/ 97370 h 1307426"/>
              <a:gd name="connsiteX1064" fmla="*/ 6291028 w 10369632"/>
              <a:gd name="connsiteY1064" fmla="*/ 73558 h 1307426"/>
              <a:gd name="connsiteX1065" fmla="*/ 6287313 w 10369632"/>
              <a:gd name="connsiteY1065" fmla="*/ 58794 h 1307426"/>
              <a:gd name="connsiteX1066" fmla="*/ 6280645 w 10369632"/>
              <a:gd name="connsiteY1066" fmla="*/ 32029 h 1307426"/>
              <a:gd name="connsiteX1067" fmla="*/ 6280360 w 10369632"/>
              <a:gd name="connsiteY1067" fmla="*/ 2120 h 1307426"/>
              <a:gd name="connsiteX1068" fmla="*/ 6286646 w 10369632"/>
              <a:gd name="connsiteY1068" fmla="*/ 882 h 1307426"/>
              <a:gd name="connsiteX1069" fmla="*/ 6558108 w 10369632"/>
              <a:gd name="connsiteY1069" fmla="*/ 786 h 1307426"/>
              <a:gd name="connsiteX1070" fmla="*/ 6562775 w 10369632"/>
              <a:gd name="connsiteY1070" fmla="*/ 10502 h 1307426"/>
              <a:gd name="connsiteX1071" fmla="*/ 6566395 w 10369632"/>
              <a:gd name="connsiteY1071" fmla="*/ 20694 h 1307426"/>
              <a:gd name="connsiteX1072" fmla="*/ 6572587 w 10369632"/>
              <a:gd name="connsiteY1072" fmla="*/ 45935 h 1307426"/>
              <a:gd name="connsiteX1073" fmla="*/ 6578016 w 10369632"/>
              <a:gd name="connsiteY1073" fmla="*/ 68224 h 1307426"/>
              <a:gd name="connsiteX1074" fmla="*/ 6582302 w 10369632"/>
              <a:gd name="connsiteY1074" fmla="*/ 87655 h 1307426"/>
              <a:gd name="connsiteX1075" fmla="*/ 6588303 w 10369632"/>
              <a:gd name="connsiteY1075" fmla="*/ 112991 h 1307426"/>
              <a:gd name="connsiteX1076" fmla="*/ 6592399 w 10369632"/>
              <a:gd name="connsiteY1076" fmla="*/ 130898 h 1307426"/>
              <a:gd name="connsiteX1077" fmla="*/ 6598685 w 10369632"/>
              <a:gd name="connsiteY1077" fmla="*/ 157759 h 1307426"/>
              <a:gd name="connsiteX1078" fmla="*/ 6602114 w 10369632"/>
              <a:gd name="connsiteY1078" fmla="*/ 174237 h 1307426"/>
              <a:gd name="connsiteX1079" fmla="*/ 6608305 w 10369632"/>
              <a:gd name="connsiteY1079" fmla="*/ 201193 h 1307426"/>
              <a:gd name="connsiteX1080" fmla="*/ 6612020 w 10369632"/>
              <a:gd name="connsiteY1080" fmla="*/ 219100 h 1307426"/>
              <a:gd name="connsiteX1081" fmla="*/ 6618021 w 10369632"/>
              <a:gd name="connsiteY1081" fmla="*/ 244436 h 1307426"/>
              <a:gd name="connsiteX1082" fmla="*/ 6621735 w 10369632"/>
              <a:gd name="connsiteY1082" fmla="*/ 260819 h 1307426"/>
              <a:gd name="connsiteX1083" fmla="*/ 6628403 w 10369632"/>
              <a:gd name="connsiteY1083" fmla="*/ 289204 h 1307426"/>
              <a:gd name="connsiteX1084" fmla="*/ 6631642 w 10369632"/>
              <a:gd name="connsiteY1084" fmla="*/ 304158 h 1307426"/>
              <a:gd name="connsiteX1085" fmla="*/ 6638690 w 10369632"/>
              <a:gd name="connsiteY1085" fmla="*/ 333971 h 1307426"/>
              <a:gd name="connsiteX1086" fmla="*/ 6641833 w 10369632"/>
              <a:gd name="connsiteY1086" fmla="*/ 350449 h 1307426"/>
              <a:gd name="connsiteX1087" fmla="*/ 6647834 w 10369632"/>
              <a:gd name="connsiteY1087" fmla="*/ 375786 h 1307426"/>
              <a:gd name="connsiteX1088" fmla="*/ 6651644 w 10369632"/>
              <a:gd name="connsiteY1088" fmla="*/ 393693 h 1307426"/>
              <a:gd name="connsiteX1089" fmla="*/ 6658025 w 10369632"/>
              <a:gd name="connsiteY1089" fmla="*/ 420553 h 1307426"/>
              <a:gd name="connsiteX1090" fmla="*/ 6661455 w 10369632"/>
              <a:gd name="connsiteY1090" fmla="*/ 436936 h 1307426"/>
              <a:gd name="connsiteX1091" fmla="*/ 6667837 w 10369632"/>
              <a:gd name="connsiteY1091" fmla="*/ 463797 h 1307426"/>
              <a:gd name="connsiteX1092" fmla="*/ 6671265 w 10369632"/>
              <a:gd name="connsiteY1092" fmla="*/ 480180 h 1307426"/>
              <a:gd name="connsiteX1093" fmla="*/ 6677552 w 10369632"/>
              <a:gd name="connsiteY1093" fmla="*/ 507040 h 1307426"/>
              <a:gd name="connsiteX1094" fmla="*/ 6681172 w 10369632"/>
              <a:gd name="connsiteY1094" fmla="*/ 523519 h 1307426"/>
              <a:gd name="connsiteX1095" fmla="*/ 6687934 w 10369632"/>
              <a:gd name="connsiteY1095" fmla="*/ 551903 h 1307426"/>
              <a:gd name="connsiteX1096" fmla="*/ 6691363 w 10369632"/>
              <a:gd name="connsiteY1096" fmla="*/ 568381 h 1307426"/>
              <a:gd name="connsiteX1097" fmla="*/ 6697650 w 10369632"/>
              <a:gd name="connsiteY1097" fmla="*/ 595242 h 1307426"/>
              <a:gd name="connsiteX1098" fmla="*/ 6701269 w 10369632"/>
              <a:gd name="connsiteY1098" fmla="*/ 613244 h 1307426"/>
              <a:gd name="connsiteX1099" fmla="*/ 6707556 w 10369632"/>
              <a:gd name="connsiteY1099" fmla="*/ 638485 h 1307426"/>
              <a:gd name="connsiteX1100" fmla="*/ 6711175 w 10369632"/>
              <a:gd name="connsiteY1100" fmla="*/ 656488 h 1307426"/>
              <a:gd name="connsiteX1101" fmla="*/ 6717081 w 10369632"/>
              <a:gd name="connsiteY1101" fmla="*/ 681824 h 1307426"/>
              <a:gd name="connsiteX1102" fmla="*/ 6720891 w 10369632"/>
              <a:gd name="connsiteY1102" fmla="*/ 699731 h 1307426"/>
              <a:gd name="connsiteX1103" fmla="*/ 6726701 w 10369632"/>
              <a:gd name="connsiteY1103" fmla="*/ 725163 h 1307426"/>
              <a:gd name="connsiteX1104" fmla="*/ 6730797 w 10369632"/>
              <a:gd name="connsiteY1104" fmla="*/ 743070 h 1307426"/>
              <a:gd name="connsiteX1105" fmla="*/ 6737178 w 10369632"/>
              <a:gd name="connsiteY1105" fmla="*/ 769930 h 1307426"/>
              <a:gd name="connsiteX1106" fmla="*/ 6740893 w 10369632"/>
              <a:gd name="connsiteY1106" fmla="*/ 787837 h 1307426"/>
              <a:gd name="connsiteX1107" fmla="*/ 6746799 w 10369632"/>
              <a:gd name="connsiteY1107" fmla="*/ 813269 h 1307426"/>
              <a:gd name="connsiteX1108" fmla="*/ 6750799 w 10369632"/>
              <a:gd name="connsiteY1108" fmla="*/ 831176 h 1307426"/>
              <a:gd name="connsiteX1109" fmla="*/ 6752609 w 10369632"/>
              <a:gd name="connsiteY1109" fmla="*/ 846511 h 1307426"/>
              <a:gd name="connsiteX1110" fmla="*/ 6760705 w 10369632"/>
              <a:gd name="connsiteY1110" fmla="*/ 854512 h 1307426"/>
              <a:gd name="connsiteX1111" fmla="*/ 6771469 w 10369632"/>
              <a:gd name="connsiteY1111" fmla="*/ 847178 h 1307426"/>
              <a:gd name="connsiteX1112" fmla="*/ 6772897 w 10369632"/>
              <a:gd name="connsiteY1112" fmla="*/ 841177 h 1307426"/>
              <a:gd name="connsiteX1113" fmla="*/ 6777565 w 10369632"/>
              <a:gd name="connsiteY1113" fmla="*/ 829938 h 1307426"/>
              <a:gd name="connsiteX1114" fmla="*/ 6782422 w 10369632"/>
              <a:gd name="connsiteY1114" fmla="*/ 818698 h 1307426"/>
              <a:gd name="connsiteX1115" fmla="*/ 6788233 w 10369632"/>
              <a:gd name="connsiteY1115" fmla="*/ 804506 h 1307426"/>
              <a:gd name="connsiteX1116" fmla="*/ 6789090 w 10369632"/>
              <a:gd name="connsiteY1116" fmla="*/ 803172 h 1307426"/>
              <a:gd name="connsiteX1117" fmla="*/ 6802520 w 10369632"/>
              <a:gd name="connsiteY1117" fmla="*/ 769073 h 1307426"/>
              <a:gd name="connsiteX1118" fmla="*/ 6806521 w 10369632"/>
              <a:gd name="connsiteY1118" fmla="*/ 759167 h 1307426"/>
              <a:gd name="connsiteX1119" fmla="*/ 6812997 w 10369632"/>
              <a:gd name="connsiteY1119" fmla="*/ 743546 h 1307426"/>
              <a:gd name="connsiteX1120" fmla="*/ 6816998 w 10369632"/>
              <a:gd name="connsiteY1120" fmla="*/ 733640 h 1307426"/>
              <a:gd name="connsiteX1121" fmla="*/ 6822332 w 10369632"/>
              <a:gd name="connsiteY1121" fmla="*/ 721067 h 1307426"/>
              <a:gd name="connsiteX1122" fmla="*/ 6827190 w 10369632"/>
              <a:gd name="connsiteY1122" fmla="*/ 709828 h 1307426"/>
              <a:gd name="connsiteX1123" fmla="*/ 6831191 w 10369632"/>
              <a:gd name="connsiteY1123" fmla="*/ 701541 h 1307426"/>
              <a:gd name="connsiteX1124" fmla="*/ 6839382 w 10369632"/>
              <a:gd name="connsiteY1124" fmla="*/ 681729 h 1307426"/>
              <a:gd name="connsiteX1125" fmla="*/ 6841858 w 10369632"/>
              <a:gd name="connsiteY1125" fmla="*/ 674490 h 1307426"/>
              <a:gd name="connsiteX1126" fmla="*/ 6842715 w 10369632"/>
              <a:gd name="connsiteY1126" fmla="*/ 670013 h 1307426"/>
              <a:gd name="connsiteX1127" fmla="*/ 6856146 w 10369632"/>
              <a:gd name="connsiteY1127" fmla="*/ 639152 h 1307426"/>
              <a:gd name="connsiteX1128" fmla="*/ 6862528 w 10369632"/>
              <a:gd name="connsiteY1128" fmla="*/ 623531 h 1307426"/>
              <a:gd name="connsiteX1129" fmla="*/ 6866719 w 10369632"/>
              <a:gd name="connsiteY1129" fmla="*/ 613720 h 1307426"/>
              <a:gd name="connsiteX1130" fmla="*/ 6871672 w 10369632"/>
              <a:gd name="connsiteY1130" fmla="*/ 602576 h 1307426"/>
              <a:gd name="connsiteX1131" fmla="*/ 6876910 w 10369632"/>
              <a:gd name="connsiteY1131" fmla="*/ 589908 h 1307426"/>
              <a:gd name="connsiteX1132" fmla="*/ 6879292 w 10369632"/>
              <a:gd name="connsiteY1132" fmla="*/ 585907 h 1307426"/>
              <a:gd name="connsiteX1133" fmla="*/ 6892150 w 10369632"/>
              <a:gd name="connsiteY1133" fmla="*/ 551522 h 1307426"/>
              <a:gd name="connsiteX1134" fmla="*/ 6895865 w 10369632"/>
              <a:gd name="connsiteY1134" fmla="*/ 543140 h 1307426"/>
              <a:gd name="connsiteX1135" fmla="*/ 6899103 w 10369632"/>
              <a:gd name="connsiteY1135" fmla="*/ 537901 h 1307426"/>
              <a:gd name="connsiteX1136" fmla="*/ 6910438 w 10369632"/>
              <a:gd name="connsiteY1136" fmla="*/ 509326 h 1307426"/>
              <a:gd name="connsiteX1137" fmla="*/ 6918820 w 10369632"/>
              <a:gd name="connsiteY1137" fmla="*/ 489705 h 1307426"/>
              <a:gd name="connsiteX1138" fmla="*/ 6923583 w 10369632"/>
              <a:gd name="connsiteY1138" fmla="*/ 475227 h 1307426"/>
              <a:gd name="connsiteX1139" fmla="*/ 6939584 w 10369632"/>
              <a:gd name="connsiteY1139" fmla="*/ 440460 h 1307426"/>
              <a:gd name="connsiteX1140" fmla="*/ 6952634 w 10369632"/>
              <a:gd name="connsiteY1140" fmla="*/ 404456 h 1307426"/>
              <a:gd name="connsiteX1141" fmla="*/ 6967874 w 10369632"/>
              <a:gd name="connsiteY1141" fmla="*/ 371119 h 1307426"/>
              <a:gd name="connsiteX1142" fmla="*/ 6970636 w 10369632"/>
              <a:gd name="connsiteY1142" fmla="*/ 363975 h 1307426"/>
              <a:gd name="connsiteX1143" fmla="*/ 6977018 w 10369632"/>
              <a:gd name="connsiteY1143" fmla="*/ 348354 h 1307426"/>
              <a:gd name="connsiteX1144" fmla="*/ 6980828 w 10369632"/>
              <a:gd name="connsiteY1144" fmla="*/ 338353 h 1307426"/>
              <a:gd name="connsiteX1145" fmla="*/ 6986733 w 10369632"/>
              <a:gd name="connsiteY1145" fmla="*/ 324351 h 1307426"/>
              <a:gd name="connsiteX1146" fmla="*/ 6990639 w 10369632"/>
              <a:gd name="connsiteY1146" fmla="*/ 314445 h 1307426"/>
              <a:gd name="connsiteX1147" fmla="*/ 6993687 w 10369632"/>
              <a:gd name="connsiteY1147" fmla="*/ 305777 h 1307426"/>
              <a:gd name="connsiteX1148" fmla="*/ 7001783 w 10369632"/>
              <a:gd name="connsiteY1148" fmla="*/ 285965 h 1307426"/>
              <a:gd name="connsiteX1149" fmla="*/ 7004831 w 10369632"/>
              <a:gd name="connsiteY1149" fmla="*/ 279012 h 1307426"/>
              <a:gd name="connsiteX1150" fmla="*/ 7010927 w 10369632"/>
              <a:gd name="connsiteY1150" fmla="*/ 265010 h 1307426"/>
              <a:gd name="connsiteX1151" fmla="*/ 7015023 w 10369632"/>
              <a:gd name="connsiteY1151" fmla="*/ 255199 h 1307426"/>
              <a:gd name="connsiteX1152" fmla="*/ 7020833 w 10369632"/>
              <a:gd name="connsiteY1152" fmla="*/ 241102 h 1307426"/>
              <a:gd name="connsiteX1153" fmla="*/ 7025500 w 10369632"/>
              <a:gd name="connsiteY1153" fmla="*/ 229768 h 1307426"/>
              <a:gd name="connsiteX1154" fmla="*/ 7030549 w 10369632"/>
              <a:gd name="connsiteY1154" fmla="*/ 217004 h 1307426"/>
              <a:gd name="connsiteX1155" fmla="*/ 7035406 w 10369632"/>
              <a:gd name="connsiteY1155" fmla="*/ 205860 h 1307426"/>
              <a:gd name="connsiteX1156" fmla="*/ 7039788 w 10369632"/>
              <a:gd name="connsiteY1156" fmla="*/ 196049 h 1307426"/>
              <a:gd name="connsiteX1157" fmla="*/ 7046360 w 10369632"/>
              <a:gd name="connsiteY1157" fmla="*/ 180523 h 1307426"/>
              <a:gd name="connsiteX1158" fmla="*/ 7049789 w 10369632"/>
              <a:gd name="connsiteY1158" fmla="*/ 171951 h 1307426"/>
              <a:gd name="connsiteX1159" fmla="*/ 7056933 w 10369632"/>
              <a:gd name="connsiteY1159" fmla="*/ 155092 h 1307426"/>
              <a:gd name="connsiteX1160" fmla="*/ 7059981 w 10369632"/>
              <a:gd name="connsiteY1160" fmla="*/ 146424 h 1307426"/>
              <a:gd name="connsiteX1161" fmla="*/ 7063886 w 10369632"/>
              <a:gd name="connsiteY1161" fmla="*/ 136423 h 1307426"/>
              <a:gd name="connsiteX1162" fmla="*/ 7070935 w 10369632"/>
              <a:gd name="connsiteY1162" fmla="*/ 119468 h 1307426"/>
              <a:gd name="connsiteX1163" fmla="*/ 7075221 w 10369632"/>
              <a:gd name="connsiteY1163" fmla="*/ 109657 h 1307426"/>
              <a:gd name="connsiteX1164" fmla="*/ 7077697 w 10369632"/>
              <a:gd name="connsiteY1164" fmla="*/ 105752 h 1307426"/>
              <a:gd name="connsiteX1165" fmla="*/ 7088366 w 10369632"/>
              <a:gd name="connsiteY1165" fmla="*/ 78892 h 1307426"/>
              <a:gd name="connsiteX1166" fmla="*/ 7101224 w 10369632"/>
              <a:gd name="connsiteY1166" fmla="*/ 44411 h 1307426"/>
              <a:gd name="connsiteX1167" fmla="*/ 7123036 w 10369632"/>
              <a:gd name="connsiteY1167" fmla="*/ 2406 h 1307426"/>
              <a:gd name="connsiteX1168" fmla="*/ 7124274 w 10369632"/>
              <a:gd name="connsiteY1168" fmla="*/ 1548 h 1307426"/>
              <a:gd name="connsiteX1169" fmla="*/ 7125703 w 10369632"/>
              <a:gd name="connsiteY1169" fmla="*/ 1072 h 1307426"/>
              <a:gd name="connsiteX1170" fmla="*/ 7404405 w 10369632"/>
              <a:gd name="connsiteY1170" fmla="*/ 596 h 1307426"/>
              <a:gd name="connsiteX1171" fmla="*/ 1317740 w 10369632"/>
              <a:gd name="connsiteY1171" fmla="*/ 500 h 1307426"/>
              <a:gd name="connsiteX1172" fmla="*/ 1325455 w 10369632"/>
              <a:gd name="connsiteY1172" fmla="*/ 500 h 1307426"/>
              <a:gd name="connsiteX1173" fmla="*/ 1594917 w 10369632"/>
              <a:gd name="connsiteY1173" fmla="*/ 500 h 1307426"/>
              <a:gd name="connsiteX1174" fmla="*/ 1611110 w 10369632"/>
              <a:gd name="connsiteY1174" fmla="*/ 977 h 1307426"/>
              <a:gd name="connsiteX1175" fmla="*/ 1620159 w 10369632"/>
              <a:gd name="connsiteY1175" fmla="*/ 22979 h 1307426"/>
              <a:gd name="connsiteX1176" fmla="*/ 1626540 w 10369632"/>
              <a:gd name="connsiteY1176" fmla="*/ 43363 h 1307426"/>
              <a:gd name="connsiteX1177" fmla="*/ 1638542 w 10369632"/>
              <a:gd name="connsiteY1177" fmla="*/ 78129 h 1307426"/>
              <a:gd name="connsiteX1178" fmla="*/ 1646162 w 10369632"/>
              <a:gd name="connsiteY1178" fmla="*/ 99751 h 1307426"/>
              <a:gd name="connsiteX1179" fmla="*/ 1660545 w 10369632"/>
              <a:gd name="connsiteY1179" fmla="*/ 140137 h 1307426"/>
              <a:gd name="connsiteX1180" fmla="*/ 1664260 w 10369632"/>
              <a:gd name="connsiteY1180" fmla="*/ 150233 h 1307426"/>
              <a:gd name="connsiteX1181" fmla="*/ 1671879 w 10369632"/>
              <a:gd name="connsiteY1181" fmla="*/ 171855 h 1307426"/>
              <a:gd name="connsiteX1182" fmla="*/ 1674165 w 10369632"/>
              <a:gd name="connsiteY1182" fmla="*/ 179189 h 1307426"/>
              <a:gd name="connsiteX1183" fmla="*/ 1681691 w 10369632"/>
              <a:gd name="connsiteY1183" fmla="*/ 200811 h 1307426"/>
              <a:gd name="connsiteX1184" fmla="*/ 1683976 w 10369632"/>
              <a:gd name="connsiteY1184" fmla="*/ 208050 h 1307426"/>
              <a:gd name="connsiteX1185" fmla="*/ 1691596 w 10369632"/>
              <a:gd name="connsiteY1185" fmla="*/ 229577 h 1307426"/>
              <a:gd name="connsiteX1186" fmla="*/ 1693596 w 10369632"/>
              <a:gd name="connsiteY1186" fmla="*/ 235292 h 1307426"/>
              <a:gd name="connsiteX1187" fmla="*/ 1701978 w 10369632"/>
              <a:gd name="connsiteY1187" fmla="*/ 259866 h 1307426"/>
              <a:gd name="connsiteX1188" fmla="*/ 1704266 w 10369632"/>
              <a:gd name="connsiteY1188" fmla="*/ 268724 h 1307426"/>
              <a:gd name="connsiteX1189" fmla="*/ 1710456 w 10369632"/>
              <a:gd name="connsiteY1189" fmla="*/ 285965 h 1307426"/>
              <a:gd name="connsiteX1190" fmla="*/ 1711313 w 10369632"/>
              <a:gd name="connsiteY1190" fmla="*/ 287298 h 1307426"/>
              <a:gd name="connsiteX1191" fmla="*/ 1716552 w 10369632"/>
              <a:gd name="connsiteY1191" fmla="*/ 308158 h 1307426"/>
              <a:gd name="connsiteX1192" fmla="*/ 1724362 w 10369632"/>
              <a:gd name="connsiteY1192" fmla="*/ 327970 h 1307426"/>
              <a:gd name="connsiteX1193" fmla="*/ 1733125 w 10369632"/>
              <a:gd name="connsiteY1193" fmla="*/ 350735 h 1307426"/>
              <a:gd name="connsiteX1194" fmla="*/ 1739698 w 10369632"/>
              <a:gd name="connsiteY1194" fmla="*/ 372737 h 1307426"/>
              <a:gd name="connsiteX1195" fmla="*/ 1741317 w 10369632"/>
              <a:gd name="connsiteY1195" fmla="*/ 375309 h 1307426"/>
              <a:gd name="connsiteX1196" fmla="*/ 1754271 w 10369632"/>
              <a:gd name="connsiteY1196" fmla="*/ 416076 h 1307426"/>
              <a:gd name="connsiteX1197" fmla="*/ 1754652 w 10369632"/>
              <a:gd name="connsiteY1197" fmla="*/ 419124 h 1307426"/>
              <a:gd name="connsiteX1198" fmla="*/ 1763034 w 10369632"/>
              <a:gd name="connsiteY1198" fmla="*/ 438936 h 1307426"/>
              <a:gd name="connsiteX1199" fmla="*/ 1769225 w 10369632"/>
              <a:gd name="connsiteY1199" fmla="*/ 459415 h 1307426"/>
              <a:gd name="connsiteX1200" fmla="*/ 1771416 w 10369632"/>
              <a:gd name="connsiteY1200" fmla="*/ 463511 h 1307426"/>
              <a:gd name="connsiteX1201" fmla="*/ 1782750 w 10369632"/>
              <a:gd name="connsiteY1201" fmla="*/ 496848 h 1307426"/>
              <a:gd name="connsiteX1202" fmla="*/ 1795514 w 10369632"/>
              <a:gd name="connsiteY1202" fmla="*/ 539425 h 1307426"/>
              <a:gd name="connsiteX1203" fmla="*/ 1798276 w 10369632"/>
              <a:gd name="connsiteY1203" fmla="*/ 544854 h 1307426"/>
              <a:gd name="connsiteX1204" fmla="*/ 1801610 w 10369632"/>
              <a:gd name="connsiteY1204" fmla="*/ 551712 h 1307426"/>
              <a:gd name="connsiteX1205" fmla="*/ 1813611 w 10369632"/>
              <a:gd name="connsiteY1205" fmla="*/ 588098 h 1307426"/>
              <a:gd name="connsiteX1206" fmla="*/ 1825138 w 10369632"/>
              <a:gd name="connsiteY1206" fmla="*/ 590574 h 1307426"/>
              <a:gd name="connsiteX1207" fmla="*/ 1842853 w 10369632"/>
              <a:gd name="connsiteY1207" fmla="*/ 567333 h 1307426"/>
              <a:gd name="connsiteX1208" fmla="*/ 1876857 w 10369632"/>
              <a:gd name="connsiteY1208" fmla="*/ 515993 h 1307426"/>
              <a:gd name="connsiteX1209" fmla="*/ 1906575 w 10369632"/>
              <a:gd name="connsiteY1209" fmla="*/ 471131 h 1307426"/>
              <a:gd name="connsiteX1210" fmla="*/ 1935055 w 10369632"/>
              <a:gd name="connsiteY1210" fmla="*/ 429125 h 1307426"/>
              <a:gd name="connsiteX1211" fmla="*/ 1972965 w 10369632"/>
              <a:gd name="connsiteY1211" fmla="*/ 373118 h 1307426"/>
              <a:gd name="connsiteX1212" fmla="*/ 2001825 w 10369632"/>
              <a:gd name="connsiteY1212" fmla="*/ 331399 h 1307426"/>
              <a:gd name="connsiteX1213" fmla="*/ 2030591 w 10369632"/>
              <a:gd name="connsiteY1213" fmla="*/ 287679 h 1307426"/>
              <a:gd name="connsiteX1214" fmla="*/ 2061071 w 10369632"/>
              <a:gd name="connsiteY1214" fmla="*/ 243293 h 1307426"/>
              <a:gd name="connsiteX1215" fmla="*/ 2092885 w 10369632"/>
              <a:gd name="connsiteY1215" fmla="*/ 194239 h 1307426"/>
              <a:gd name="connsiteX1216" fmla="*/ 2126508 w 10369632"/>
              <a:gd name="connsiteY1216" fmla="*/ 144518 h 1307426"/>
              <a:gd name="connsiteX1217" fmla="*/ 2154416 w 10369632"/>
              <a:gd name="connsiteY1217" fmla="*/ 102037 h 1307426"/>
              <a:gd name="connsiteX1218" fmla="*/ 2184896 w 10369632"/>
              <a:gd name="connsiteY1218" fmla="*/ 57650 h 1307426"/>
              <a:gd name="connsiteX1219" fmla="*/ 2212899 w 10369632"/>
              <a:gd name="connsiteY1219" fmla="*/ 15264 h 1307426"/>
              <a:gd name="connsiteX1220" fmla="*/ 2224996 w 10369632"/>
              <a:gd name="connsiteY1220" fmla="*/ 2120 h 1307426"/>
              <a:gd name="connsiteX1221" fmla="*/ 2226901 w 10369632"/>
              <a:gd name="connsiteY1221" fmla="*/ 1262 h 1307426"/>
              <a:gd name="connsiteX1222" fmla="*/ 2228425 w 10369632"/>
              <a:gd name="connsiteY1222" fmla="*/ 977 h 1307426"/>
              <a:gd name="connsiteX1223" fmla="*/ 2521033 w 10369632"/>
              <a:gd name="connsiteY1223" fmla="*/ 691 h 1307426"/>
              <a:gd name="connsiteX1224" fmla="*/ 2527225 w 10369632"/>
              <a:gd name="connsiteY1224" fmla="*/ 786 h 1307426"/>
              <a:gd name="connsiteX1225" fmla="*/ 2530273 w 10369632"/>
              <a:gd name="connsiteY1225" fmla="*/ 1167 h 1307426"/>
              <a:gd name="connsiteX1226" fmla="*/ 2531702 w 10369632"/>
              <a:gd name="connsiteY1226" fmla="*/ 1643 h 1307426"/>
              <a:gd name="connsiteX1227" fmla="*/ 2533892 w 10369632"/>
              <a:gd name="connsiteY1227" fmla="*/ 3167 h 1307426"/>
              <a:gd name="connsiteX1228" fmla="*/ 2533416 w 10369632"/>
              <a:gd name="connsiteY1228" fmla="*/ 36791 h 1307426"/>
              <a:gd name="connsiteX1229" fmla="*/ 2526844 w 10369632"/>
              <a:gd name="connsiteY1229" fmla="*/ 73081 h 1307426"/>
              <a:gd name="connsiteX1230" fmla="*/ 2521510 w 10369632"/>
              <a:gd name="connsiteY1230" fmla="*/ 100132 h 1307426"/>
              <a:gd name="connsiteX1231" fmla="*/ 2517033 w 10369632"/>
              <a:gd name="connsiteY1231" fmla="*/ 128993 h 1307426"/>
              <a:gd name="connsiteX1232" fmla="*/ 2511603 w 10369632"/>
              <a:gd name="connsiteY1232" fmla="*/ 157663 h 1307426"/>
              <a:gd name="connsiteX1233" fmla="*/ 2507223 w 10369632"/>
              <a:gd name="connsiteY1233" fmla="*/ 185000 h 1307426"/>
              <a:gd name="connsiteX1234" fmla="*/ 2501507 w 10369632"/>
              <a:gd name="connsiteY1234" fmla="*/ 216718 h 1307426"/>
              <a:gd name="connsiteX1235" fmla="*/ 2497506 w 10369632"/>
              <a:gd name="connsiteY1235" fmla="*/ 242531 h 1307426"/>
              <a:gd name="connsiteX1236" fmla="*/ 2491697 w 10369632"/>
              <a:gd name="connsiteY1236" fmla="*/ 274249 h 1307426"/>
              <a:gd name="connsiteX1237" fmla="*/ 2487315 w 10369632"/>
              <a:gd name="connsiteY1237" fmla="*/ 301586 h 1307426"/>
              <a:gd name="connsiteX1238" fmla="*/ 2481790 w 10369632"/>
              <a:gd name="connsiteY1238" fmla="*/ 331780 h 1307426"/>
              <a:gd name="connsiteX1239" fmla="*/ 2477504 w 10369632"/>
              <a:gd name="connsiteY1239" fmla="*/ 359117 h 1307426"/>
              <a:gd name="connsiteX1240" fmla="*/ 2471694 w 10369632"/>
              <a:gd name="connsiteY1240" fmla="*/ 389216 h 1307426"/>
              <a:gd name="connsiteX1241" fmla="*/ 2467503 w 10369632"/>
              <a:gd name="connsiteY1241" fmla="*/ 416552 h 1307426"/>
              <a:gd name="connsiteX1242" fmla="*/ 2461788 w 10369632"/>
              <a:gd name="connsiteY1242" fmla="*/ 446651 h 1307426"/>
              <a:gd name="connsiteX1243" fmla="*/ 2457597 w 10369632"/>
              <a:gd name="connsiteY1243" fmla="*/ 473988 h 1307426"/>
              <a:gd name="connsiteX1244" fmla="*/ 2452072 w 10369632"/>
              <a:gd name="connsiteY1244" fmla="*/ 504182 h 1307426"/>
              <a:gd name="connsiteX1245" fmla="*/ 2447881 w 10369632"/>
              <a:gd name="connsiteY1245" fmla="*/ 529995 h 1307426"/>
              <a:gd name="connsiteX1246" fmla="*/ 2441785 w 10369632"/>
              <a:gd name="connsiteY1246" fmla="*/ 563237 h 1307426"/>
              <a:gd name="connsiteX1247" fmla="*/ 2437689 w 10369632"/>
              <a:gd name="connsiteY1247" fmla="*/ 589050 h 1307426"/>
              <a:gd name="connsiteX1248" fmla="*/ 2431879 w 10369632"/>
              <a:gd name="connsiteY1248" fmla="*/ 620768 h 1307426"/>
              <a:gd name="connsiteX1249" fmla="*/ 2427688 w 10369632"/>
              <a:gd name="connsiteY1249" fmla="*/ 648105 h 1307426"/>
              <a:gd name="connsiteX1250" fmla="*/ 2422259 w 10369632"/>
              <a:gd name="connsiteY1250" fmla="*/ 676775 h 1307426"/>
              <a:gd name="connsiteX1251" fmla="*/ 2417688 w 10369632"/>
              <a:gd name="connsiteY1251" fmla="*/ 705636 h 1307426"/>
              <a:gd name="connsiteX1252" fmla="*/ 2412353 w 10369632"/>
              <a:gd name="connsiteY1252" fmla="*/ 734306 h 1307426"/>
              <a:gd name="connsiteX1253" fmla="*/ 2407876 w 10369632"/>
              <a:gd name="connsiteY1253" fmla="*/ 763167 h 1307426"/>
              <a:gd name="connsiteX1254" fmla="*/ 2402066 w 10369632"/>
              <a:gd name="connsiteY1254" fmla="*/ 793266 h 1307426"/>
              <a:gd name="connsiteX1255" fmla="*/ 2398065 w 10369632"/>
              <a:gd name="connsiteY1255" fmla="*/ 820698 h 1307426"/>
              <a:gd name="connsiteX1256" fmla="*/ 2392446 w 10369632"/>
              <a:gd name="connsiteY1256" fmla="*/ 850892 h 1307426"/>
              <a:gd name="connsiteX1257" fmla="*/ 2387969 w 10369632"/>
              <a:gd name="connsiteY1257" fmla="*/ 879753 h 1307426"/>
              <a:gd name="connsiteX1258" fmla="*/ 2382540 w 10369632"/>
              <a:gd name="connsiteY1258" fmla="*/ 908423 h 1307426"/>
              <a:gd name="connsiteX1259" fmla="*/ 2378063 w 10369632"/>
              <a:gd name="connsiteY1259" fmla="*/ 937284 h 1307426"/>
              <a:gd name="connsiteX1260" fmla="*/ 2372443 w 10369632"/>
              <a:gd name="connsiteY1260" fmla="*/ 965859 h 1307426"/>
              <a:gd name="connsiteX1261" fmla="*/ 2368158 w 10369632"/>
              <a:gd name="connsiteY1261" fmla="*/ 994815 h 1307426"/>
              <a:gd name="connsiteX1262" fmla="*/ 2362632 w 10369632"/>
              <a:gd name="connsiteY1262" fmla="*/ 1023390 h 1307426"/>
              <a:gd name="connsiteX1263" fmla="*/ 2358441 w 10369632"/>
              <a:gd name="connsiteY1263" fmla="*/ 1049203 h 1307426"/>
              <a:gd name="connsiteX1264" fmla="*/ 2352536 w 10369632"/>
              <a:gd name="connsiteY1264" fmla="*/ 1082445 h 1307426"/>
              <a:gd name="connsiteX1265" fmla="*/ 2348536 w 10369632"/>
              <a:gd name="connsiteY1265" fmla="*/ 1109782 h 1307426"/>
              <a:gd name="connsiteX1266" fmla="*/ 2342916 w 10369632"/>
              <a:gd name="connsiteY1266" fmla="*/ 1138357 h 1307426"/>
              <a:gd name="connsiteX1267" fmla="*/ 2338344 w 10369632"/>
              <a:gd name="connsiteY1267" fmla="*/ 1167218 h 1307426"/>
              <a:gd name="connsiteX1268" fmla="*/ 2332724 w 10369632"/>
              <a:gd name="connsiteY1268" fmla="*/ 1197412 h 1307426"/>
              <a:gd name="connsiteX1269" fmla="*/ 2328628 w 10369632"/>
              <a:gd name="connsiteY1269" fmla="*/ 1223225 h 1307426"/>
              <a:gd name="connsiteX1270" fmla="*/ 2322913 w 10369632"/>
              <a:gd name="connsiteY1270" fmla="*/ 1254943 h 1307426"/>
              <a:gd name="connsiteX1271" fmla="*/ 2318722 w 10369632"/>
              <a:gd name="connsiteY1271" fmla="*/ 1282280 h 1307426"/>
              <a:gd name="connsiteX1272" fmla="*/ 2302150 w 10369632"/>
              <a:gd name="connsiteY1272" fmla="*/ 1297996 h 1307426"/>
              <a:gd name="connsiteX1273" fmla="*/ 2068310 w 10369632"/>
              <a:gd name="connsiteY1273" fmla="*/ 1297996 h 1307426"/>
              <a:gd name="connsiteX1274" fmla="*/ 2053261 w 10369632"/>
              <a:gd name="connsiteY1274" fmla="*/ 1281613 h 1307426"/>
              <a:gd name="connsiteX1275" fmla="*/ 2056500 w 10369632"/>
              <a:gd name="connsiteY1275" fmla="*/ 1265039 h 1307426"/>
              <a:gd name="connsiteX1276" fmla="*/ 2062690 w 10369632"/>
              <a:gd name="connsiteY1276" fmla="*/ 1231797 h 1307426"/>
              <a:gd name="connsiteX1277" fmla="*/ 2068405 w 10369632"/>
              <a:gd name="connsiteY1277" fmla="*/ 1200079 h 1307426"/>
              <a:gd name="connsiteX1278" fmla="*/ 2072691 w 10369632"/>
              <a:gd name="connsiteY1278" fmla="*/ 1172742 h 1307426"/>
              <a:gd name="connsiteX1279" fmla="*/ 2078503 w 10369632"/>
              <a:gd name="connsiteY1279" fmla="*/ 1141024 h 1307426"/>
              <a:gd name="connsiteX1280" fmla="*/ 2082693 w 10369632"/>
              <a:gd name="connsiteY1280" fmla="*/ 1112068 h 1307426"/>
              <a:gd name="connsiteX1281" fmla="*/ 2088122 w 10369632"/>
              <a:gd name="connsiteY1281" fmla="*/ 1083398 h 1307426"/>
              <a:gd name="connsiteX1282" fmla="*/ 2092503 w 10369632"/>
              <a:gd name="connsiteY1282" fmla="*/ 1056061 h 1307426"/>
              <a:gd name="connsiteX1283" fmla="*/ 2098409 w 10369632"/>
              <a:gd name="connsiteY1283" fmla="*/ 1022819 h 1307426"/>
              <a:gd name="connsiteX1284" fmla="*/ 2102219 w 10369632"/>
              <a:gd name="connsiteY1284" fmla="*/ 997006 h 1307426"/>
              <a:gd name="connsiteX1285" fmla="*/ 2107934 w 10369632"/>
              <a:gd name="connsiteY1285" fmla="*/ 965288 h 1307426"/>
              <a:gd name="connsiteX1286" fmla="*/ 2112030 w 10369632"/>
              <a:gd name="connsiteY1286" fmla="*/ 937951 h 1307426"/>
              <a:gd name="connsiteX1287" fmla="*/ 2117840 w 10369632"/>
              <a:gd name="connsiteY1287" fmla="*/ 906233 h 1307426"/>
              <a:gd name="connsiteX1288" fmla="*/ 2122222 w 10369632"/>
              <a:gd name="connsiteY1288" fmla="*/ 877372 h 1307426"/>
              <a:gd name="connsiteX1289" fmla="*/ 2127651 w 10369632"/>
              <a:gd name="connsiteY1289" fmla="*/ 848702 h 1307426"/>
              <a:gd name="connsiteX1290" fmla="*/ 2132223 w 10369632"/>
              <a:gd name="connsiteY1290" fmla="*/ 818222 h 1307426"/>
              <a:gd name="connsiteX1291" fmla="*/ 2137557 w 10369632"/>
              <a:gd name="connsiteY1291" fmla="*/ 789551 h 1307426"/>
              <a:gd name="connsiteX1292" fmla="*/ 2142033 w 10369632"/>
              <a:gd name="connsiteY1292" fmla="*/ 760691 h 1307426"/>
              <a:gd name="connsiteX1293" fmla="*/ 2147653 w 10369632"/>
              <a:gd name="connsiteY1293" fmla="*/ 730496 h 1307426"/>
              <a:gd name="connsiteX1294" fmla="*/ 2151844 w 10369632"/>
              <a:gd name="connsiteY1294" fmla="*/ 701540 h 1307426"/>
              <a:gd name="connsiteX1295" fmla="*/ 2157464 w 10369632"/>
              <a:gd name="connsiteY1295" fmla="*/ 671346 h 1307426"/>
              <a:gd name="connsiteX1296" fmla="*/ 2161560 w 10369632"/>
              <a:gd name="connsiteY1296" fmla="*/ 645533 h 1307426"/>
              <a:gd name="connsiteX1297" fmla="*/ 2167465 w 10369632"/>
              <a:gd name="connsiteY1297" fmla="*/ 612291 h 1307426"/>
              <a:gd name="connsiteX1298" fmla="*/ 2171847 w 10369632"/>
              <a:gd name="connsiteY1298" fmla="*/ 581811 h 1307426"/>
              <a:gd name="connsiteX1299" fmla="*/ 2176991 w 10369632"/>
              <a:gd name="connsiteY1299" fmla="*/ 554665 h 1307426"/>
              <a:gd name="connsiteX1300" fmla="*/ 2181562 w 10369632"/>
              <a:gd name="connsiteY1300" fmla="*/ 527423 h 1307426"/>
              <a:gd name="connsiteX1301" fmla="*/ 2187564 w 10369632"/>
              <a:gd name="connsiteY1301" fmla="*/ 494181 h 1307426"/>
              <a:gd name="connsiteX1302" fmla="*/ 2191660 w 10369632"/>
              <a:gd name="connsiteY1302" fmla="*/ 452843 h 1307426"/>
              <a:gd name="connsiteX1303" fmla="*/ 2190802 w 10369632"/>
              <a:gd name="connsiteY1303" fmla="*/ 449890 h 1307426"/>
              <a:gd name="connsiteX1304" fmla="*/ 2186135 w 10369632"/>
              <a:gd name="connsiteY1304" fmla="*/ 446556 h 1307426"/>
              <a:gd name="connsiteX1305" fmla="*/ 2182134 w 10369632"/>
              <a:gd name="connsiteY1305" fmla="*/ 448080 h 1307426"/>
              <a:gd name="connsiteX1306" fmla="*/ 2174037 w 10369632"/>
              <a:gd name="connsiteY1306" fmla="*/ 461129 h 1307426"/>
              <a:gd name="connsiteX1307" fmla="*/ 2141843 w 10369632"/>
              <a:gd name="connsiteY1307" fmla="*/ 508088 h 1307426"/>
              <a:gd name="connsiteX1308" fmla="*/ 2109363 w 10369632"/>
              <a:gd name="connsiteY1308" fmla="*/ 558570 h 1307426"/>
              <a:gd name="connsiteX1309" fmla="*/ 2075645 w 10369632"/>
              <a:gd name="connsiteY1309" fmla="*/ 608195 h 1307426"/>
              <a:gd name="connsiteX1310" fmla="*/ 2029829 w 10369632"/>
              <a:gd name="connsiteY1310" fmla="*/ 677537 h 1307426"/>
              <a:gd name="connsiteX1311" fmla="*/ 1995920 w 10369632"/>
              <a:gd name="connsiteY1311" fmla="*/ 727067 h 1307426"/>
              <a:gd name="connsiteX1312" fmla="*/ 1956486 w 10369632"/>
              <a:gd name="connsiteY1312" fmla="*/ 785837 h 1307426"/>
              <a:gd name="connsiteX1313" fmla="*/ 1929626 w 10369632"/>
              <a:gd name="connsiteY1313" fmla="*/ 827080 h 1307426"/>
              <a:gd name="connsiteX1314" fmla="*/ 1898479 w 10369632"/>
              <a:gd name="connsiteY1314" fmla="*/ 872895 h 1307426"/>
              <a:gd name="connsiteX1315" fmla="*/ 1870666 w 10369632"/>
              <a:gd name="connsiteY1315" fmla="*/ 915377 h 1307426"/>
              <a:gd name="connsiteX1316" fmla="*/ 1838281 w 10369632"/>
              <a:gd name="connsiteY1316" fmla="*/ 962240 h 1307426"/>
              <a:gd name="connsiteX1317" fmla="*/ 1811516 w 10369632"/>
              <a:gd name="connsiteY1317" fmla="*/ 1003483 h 1307426"/>
              <a:gd name="connsiteX1318" fmla="*/ 1803992 w 10369632"/>
              <a:gd name="connsiteY1318" fmla="*/ 1013198 h 1307426"/>
              <a:gd name="connsiteX1319" fmla="*/ 1771416 w 10369632"/>
              <a:gd name="connsiteY1319" fmla="*/ 1063586 h 1307426"/>
              <a:gd name="connsiteX1320" fmla="*/ 1742650 w 10369632"/>
              <a:gd name="connsiteY1320" fmla="*/ 1105400 h 1307426"/>
              <a:gd name="connsiteX1321" fmla="*/ 1740936 w 10369632"/>
              <a:gd name="connsiteY1321" fmla="*/ 1107877 h 1307426"/>
              <a:gd name="connsiteX1322" fmla="*/ 1731696 w 10369632"/>
              <a:gd name="connsiteY1322" fmla="*/ 1112449 h 1307426"/>
              <a:gd name="connsiteX1323" fmla="*/ 1726172 w 10369632"/>
              <a:gd name="connsiteY1323" fmla="*/ 1104448 h 1307426"/>
              <a:gd name="connsiteX1324" fmla="*/ 1719219 w 10369632"/>
              <a:gd name="connsiteY1324" fmla="*/ 1084255 h 1307426"/>
              <a:gd name="connsiteX1325" fmla="*/ 1716266 w 10369632"/>
              <a:gd name="connsiteY1325" fmla="*/ 1075587 h 1307426"/>
              <a:gd name="connsiteX1326" fmla="*/ 1709122 w 10369632"/>
              <a:gd name="connsiteY1326" fmla="*/ 1055489 h 1307426"/>
              <a:gd name="connsiteX1327" fmla="*/ 1696263 w 10369632"/>
              <a:gd name="connsiteY1327" fmla="*/ 1016246 h 1307426"/>
              <a:gd name="connsiteX1328" fmla="*/ 1689977 w 10369632"/>
              <a:gd name="connsiteY1328" fmla="*/ 999006 h 1307426"/>
              <a:gd name="connsiteX1329" fmla="*/ 1686738 w 10369632"/>
              <a:gd name="connsiteY1329" fmla="*/ 990434 h 1307426"/>
              <a:gd name="connsiteX1330" fmla="*/ 1679119 w 10369632"/>
              <a:gd name="connsiteY1330" fmla="*/ 968907 h 1307426"/>
              <a:gd name="connsiteX1331" fmla="*/ 1677023 w 10369632"/>
              <a:gd name="connsiteY1331" fmla="*/ 963192 h 1307426"/>
              <a:gd name="connsiteX1332" fmla="*/ 1668450 w 10369632"/>
              <a:gd name="connsiteY1332" fmla="*/ 938713 h 1307426"/>
              <a:gd name="connsiteX1333" fmla="*/ 1657116 w 10369632"/>
              <a:gd name="connsiteY1333" fmla="*/ 903851 h 1307426"/>
              <a:gd name="connsiteX1334" fmla="*/ 1648829 w 10369632"/>
              <a:gd name="connsiteY1334" fmla="*/ 880896 h 1307426"/>
              <a:gd name="connsiteX1335" fmla="*/ 1646352 w 10369632"/>
              <a:gd name="connsiteY1335" fmla="*/ 872038 h 1307426"/>
              <a:gd name="connsiteX1336" fmla="*/ 1640923 w 10369632"/>
              <a:gd name="connsiteY1336" fmla="*/ 856131 h 1307426"/>
              <a:gd name="connsiteX1337" fmla="*/ 1638161 w 10369632"/>
              <a:gd name="connsiteY1337" fmla="*/ 850607 h 1307426"/>
              <a:gd name="connsiteX1338" fmla="*/ 1628065 w 10369632"/>
              <a:gd name="connsiteY1338" fmla="*/ 820031 h 1307426"/>
              <a:gd name="connsiteX1339" fmla="*/ 1618730 w 10369632"/>
              <a:gd name="connsiteY1339" fmla="*/ 794123 h 1307426"/>
              <a:gd name="connsiteX1340" fmla="*/ 1616158 w 10369632"/>
              <a:gd name="connsiteY1340" fmla="*/ 783646 h 1307426"/>
              <a:gd name="connsiteX1341" fmla="*/ 1613016 w 10369632"/>
              <a:gd name="connsiteY1341" fmla="*/ 773454 h 1307426"/>
              <a:gd name="connsiteX1342" fmla="*/ 1605870 w 10369632"/>
              <a:gd name="connsiteY1342" fmla="*/ 753261 h 1307426"/>
              <a:gd name="connsiteX1343" fmla="*/ 1593012 w 10369632"/>
              <a:gd name="connsiteY1343" fmla="*/ 715637 h 1307426"/>
              <a:gd name="connsiteX1344" fmla="*/ 1586726 w 10369632"/>
              <a:gd name="connsiteY1344" fmla="*/ 696968 h 1307426"/>
              <a:gd name="connsiteX1345" fmla="*/ 1577868 w 10369632"/>
              <a:gd name="connsiteY1345" fmla="*/ 675823 h 1307426"/>
              <a:gd name="connsiteX1346" fmla="*/ 1571010 w 10369632"/>
              <a:gd name="connsiteY1346" fmla="*/ 654011 h 1307426"/>
              <a:gd name="connsiteX1347" fmla="*/ 1570152 w 10369632"/>
              <a:gd name="connsiteY1347" fmla="*/ 652677 h 1307426"/>
              <a:gd name="connsiteX1348" fmla="*/ 1557103 w 10369632"/>
              <a:gd name="connsiteY1348" fmla="*/ 613625 h 1307426"/>
              <a:gd name="connsiteX1349" fmla="*/ 1556532 w 10369632"/>
              <a:gd name="connsiteY1349" fmla="*/ 609053 h 1307426"/>
              <a:gd name="connsiteX1350" fmla="*/ 1542625 w 10369632"/>
              <a:gd name="connsiteY1350" fmla="*/ 570191 h 1307426"/>
              <a:gd name="connsiteX1351" fmla="*/ 1539672 w 10369632"/>
              <a:gd name="connsiteY1351" fmla="*/ 564761 h 1307426"/>
              <a:gd name="connsiteX1352" fmla="*/ 1528147 w 10369632"/>
              <a:gd name="connsiteY1352" fmla="*/ 531424 h 1307426"/>
              <a:gd name="connsiteX1353" fmla="*/ 1515765 w 10369632"/>
              <a:gd name="connsiteY1353" fmla="*/ 490276 h 1307426"/>
              <a:gd name="connsiteX1354" fmla="*/ 1511670 w 10369632"/>
              <a:gd name="connsiteY1354" fmla="*/ 482084 h 1307426"/>
              <a:gd name="connsiteX1355" fmla="*/ 1508145 w 10369632"/>
              <a:gd name="connsiteY1355" fmla="*/ 471988 h 1307426"/>
              <a:gd name="connsiteX1356" fmla="*/ 1495667 w 10369632"/>
              <a:gd name="connsiteY1356" fmla="*/ 440746 h 1307426"/>
              <a:gd name="connsiteX1357" fmla="*/ 1492047 w 10369632"/>
              <a:gd name="connsiteY1357" fmla="*/ 438460 h 1307426"/>
              <a:gd name="connsiteX1358" fmla="*/ 1487380 w 10369632"/>
              <a:gd name="connsiteY1358" fmla="*/ 441603 h 1307426"/>
              <a:gd name="connsiteX1359" fmla="*/ 1485285 w 10369632"/>
              <a:gd name="connsiteY1359" fmla="*/ 453700 h 1307426"/>
              <a:gd name="connsiteX1360" fmla="*/ 1481760 w 10369632"/>
              <a:gd name="connsiteY1360" fmla="*/ 473321 h 1307426"/>
              <a:gd name="connsiteX1361" fmla="*/ 1475855 w 10369632"/>
              <a:gd name="connsiteY1361" fmla="*/ 506659 h 1307426"/>
              <a:gd name="connsiteX1362" fmla="*/ 1470235 w 10369632"/>
              <a:gd name="connsiteY1362" fmla="*/ 536853 h 1307426"/>
              <a:gd name="connsiteX1363" fmla="*/ 1465949 w 10369632"/>
              <a:gd name="connsiteY1363" fmla="*/ 565809 h 1307426"/>
              <a:gd name="connsiteX1364" fmla="*/ 1460424 w 10369632"/>
              <a:gd name="connsiteY1364" fmla="*/ 596003 h 1307426"/>
              <a:gd name="connsiteX1365" fmla="*/ 1456329 w 10369632"/>
              <a:gd name="connsiteY1365" fmla="*/ 621816 h 1307426"/>
              <a:gd name="connsiteX1366" fmla="*/ 1450137 w 10369632"/>
              <a:gd name="connsiteY1366" fmla="*/ 656582 h 1307426"/>
              <a:gd name="connsiteX1367" fmla="*/ 1446042 w 10369632"/>
              <a:gd name="connsiteY1367" fmla="*/ 685538 h 1307426"/>
              <a:gd name="connsiteX1368" fmla="*/ 1440803 w 10369632"/>
              <a:gd name="connsiteY1368" fmla="*/ 712685 h 1307426"/>
              <a:gd name="connsiteX1369" fmla="*/ 1436136 w 10369632"/>
              <a:gd name="connsiteY1369" fmla="*/ 741545 h 1307426"/>
              <a:gd name="connsiteX1370" fmla="*/ 1430325 w 10369632"/>
              <a:gd name="connsiteY1370" fmla="*/ 773264 h 1307426"/>
              <a:gd name="connsiteX1371" fmla="*/ 1426230 w 10369632"/>
              <a:gd name="connsiteY1371" fmla="*/ 802220 h 1307426"/>
              <a:gd name="connsiteX1372" fmla="*/ 1420800 w 10369632"/>
              <a:gd name="connsiteY1372" fmla="*/ 830795 h 1307426"/>
              <a:gd name="connsiteX1373" fmla="*/ 1416514 w 10369632"/>
              <a:gd name="connsiteY1373" fmla="*/ 858131 h 1307426"/>
              <a:gd name="connsiteX1374" fmla="*/ 1410513 w 10369632"/>
              <a:gd name="connsiteY1374" fmla="*/ 891374 h 1307426"/>
              <a:gd name="connsiteX1375" fmla="*/ 1406608 w 10369632"/>
              <a:gd name="connsiteY1375" fmla="*/ 917186 h 1307426"/>
              <a:gd name="connsiteX1376" fmla="*/ 1400607 w 10369632"/>
              <a:gd name="connsiteY1376" fmla="*/ 950429 h 1307426"/>
              <a:gd name="connsiteX1377" fmla="*/ 1396512 w 10369632"/>
              <a:gd name="connsiteY1377" fmla="*/ 977765 h 1307426"/>
              <a:gd name="connsiteX1378" fmla="*/ 1390797 w 10369632"/>
              <a:gd name="connsiteY1378" fmla="*/ 1007960 h 1307426"/>
              <a:gd name="connsiteX1379" fmla="*/ 1386510 w 10369632"/>
              <a:gd name="connsiteY1379" fmla="*/ 1036916 h 1307426"/>
              <a:gd name="connsiteX1380" fmla="*/ 1380891 w 10369632"/>
              <a:gd name="connsiteY1380" fmla="*/ 1067110 h 1307426"/>
              <a:gd name="connsiteX1381" fmla="*/ 1376700 w 10369632"/>
              <a:gd name="connsiteY1381" fmla="*/ 1094447 h 1307426"/>
              <a:gd name="connsiteX1382" fmla="*/ 1370985 w 10369632"/>
              <a:gd name="connsiteY1382" fmla="*/ 1126165 h 1307426"/>
              <a:gd name="connsiteX1383" fmla="*/ 1367079 w 10369632"/>
              <a:gd name="connsiteY1383" fmla="*/ 1151978 h 1307426"/>
              <a:gd name="connsiteX1384" fmla="*/ 1360983 w 10369632"/>
              <a:gd name="connsiteY1384" fmla="*/ 1185220 h 1307426"/>
              <a:gd name="connsiteX1385" fmla="*/ 1357173 w 10369632"/>
              <a:gd name="connsiteY1385" fmla="*/ 1209509 h 1307426"/>
              <a:gd name="connsiteX1386" fmla="*/ 1350982 w 10369632"/>
              <a:gd name="connsiteY1386" fmla="*/ 1244370 h 1307426"/>
              <a:gd name="connsiteX1387" fmla="*/ 1346886 w 10369632"/>
              <a:gd name="connsiteY1387" fmla="*/ 1270183 h 1307426"/>
              <a:gd name="connsiteX1388" fmla="*/ 1346029 w 10369632"/>
              <a:gd name="connsiteY1388" fmla="*/ 1285613 h 1307426"/>
              <a:gd name="connsiteX1389" fmla="*/ 1334123 w 10369632"/>
              <a:gd name="connsiteY1389" fmla="*/ 1297424 h 1307426"/>
              <a:gd name="connsiteX1390" fmla="*/ 1321740 w 10369632"/>
              <a:gd name="connsiteY1390" fmla="*/ 1297996 h 1307426"/>
              <a:gd name="connsiteX1391" fmla="*/ 1098760 w 10369632"/>
              <a:gd name="connsiteY1391" fmla="*/ 1297996 h 1307426"/>
              <a:gd name="connsiteX1392" fmla="*/ 1097236 w 10369632"/>
              <a:gd name="connsiteY1392" fmla="*/ 1297996 h 1307426"/>
              <a:gd name="connsiteX1393" fmla="*/ 1083996 w 10369632"/>
              <a:gd name="connsiteY1393" fmla="*/ 1278946 h 1307426"/>
              <a:gd name="connsiteX1394" fmla="*/ 1091616 w 10369632"/>
              <a:gd name="connsiteY1394" fmla="*/ 1235036 h 1307426"/>
              <a:gd name="connsiteX1395" fmla="*/ 1094855 w 10369632"/>
              <a:gd name="connsiteY1395" fmla="*/ 1218462 h 1307426"/>
              <a:gd name="connsiteX1396" fmla="*/ 1101141 w 10369632"/>
              <a:gd name="connsiteY1396" fmla="*/ 1183696 h 1307426"/>
              <a:gd name="connsiteX1397" fmla="*/ 1106285 w 10369632"/>
              <a:gd name="connsiteY1397" fmla="*/ 1156550 h 1307426"/>
              <a:gd name="connsiteX1398" fmla="*/ 1110952 w 10369632"/>
              <a:gd name="connsiteY1398" fmla="*/ 1126165 h 1307426"/>
              <a:gd name="connsiteX1399" fmla="*/ 1116572 w 10369632"/>
              <a:gd name="connsiteY1399" fmla="*/ 1097590 h 1307426"/>
              <a:gd name="connsiteX1400" fmla="*/ 1120763 w 10369632"/>
              <a:gd name="connsiteY1400" fmla="*/ 1071777 h 1307426"/>
              <a:gd name="connsiteX1401" fmla="*/ 1126764 w 10369632"/>
              <a:gd name="connsiteY1401" fmla="*/ 1038535 h 1307426"/>
              <a:gd name="connsiteX1402" fmla="*/ 1130764 w 10369632"/>
              <a:gd name="connsiteY1402" fmla="*/ 1012722 h 1307426"/>
              <a:gd name="connsiteX1403" fmla="*/ 1136670 w 10369632"/>
              <a:gd name="connsiteY1403" fmla="*/ 981004 h 1307426"/>
              <a:gd name="connsiteX1404" fmla="*/ 1140765 w 10369632"/>
              <a:gd name="connsiteY1404" fmla="*/ 955191 h 1307426"/>
              <a:gd name="connsiteX1405" fmla="*/ 1146480 w 10369632"/>
              <a:gd name="connsiteY1405" fmla="*/ 923473 h 1307426"/>
              <a:gd name="connsiteX1406" fmla="*/ 1150576 w 10369632"/>
              <a:gd name="connsiteY1406" fmla="*/ 896136 h 1307426"/>
              <a:gd name="connsiteX1407" fmla="*/ 1156482 w 10369632"/>
              <a:gd name="connsiteY1407" fmla="*/ 866037 h 1307426"/>
              <a:gd name="connsiteX1408" fmla="*/ 1160482 w 10369632"/>
              <a:gd name="connsiteY1408" fmla="*/ 840224 h 1307426"/>
              <a:gd name="connsiteX1409" fmla="*/ 1166102 w 10369632"/>
              <a:gd name="connsiteY1409" fmla="*/ 808506 h 1307426"/>
              <a:gd name="connsiteX1410" fmla="*/ 1170198 w 10369632"/>
              <a:gd name="connsiteY1410" fmla="*/ 782693 h 1307426"/>
              <a:gd name="connsiteX1411" fmla="*/ 1176008 w 10369632"/>
              <a:gd name="connsiteY1411" fmla="*/ 750975 h 1307426"/>
              <a:gd name="connsiteX1412" fmla="*/ 1180199 w 10369632"/>
              <a:gd name="connsiteY1412" fmla="*/ 725162 h 1307426"/>
              <a:gd name="connsiteX1413" fmla="*/ 1186390 w 10369632"/>
              <a:gd name="connsiteY1413" fmla="*/ 691920 h 1307426"/>
              <a:gd name="connsiteX1414" fmla="*/ 1190295 w 10369632"/>
              <a:gd name="connsiteY1414" fmla="*/ 664488 h 1307426"/>
              <a:gd name="connsiteX1415" fmla="*/ 1195725 w 10369632"/>
              <a:gd name="connsiteY1415" fmla="*/ 635818 h 1307426"/>
              <a:gd name="connsiteX1416" fmla="*/ 1200011 w 10369632"/>
              <a:gd name="connsiteY1416" fmla="*/ 608481 h 1307426"/>
              <a:gd name="connsiteX1417" fmla="*/ 1205821 w 10369632"/>
              <a:gd name="connsiteY1417" fmla="*/ 576763 h 1307426"/>
              <a:gd name="connsiteX1418" fmla="*/ 1209822 w 10369632"/>
              <a:gd name="connsiteY1418" fmla="*/ 549426 h 1307426"/>
              <a:gd name="connsiteX1419" fmla="*/ 1215441 w 10369632"/>
              <a:gd name="connsiteY1419" fmla="*/ 520851 h 1307426"/>
              <a:gd name="connsiteX1420" fmla="*/ 1219631 w 10369632"/>
              <a:gd name="connsiteY1420" fmla="*/ 495038 h 1307426"/>
              <a:gd name="connsiteX1421" fmla="*/ 1225633 w 10369632"/>
              <a:gd name="connsiteY1421" fmla="*/ 461796 h 1307426"/>
              <a:gd name="connsiteX1422" fmla="*/ 1229634 w 10369632"/>
              <a:gd name="connsiteY1422" fmla="*/ 435983 h 1307426"/>
              <a:gd name="connsiteX1423" fmla="*/ 1235539 w 10369632"/>
              <a:gd name="connsiteY1423" fmla="*/ 404265 h 1307426"/>
              <a:gd name="connsiteX1424" fmla="*/ 1239730 w 10369632"/>
              <a:gd name="connsiteY1424" fmla="*/ 376928 h 1307426"/>
              <a:gd name="connsiteX1425" fmla="*/ 1245445 w 10369632"/>
              <a:gd name="connsiteY1425" fmla="*/ 346829 h 1307426"/>
              <a:gd name="connsiteX1426" fmla="*/ 1249731 w 10369632"/>
              <a:gd name="connsiteY1426" fmla="*/ 319493 h 1307426"/>
              <a:gd name="connsiteX1427" fmla="*/ 1255351 w 10369632"/>
              <a:gd name="connsiteY1427" fmla="*/ 289298 h 1307426"/>
              <a:gd name="connsiteX1428" fmla="*/ 1259542 w 10369632"/>
              <a:gd name="connsiteY1428" fmla="*/ 261962 h 1307426"/>
              <a:gd name="connsiteX1429" fmla="*/ 1265162 w 10369632"/>
              <a:gd name="connsiteY1429" fmla="*/ 231767 h 1307426"/>
              <a:gd name="connsiteX1430" fmla="*/ 1269258 w 10369632"/>
              <a:gd name="connsiteY1430" fmla="*/ 205955 h 1307426"/>
              <a:gd name="connsiteX1431" fmla="*/ 1274973 w 10369632"/>
              <a:gd name="connsiteY1431" fmla="*/ 174236 h 1307426"/>
              <a:gd name="connsiteX1432" fmla="*/ 1279354 w 10369632"/>
              <a:gd name="connsiteY1432" fmla="*/ 145376 h 1307426"/>
              <a:gd name="connsiteX1433" fmla="*/ 1284879 w 10369632"/>
              <a:gd name="connsiteY1433" fmla="*/ 116705 h 1307426"/>
              <a:gd name="connsiteX1434" fmla="*/ 1289451 w 10369632"/>
              <a:gd name="connsiteY1434" fmla="*/ 86225 h 1307426"/>
              <a:gd name="connsiteX1435" fmla="*/ 1294689 w 10369632"/>
              <a:gd name="connsiteY1435" fmla="*/ 59174 h 1307426"/>
              <a:gd name="connsiteX1436" fmla="*/ 1299166 w 10369632"/>
              <a:gd name="connsiteY1436" fmla="*/ 33457 h 1307426"/>
              <a:gd name="connsiteX1437" fmla="*/ 1300023 w 10369632"/>
              <a:gd name="connsiteY1437" fmla="*/ 16502 h 1307426"/>
              <a:gd name="connsiteX1438" fmla="*/ 1317740 w 10369632"/>
              <a:gd name="connsiteY1438" fmla="*/ 500 h 1307426"/>
              <a:gd name="connsiteX1439" fmla="*/ 7695393 w 10369632"/>
              <a:gd name="connsiteY1439" fmla="*/ 489 h 1307426"/>
              <a:gd name="connsiteX1440" fmla="*/ 7820266 w 10369632"/>
              <a:gd name="connsiteY1440" fmla="*/ 1930 h 1307426"/>
              <a:gd name="connsiteX1441" fmla="*/ 7822838 w 10369632"/>
              <a:gd name="connsiteY1441" fmla="*/ 11455 h 1307426"/>
              <a:gd name="connsiteX1442" fmla="*/ 7820646 w 10369632"/>
              <a:gd name="connsiteY1442" fmla="*/ 46888 h 1307426"/>
              <a:gd name="connsiteX1443" fmla="*/ 7818265 w 10369632"/>
              <a:gd name="connsiteY1443" fmla="*/ 55841 h 1307426"/>
              <a:gd name="connsiteX1444" fmla="*/ 7811693 w 10369632"/>
              <a:gd name="connsiteY1444" fmla="*/ 92036 h 1307426"/>
              <a:gd name="connsiteX1445" fmla="*/ 7806836 w 10369632"/>
              <a:gd name="connsiteY1445" fmla="*/ 117658 h 1307426"/>
              <a:gd name="connsiteX1446" fmla="*/ 7801882 w 10369632"/>
              <a:gd name="connsiteY1446" fmla="*/ 147948 h 1307426"/>
              <a:gd name="connsiteX1447" fmla="*/ 7796644 w 10369632"/>
              <a:gd name="connsiteY1447" fmla="*/ 176618 h 1307426"/>
              <a:gd name="connsiteX1448" fmla="*/ 7792357 w 10369632"/>
              <a:gd name="connsiteY1448" fmla="*/ 200812 h 1307426"/>
              <a:gd name="connsiteX1449" fmla="*/ 7785690 w 10369632"/>
              <a:gd name="connsiteY1449" fmla="*/ 237007 h 1307426"/>
              <a:gd name="connsiteX1450" fmla="*/ 7782832 w 10369632"/>
              <a:gd name="connsiteY1450" fmla="*/ 249008 h 1307426"/>
              <a:gd name="connsiteX1451" fmla="*/ 7774165 w 10369632"/>
              <a:gd name="connsiteY1451" fmla="*/ 256533 h 1307426"/>
              <a:gd name="connsiteX1452" fmla="*/ 7763306 w 10369632"/>
              <a:gd name="connsiteY1452" fmla="*/ 256723 h 1307426"/>
              <a:gd name="connsiteX1453" fmla="*/ 7546708 w 10369632"/>
              <a:gd name="connsiteY1453" fmla="*/ 256723 h 1307426"/>
              <a:gd name="connsiteX1454" fmla="*/ 7534325 w 10369632"/>
              <a:gd name="connsiteY1454" fmla="*/ 256438 h 1307426"/>
              <a:gd name="connsiteX1455" fmla="*/ 7526229 w 10369632"/>
              <a:gd name="connsiteY1455" fmla="*/ 248722 h 1307426"/>
              <a:gd name="connsiteX1456" fmla="*/ 7529277 w 10369632"/>
              <a:gd name="connsiteY1456" fmla="*/ 219766 h 1307426"/>
              <a:gd name="connsiteX1457" fmla="*/ 7535945 w 10369632"/>
              <a:gd name="connsiteY1457" fmla="*/ 183571 h 1307426"/>
              <a:gd name="connsiteX1458" fmla="*/ 7541183 w 10369632"/>
              <a:gd name="connsiteY1458" fmla="*/ 156520 h 1307426"/>
              <a:gd name="connsiteX1459" fmla="*/ 7545660 w 10369632"/>
              <a:gd name="connsiteY1459" fmla="*/ 130803 h 1307426"/>
              <a:gd name="connsiteX1460" fmla="*/ 7551851 w 10369632"/>
              <a:gd name="connsiteY1460" fmla="*/ 96037 h 1307426"/>
              <a:gd name="connsiteX1461" fmla="*/ 7555852 w 10369632"/>
              <a:gd name="connsiteY1461" fmla="*/ 68700 h 1307426"/>
              <a:gd name="connsiteX1462" fmla="*/ 7561281 w 10369632"/>
              <a:gd name="connsiteY1462" fmla="*/ 40125 h 1307426"/>
              <a:gd name="connsiteX1463" fmla="*/ 7565472 w 10369632"/>
              <a:gd name="connsiteY1463" fmla="*/ 18979 h 1307426"/>
              <a:gd name="connsiteX1464" fmla="*/ 7568520 w 10369632"/>
              <a:gd name="connsiteY1464" fmla="*/ 1834 h 1307426"/>
              <a:gd name="connsiteX1465" fmla="*/ 7695393 w 10369632"/>
              <a:gd name="connsiteY1465" fmla="*/ 489 h 1307426"/>
              <a:gd name="connsiteX1466" fmla="*/ 697662 w 10369632"/>
              <a:gd name="connsiteY1466" fmla="*/ 24 h 1307426"/>
              <a:gd name="connsiteX1467" fmla="*/ 721951 w 10369632"/>
              <a:gd name="connsiteY1467" fmla="*/ 4120 h 1307426"/>
              <a:gd name="connsiteX1468" fmla="*/ 747763 w 10369632"/>
              <a:gd name="connsiteY1468" fmla="*/ 8502 h 1307426"/>
              <a:gd name="connsiteX1469" fmla="*/ 772528 w 10369632"/>
              <a:gd name="connsiteY1469" fmla="*/ 9549 h 1307426"/>
              <a:gd name="connsiteX1470" fmla="*/ 798055 w 10369632"/>
              <a:gd name="connsiteY1470" fmla="*/ 14788 h 1307426"/>
              <a:gd name="connsiteX1471" fmla="*/ 820630 w 10369632"/>
              <a:gd name="connsiteY1471" fmla="*/ 19265 h 1307426"/>
              <a:gd name="connsiteX1472" fmla="*/ 841394 w 10369632"/>
              <a:gd name="connsiteY1472" fmla="*/ 24504 h 1307426"/>
              <a:gd name="connsiteX1473" fmla="*/ 845585 w 10369632"/>
              <a:gd name="connsiteY1473" fmla="*/ 26504 h 1307426"/>
              <a:gd name="connsiteX1474" fmla="*/ 869683 w 10369632"/>
              <a:gd name="connsiteY1474" fmla="*/ 31552 h 1307426"/>
              <a:gd name="connsiteX1475" fmla="*/ 892734 w 10369632"/>
              <a:gd name="connsiteY1475" fmla="*/ 39648 h 1307426"/>
              <a:gd name="connsiteX1476" fmla="*/ 895781 w 10369632"/>
              <a:gd name="connsiteY1476" fmla="*/ 40220 h 1307426"/>
              <a:gd name="connsiteX1477" fmla="*/ 925500 w 10369632"/>
              <a:gd name="connsiteY1477" fmla="*/ 52412 h 1307426"/>
              <a:gd name="connsiteX1478" fmla="*/ 962838 w 10369632"/>
              <a:gd name="connsiteY1478" fmla="*/ 70128 h 1307426"/>
              <a:gd name="connsiteX1479" fmla="*/ 1001414 w 10369632"/>
              <a:gd name="connsiteY1479" fmla="*/ 92607 h 1307426"/>
              <a:gd name="connsiteX1480" fmla="*/ 1016939 w 10369632"/>
              <a:gd name="connsiteY1480" fmla="*/ 102609 h 1307426"/>
              <a:gd name="connsiteX1481" fmla="*/ 1095807 w 10369632"/>
              <a:gd name="connsiteY1481" fmla="*/ 178332 h 1307426"/>
              <a:gd name="connsiteX1482" fmla="*/ 1094378 w 10369632"/>
              <a:gd name="connsiteY1482" fmla="*/ 194430 h 1307426"/>
              <a:gd name="connsiteX1483" fmla="*/ 1027417 w 10369632"/>
              <a:gd name="connsiteY1483" fmla="*/ 246627 h 1307426"/>
              <a:gd name="connsiteX1484" fmla="*/ 1004937 w 10369632"/>
              <a:gd name="connsiteY1484" fmla="*/ 265391 h 1307426"/>
              <a:gd name="connsiteX1485" fmla="*/ 967315 w 10369632"/>
              <a:gd name="connsiteY1485" fmla="*/ 294918 h 1307426"/>
              <a:gd name="connsiteX1486" fmla="*/ 910927 w 10369632"/>
              <a:gd name="connsiteY1486" fmla="*/ 340448 h 1307426"/>
              <a:gd name="connsiteX1487" fmla="*/ 897211 w 10369632"/>
              <a:gd name="connsiteY1487" fmla="*/ 339591 h 1307426"/>
              <a:gd name="connsiteX1488" fmla="*/ 866064 w 10369632"/>
              <a:gd name="connsiteY1488" fmla="*/ 311873 h 1307426"/>
              <a:gd name="connsiteX1489" fmla="*/ 828440 w 10369632"/>
              <a:gd name="connsiteY1489" fmla="*/ 285298 h 1307426"/>
              <a:gd name="connsiteX1490" fmla="*/ 798913 w 10369632"/>
              <a:gd name="connsiteY1490" fmla="*/ 268915 h 1307426"/>
              <a:gd name="connsiteX1491" fmla="*/ 761765 w 10369632"/>
              <a:gd name="connsiteY1491" fmla="*/ 254628 h 1307426"/>
              <a:gd name="connsiteX1492" fmla="*/ 758812 w 10369632"/>
              <a:gd name="connsiteY1492" fmla="*/ 253866 h 1307426"/>
              <a:gd name="connsiteX1493" fmla="*/ 723570 w 10369632"/>
              <a:gd name="connsiteY1493" fmla="*/ 244055 h 1307426"/>
              <a:gd name="connsiteX1494" fmla="*/ 717664 w 10369632"/>
              <a:gd name="connsiteY1494" fmla="*/ 242245 h 1307426"/>
              <a:gd name="connsiteX1495" fmla="*/ 683089 w 10369632"/>
              <a:gd name="connsiteY1495" fmla="*/ 235482 h 1307426"/>
              <a:gd name="connsiteX1496" fmla="*/ 622700 w 10369632"/>
              <a:gd name="connsiteY1496" fmla="*/ 235578 h 1307426"/>
              <a:gd name="connsiteX1497" fmla="*/ 586505 w 10369632"/>
              <a:gd name="connsiteY1497" fmla="*/ 242531 h 1307426"/>
              <a:gd name="connsiteX1498" fmla="*/ 571456 w 10369632"/>
              <a:gd name="connsiteY1498" fmla="*/ 245293 h 1307426"/>
              <a:gd name="connsiteX1499" fmla="*/ 555644 w 10369632"/>
              <a:gd name="connsiteY1499" fmla="*/ 250722 h 1307426"/>
              <a:gd name="connsiteX1500" fmla="*/ 550310 w 10369632"/>
              <a:gd name="connsiteY1500" fmla="*/ 253770 h 1307426"/>
              <a:gd name="connsiteX1501" fmla="*/ 492874 w 10369632"/>
              <a:gd name="connsiteY1501" fmla="*/ 293394 h 1307426"/>
              <a:gd name="connsiteX1502" fmla="*/ 474586 w 10369632"/>
              <a:gd name="connsiteY1502" fmla="*/ 328256 h 1307426"/>
              <a:gd name="connsiteX1503" fmla="*/ 472681 w 10369632"/>
              <a:gd name="connsiteY1503" fmla="*/ 334066 h 1307426"/>
              <a:gd name="connsiteX1504" fmla="*/ 469919 w 10369632"/>
              <a:gd name="connsiteY1504" fmla="*/ 360831 h 1307426"/>
              <a:gd name="connsiteX1505" fmla="*/ 475729 w 10369632"/>
              <a:gd name="connsiteY1505" fmla="*/ 391121 h 1307426"/>
              <a:gd name="connsiteX1506" fmla="*/ 478015 w 10369632"/>
              <a:gd name="connsiteY1506" fmla="*/ 398455 h 1307426"/>
              <a:gd name="connsiteX1507" fmla="*/ 505257 w 10369632"/>
              <a:gd name="connsiteY1507" fmla="*/ 439413 h 1307426"/>
              <a:gd name="connsiteX1508" fmla="*/ 537737 w 10369632"/>
              <a:gd name="connsiteY1508" fmla="*/ 465321 h 1307426"/>
              <a:gd name="connsiteX1509" fmla="*/ 561454 w 10369632"/>
              <a:gd name="connsiteY1509" fmla="*/ 479513 h 1307426"/>
              <a:gd name="connsiteX1510" fmla="*/ 597554 w 10369632"/>
              <a:gd name="connsiteY1510" fmla="*/ 496277 h 1307426"/>
              <a:gd name="connsiteX1511" fmla="*/ 605555 w 10369632"/>
              <a:gd name="connsiteY1511" fmla="*/ 500658 h 1307426"/>
              <a:gd name="connsiteX1512" fmla="*/ 613937 w 10369632"/>
              <a:gd name="connsiteY1512" fmla="*/ 504373 h 1307426"/>
              <a:gd name="connsiteX1513" fmla="*/ 629558 w 10369632"/>
              <a:gd name="connsiteY1513" fmla="*/ 510660 h 1307426"/>
              <a:gd name="connsiteX1514" fmla="*/ 639464 w 10369632"/>
              <a:gd name="connsiteY1514" fmla="*/ 514755 h 1307426"/>
              <a:gd name="connsiteX1515" fmla="*/ 645465 w 10369632"/>
              <a:gd name="connsiteY1515" fmla="*/ 516089 h 1307426"/>
              <a:gd name="connsiteX1516" fmla="*/ 679183 w 10369632"/>
              <a:gd name="connsiteY1516" fmla="*/ 530567 h 1307426"/>
              <a:gd name="connsiteX1517" fmla="*/ 689089 w 10369632"/>
              <a:gd name="connsiteY1517" fmla="*/ 534567 h 1307426"/>
              <a:gd name="connsiteX1518" fmla="*/ 704615 w 10369632"/>
              <a:gd name="connsiteY1518" fmla="*/ 541044 h 1307426"/>
              <a:gd name="connsiteX1519" fmla="*/ 710140 w 10369632"/>
              <a:gd name="connsiteY1519" fmla="*/ 543711 h 1307426"/>
              <a:gd name="connsiteX1520" fmla="*/ 729666 w 10369632"/>
              <a:gd name="connsiteY1520" fmla="*/ 552189 h 1307426"/>
              <a:gd name="connsiteX1521" fmla="*/ 760813 w 10369632"/>
              <a:gd name="connsiteY1521" fmla="*/ 565333 h 1307426"/>
              <a:gd name="connsiteX1522" fmla="*/ 787292 w 10369632"/>
              <a:gd name="connsiteY1522" fmla="*/ 577525 h 1307426"/>
              <a:gd name="connsiteX1523" fmla="*/ 830059 w 10369632"/>
              <a:gd name="connsiteY1523" fmla="*/ 601909 h 1307426"/>
              <a:gd name="connsiteX1524" fmla="*/ 883876 w 10369632"/>
              <a:gd name="connsiteY1524" fmla="*/ 637533 h 1307426"/>
              <a:gd name="connsiteX1525" fmla="*/ 934738 w 10369632"/>
              <a:gd name="connsiteY1525" fmla="*/ 684586 h 1307426"/>
              <a:gd name="connsiteX1526" fmla="*/ 972457 w 10369632"/>
              <a:gd name="connsiteY1526" fmla="*/ 742403 h 1307426"/>
              <a:gd name="connsiteX1527" fmla="*/ 988364 w 10369632"/>
              <a:gd name="connsiteY1527" fmla="*/ 777169 h 1307426"/>
              <a:gd name="connsiteX1528" fmla="*/ 990936 w 10369632"/>
              <a:gd name="connsiteY1528" fmla="*/ 789075 h 1307426"/>
              <a:gd name="connsiteX1529" fmla="*/ 996270 w 10369632"/>
              <a:gd name="connsiteY1529" fmla="*/ 809935 h 1307426"/>
              <a:gd name="connsiteX1530" fmla="*/ 1000557 w 10369632"/>
              <a:gd name="connsiteY1530" fmla="*/ 832605 h 1307426"/>
              <a:gd name="connsiteX1531" fmla="*/ 1000462 w 10369632"/>
              <a:gd name="connsiteY1531" fmla="*/ 925473 h 1307426"/>
              <a:gd name="connsiteX1532" fmla="*/ 996366 w 10369632"/>
              <a:gd name="connsiteY1532" fmla="*/ 949762 h 1307426"/>
              <a:gd name="connsiteX1533" fmla="*/ 990841 w 10369632"/>
              <a:gd name="connsiteY1533" fmla="*/ 978528 h 1307426"/>
              <a:gd name="connsiteX1534" fmla="*/ 985697 w 10369632"/>
              <a:gd name="connsiteY1534" fmla="*/ 997673 h 1307426"/>
              <a:gd name="connsiteX1535" fmla="*/ 983030 w 10369632"/>
              <a:gd name="connsiteY1535" fmla="*/ 1003197 h 1307426"/>
              <a:gd name="connsiteX1536" fmla="*/ 971028 w 10369632"/>
              <a:gd name="connsiteY1536" fmla="*/ 1041107 h 1307426"/>
              <a:gd name="connsiteX1537" fmla="*/ 969029 w 10369632"/>
              <a:gd name="connsiteY1537" fmla="*/ 1046917 h 1307426"/>
              <a:gd name="connsiteX1538" fmla="*/ 949312 w 10369632"/>
              <a:gd name="connsiteY1538" fmla="*/ 1085112 h 1307426"/>
              <a:gd name="connsiteX1539" fmla="*/ 922261 w 10369632"/>
              <a:gd name="connsiteY1539" fmla="*/ 1124355 h 1307426"/>
              <a:gd name="connsiteX1540" fmla="*/ 882923 w 10369632"/>
              <a:gd name="connsiteY1540" fmla="*/ 1167885 h 1307426"/>
              <a:gd name="connsiteX1541" fmla="*/ 829202 w 10369632"/>
              <a:gd name="connsiteY1541" fmla="*/ 1209223 h 1307426"/>
              <a:gd name="connsiteX1542" fmla="*/ 788816 w 10369632"/>
              <a:gd name="connsiteY1542" fmla="*/ 1234464 h 1307426"/>
              <a:gd name="connsiteX1543" fmla="*/ 769385 w 10369632"/>
              <a:gd name="connsiteY1543" fmla="*/ 1243418 h 1307426"/>
              <a:gd name="connsiteX1544" fmla="*/ 735286 w 10369632"/>
              <a:gd name="connsiteY1544" fmla="*/ 1257134 h 1307426"/>
              <a:gd name="connsiteX1545" fmla="*/ 697471 w 10369632"/>
              <a:gd name="connsiteY1545" fmla="*/ 1269135 h 1307426"/>
              <a:gd name="connsiteX1546" fmla="*/ 669658 w 10369632"/>
              <a:gd name="connsiteY1546" fmla="*/ 1277041 h 1307426"/>
              <a:gd name="connsiteX1547" fmla="*/ 656419 w 10369632"/>
              <a:gd name="connsiteY1547" fmla="*/ 1280756 h 1307426"/>
              <a:gd name="connsiteX1548" fmla="*/ 634130 w 10369632"/>
              <a:gd name="connsiteY1548" fmla="*/ 1286185 h 1307426"/>
              <a:gd name="connsiteX1549" fmla="*/ 596125 w 10369632"/>
              <a:gd name="connsiteY1549" fmla="*/ 1292662 h 1307426"/>
              <a:gd name="connsiteX1550" fmla="*/ 576409 w 10369632"/>
              <a:gd name="connsiteY1550" fmla="*/ 1295805 h 1307426"/>
              <a:gd name="connsiteX1551" fmla="*/ 481730 w 10369632"/>
              <a:gd name="connsiteY1551" fmla="*/ 1298282 h 1307426"/>
              <a:gd name="connsiteX1552" fmla="*/ 392195 w 10369632"/>
              <a:gd name="connsiteY1552" fmla="*/ 1295996 h 1307426"/>
              <a:gd name="connsiteX1553" fmla="*/ 374002 w 10369632"/>
              <a:gd name="connsiteY1553" fmla="*/ 1292853 h 1307426"/>
              <a:gd name="connsiteX1554" fmla="*/ 339141 w 10369632"/>
              <a:gd name="connsiteY1554" fmla="*/ 1286566 h 1307426"/>
              <a:gd name="connsiteX1555" fmla="*/ 315233 w 10369632"/>
              <a:gd name="connsiteY1555" fmla="*/ 1281137 h 1307426"/>
              <a:gd name="connsiteX1556" fmla="*/ 297326 w 10369632"/>
              <a:gd name="connsiteY1556" fmla="*/ 1277041 h 1307426"/>
              <a:gd name="connsiteX1557" fmla="*/ 271132 w 10369632"/>
              <a:gd name="connsiteY1557" fmla="*/ 1268659 h 1307426"/>
              <a:gd name="connsiteX1558" fmla="*/ 244939 w 10369632"/>
              <a:gd name="connsiteY1558" fmla="*/ 1260658 h 1307426"/>
              <a:gd name="connsiteX1559" fmla="*/ 240843 w 10369632"/>
              <a:gd name="connsiteY1559" fmla="*/ 1258658 h 1307426"/>
              <a:gd name="connsiteX1560" fmla="*/ 212077 w 10369632"/>
              <a:gd name="connsiteY1560" fmla="*/ 1248466 h 1307426"/>
              <a:gd name="connsiteX1561" fmla="*/ 173215 w 10369632"/>
              <a:gd name="connsiteY1561" fmla="*/ 1230559 h 1307426"/>
              <a:gd name="connsiteX1562" fmla="*/ 145688 w 10369632"/>
              <a:gd name="connsiteY1562" fmla="*/ 1216938 h 1307426"/>
              <a:gd name="connsiteX1563" fmla="*/ 114541 w 10369632"/>
              <a:gd name="connsiteY1563" fmla="*/ 1197412 h 1307426"/>
              <a:gd name="connsiteX1564" fmla="*/ 53391 w 10369632"/>
              <a:gd name="connsiteY1564" fmla="*/ 1148168 h 1307426"/>
              <a:gd name="connsiteX1565" fmla="*/ 6528 w 10369632"/>
              <a:gd name="connsiteY1565" fmla="*/ 1094923 h 1307426"/>
              <a:gd name="connsiteX1566" fmla="*/ 1384 w 10369632"/>
              <a:gd name="connsiteY1566" fmla="*/ 1085493 h 1307426"/>
              <a:gd name="connsiteX1567" fmla="*/ 5766 w 10369632"/>
              <a:gd name="connsiteY1567" fmla="*/ 1069301 h 1307426"/>
              <a:gd name="connsiteX1568" fmla="*/ 51486 w 10369632"/>
              <a:gd name="connsiteY1568" fmla="*/ 1032534 h 1307426"/>
              <a:gd name="connsiteX1569" fmla="*/ 122257 w 10369632"/>
              <a:gd name="connsiteY1569" fmla="*/ 975384 h 1307426"/>
              <a:gd name="connsiteX1570" fmla="*/ 150451 w 10369632"/>
              <a:gd name="connsiteY1570" fmla="*/ 953763 h 1307426"/>
              <a:gd name="connsiteX1571" fmla="*/ 182931 w 10369632"/>
              <a:gd name="connsiteY1571" fmla="*/ 927664 h 1307426"/>
              <a:gd name="connsiteX1572" fmla="*/ 203124 w 10369632"/>
              <a:gd name="connsiteY1572" fmla="*/ 929664 h 1307426"/>
              <a:gd name="connsiteX1573" fmla="*/ 212554 w 10369632"/>
              <a:gd name="connsiteY1573" fmla="*/ 939856 h 1307426"/>
              <a:gd name="connsiteX1574" fmla="*/ 273037 w 10369632"/>
              <a:gd name="connsiteY1574" fmla="*/ 987481 h 1307426"/>
              <a:gd name="connsiteX1575" fmla="*/ 320281 w 10369632"/>
              <a:gd name="connsiteY1575" fmla="*/ 1012532 h 1307426"/>
              <a:gd name="connsiteX1576" fmla="*/ 352000 w 10369632"/>
              <a:gd name="connsiteY1576" fmla="*/ 1027772 h 1307426"/>
              <a:gd name="connsiteX1577" fmla="*/ 359239 w 10369632"/>
              <a:gd name="connsiteY1577" fmla="*/ 1030248 h 1307426"/>
              <a:gd name="connsiteX1578" fmla="*/ 380956 w 10369632"/>
              <a:gd name="connsiteY1578" fmla="*/ 1037868 h 1307426"/>
              <a:gd name="connsiteX1579" fmla="*/ 394386 w 10369632"/>
              <a:gd name="connsiteY1579" fmla="*/ 1040916 h 1307426"/>
              <a:gd name="connsiteX1580" fmla="*/ 409150 w 10369632"/>
              <a:gd name="connsiteY1580" fmla="*/ 1044631 h 1307426"/>
              <a:gd name="connsiteX1581" fmla="*/ 434486 w 10369632"/>
              <a:gd name="connsiteY1581" fmla="*/ 1050632 h 1307426"/>
              <a:gd name="connsiteX1582" fmla="*/ 468109 w 10369632"/>
              <a:gd name="connsiteY1582" fmla="*/ 1055204 h 1307426"/>
              <a:gd name="connsiteX1583" fmla="*/ 523354 w 10369632"/>
              <a:gd name="connsiteY1583" fmla="*/ 1054251 h 1307426"/>
              <a:gd name="connsiteX1584" fmla="*/ 554025 w 10369632"/>
              <a:gd name="connsiteY1584" fmla="*/ 1050727 h 1307426"/>
              <a:gd name="connsiteX1585" fmla="*/ 582314 w 10369632"/>
              <a:gd name="connsiteY1585" fmla="*/ 1044441 h 1307426"/>
              <a:gd name="connsiteX1586" fmla="*/ 586505 w 10369632"/>
              <a:gd name="connsiteY1586" fmla="*/ 1042536 h 1307426"/>
              <a:gd name="connsiteX1587" fmla="*/ 619843 w 10369632"/>
              <a:gd name="connsiteY1587" fmla="*/ 1031487 h 1307426"/>
              <a:gd name="connsiteX1588" fmla="*/ 686708 w 10369632"/>
              <a:gd name="connsiteY1588" fmla="*/ 974622 h 1307426"/>
              <a:gd name="connsiteX1589" fmla="*/ 696614 w 10369632"/>
              <a:gd name="connsiteY1589" fmla="*/ 949191 h 1307426"/>
              <a:gd name="connsiteX1590" fmla="*/ 697757 w 10369632"/>
              <a:gd name="connsiteY1590" fmla="*/ 944714 h 1307426"/>
              <a:gd name="connsiteX1591" fmla="*/ 699281 w 10369632"/>
              <a:gd name="connsiteY1591" fmla="*/ 913377 h 1307426"/>
              <a:gd name="connsiteX1592" fmla="*/ 696519 w 10369632"/>
              <a:gd name="connsiteY1592" fmla="*/ 899756 h 1307426"/>
              <a:gd name="connsiteX1593" fmla="*/ 683184 w 10369632"/>
              <a:gd name="connsiteY1593" fmla="*/ 864132 h 1307426"/>
              <a:gd name="connsiteX1594" fmla="*/ 656990 w 10369632"/>
              <a:gd name="connsiteY1594" fmla="*/ 833843 h 1307426"/>
              <a:gd name="connsiteX1595" fmla="*/ 611651 w 10369632"/>
              <a:gd name="connsiteY1595" fmla="*/ 802315 h 1307426"/>
              <a:gd name="connsiteX1596" fmla="*/ 580504 w 10369632"/>
              <a:gd name="connsiteY1596" fmla="*/ 789552 h 1307426"/>
              <a:gd name="connsiteX1597" fmla="*/ 545643 w 10369632"/>
              <a:gd name="connsiteY1597" fmla="*/ 773835 h 1307426"/>
              <a:gd name="connsiteX1598" fmla="*/ 538404 w 10369632"/>
              <a:gd name="connsiteY1598" fmla="*/ 771454 h 1307426"/>
              <a:gd name="connsiteX1599" fmla="*/ 521259 w 10369632"/>
              <a:gd name="connsiteY1599" fmla="*/ 765072 h 1307426"/>
              <a:gd name="connsiteX1600" fmla="*/ 511162 w 10369632"/>
              <a:gd name="connsiteY1600" fmla="*/ 761453 h 1307426"/>
              <a:gd name="connsiteX1601" fmla="*/ 492589 w 10369632"/>
              <a:gd name="connsiteY1601" fmla="*/ 754404 h 1307426"/>
              <a:gd name="connsiteX1602" fmla="*/ 486874 w 10369632"/>
              <a:gd name="connsiteY1602" fmla="*/ 752118 h 1307426"/>
              <a:gd name="connsiteX1603" fmla="*/ 463918 w 10369632"/>
              <a:gd name="connsiteY1603" fmla="*/ 743736 h 1307426"/>
              <a:gd name="connsiteX1604" fmla="*/ 456584 w 10369632"/>
              <a:gd name="connsiteY1604" fmla="*/ 741546 h 1307426"/>
              <a:gd name="connsiteX1605" fmla="*/ 440773 w 10369632"/>
              <a:gd name="connsiteY1605" fmla="*/ 735735 h 1307426"/>
              <a:gd name="connsiteX1606" fmla="*/ 406959 w 10369632"/>
              <a:gd name="connsiteY1606" fmla="*/ 721638 h 1307426"/>
              <a:gd name="connsiteX1607" fmla="*/ 395910 w 10369632"/>
              <a:gd name="connsiteY1607" fmla="*/ 716590 h 1307426"/>
              <a:gd name="connsiteX1608" fmla="*/ 389242 w 10369632"/>
              <a:gd name="connsiteY1608" fmla="*/ 712780 h 1307426"/>
              <a:gd name="connsiteX1609" fmla="*/ 354095 w 10369632"/>
              <a:gd name="connsiteY1609" fmla="*/ 694492 h 1307426"/>
              <a:gd name="connsiteX1610" fmla="*/ 316090 w 10369632"/>
              <a:gd name="connsiteY1610" fmla="*/ 671156 h 1307426"/>
              <a:gd name="connsiteX1611" fmla="*/ 285515 w 10369632"/>
              <a:gd name="connsiteY1611" fmla="*/ 647724 h 1307426"/>
              <a:gd name="connsiteX1612" fmla="*/ 230365 w 10369632"/>
              <a:gd name="connsiteY1612" fmla="*/ 591622 h 1307426"/>
              <a:gd name="connsiteX1613" fmla="*/ 202076 w 10369632"/>
              <a:gd name="connsiteY1613" fmla="*/ 549522 h 1307426"/>
              <a:gd name="connsiteX1614" fmla="*/ 188836 w 10369632"/>
              <a:gd name="connsiteY1614" fmla="*/ 516946 h 1307426"/>
              <a:gd name="connsiteX1615" fmla="*/ 178073 w 10369632"/>
              <a:gd name="connsiteY1615" fmla="*/ 480370 h 1307426"/>
              <a:gd name="connsiteX1616" fmla="*/ 177216 w 10369632"/>
              <a:gd name="connsiteY1616" fmla="*/ 477417 h 1307426"/>
              <a:gd name="connsiteX1617" fmla="*/ 169977 w 10369632"/>
              <a:gd name="connsiteY1617" fmla="*/ 436936 h 1307426"/>
              <a:gd name="connsiteX1618" fmla="*/ 170453 w 10369632"/>
              <a:gd name="connsiteY1618" fmla="*/ 370356 h 1307426"/>
              <a:gd name="connsiteX1619" fmla="*/ 174073 w 10369632"/>
              <a:gd name="connsiteY1619" fmla="*/ 350735 h 1307426"/>
              <a:gd name="connsiteX1620" fmla="*/ 179883 w 10369632"/>
              <a:gd name="connsiteY1620" fmla="*/ 322065 h 1307426"/>
              <a:gd name="connsiteX1621" fmla="*/ 185217 w 10369632"/>
              <a:gd name="connsiteY1621" fmla="*/ 303015 h 1307426"/>
              <a:gd name="connsiteX1622" fmla="*/ 187312 w 10369632"/>
              <a:gd name="connsiteY1622" fmla="*/ 298919 h 1307426"/>
              <a:gd name="connsiteX1623" fmla="*/ 198552 w 10369632"/>
              <a:gd name="connsiteY1623" fmla="*/ 264057 h 1307426"/>
              <a:gd name="connsiteX1624" fmla="*/ 216078 w 10369632"/>
              <a:gd name="connsiteY1624" fmla="*/ 226719 h 1307426"/>
              <a:gd name="connsiteX1625" fmla="*/ 225793 w 10369632"/>
              <a:gd name="connsiteY1625" fmla="*/ 209289 h 1307426"/>
              <a:gd name="connsiteX1626" fmla="*/ 310661 w 10369632"/>
              <a:gd name="connsiteY1626" fmla="*/ 112229 h 1307426"/>
              <a:gd name="connsiteX1627" fmla="*/ 361620 w 10369632"/>
              <a:gd name="connsiteY1627" fmla="*/ 77748 h 1307426"/>
              <a:gd name="connsiteX1628" fmla="*/ 389147 w 10369632"/>
              <a:gd name="connsiteY1628" fmla="*/ 61270 h 1307426"/>
              <a:gd name="connsiteX1629" fmla="*/ 420103 w 10369632"/>
              <a:gd name="connsiteY1629" fmla="*/ 48316 h 1307426"/>
              <a:gd name="connsiteX1630" fmla="*/ 428295 w 10369632"/>
              <a:gd name="connsiteY1630" fmla="*/ 44316 h 1307426"/>
              <a:gd name="connsiteX1631" fmla="*/ 438106 w 10369632"/>
              <a:gd name="connsiteY1631" fmla="*/ 40125 h 1307426"/>
              <a:gd name="connsiteX1632" fmla="*/ 459632 w 10369632"/>
              <a:gd name="connsiteY1632" fmla="*/ 32314 h 1307426"/>
              <a:gd name="connsiteX1633" fmla="*/ 472967 w 10369632"/>
              <a:gd name="connsiteY1633" fmla="*/ 29266 h 1307426"/>
              <a:gd name="connsiteX1634" fmla="*/ 490588 w 10369632"/>
              <a:gd name="connsiteY1634" fmla="*/ 24027 h 1307426"/>
              <a:gd name="connsiteX1635" fmla="*/ 508305 w 10369632"/>
              <a:gd name="connsiteY1635" fmla="*/ 19360 h 1307426"/>
              <a:gd name="connsiteX1636" fmla="*/ 536785 w 10369632"/>
              <a:gd name="connsiteY1636" fmla="*/ 13264 h 1307426"/>
              <a:gd name="connsiteX1637" fmla="*/ 554787 w 10369632"/>
              <a:gd name="connsiteY1637" fmla="*/ 9835 h 1307426"/>
              <a:gd name="connsiteX1638" fmla="*/ 588791 w 10369632"/>
              <a:gd name="connsiteY1638" fmla="*/ 8216 h 1307426"/>
              <a:gd name="connsiteX1639" fmla="*/ 615937 w 10369632"/>
              <a:gd name="connsiteY1639" fmla="*/ 2787 h 1307426"/>
              <a:gd name="connsiteX1640" fmla="*/ 629558 w 10369632"/>
              <a:gd name="connsiteY1640" fmla="*/ 501 h 1307426"/>
              <a:gd name="connsiteX1641" fmla="*/ 697662 w 10369632"/>
              <a:gd name="connsiteY1641" fmla="*/ 24 h 1307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</a:cxnLst>
            <a:rect l="l" t="t" r="r" b="b"/>
            <a:pathLst>
              <a:path w="10369632" h="1307426">
                <a:moveTo>
                  <a:pt x="9815372" y="521804"/>
                </a:moveTo>
                <a:cubicBezTo>
                  <a:pt x="9808133" y="522280"/>
                  <a:pt x="9800800" y="523709"/>
                  <a:pt x="9793751" y="522947"/>
                </a:cubicBezTo>
                <a:cubicBezTo>
                  <a:pt x="9772795" y="520471"/>
                  <a:pt x="9755270" y="533520"/>
                  <a:pt x="9735362" y="535330"/>
                </a:cubicBezTo>
                <a:cubicBezTo>
                  <a:pt x="9734886" y="535330"/>
                  <a:pt x="9734410" y="535711"/>
                  <a:pt x="9733934" y="535996"/>
                </a:cubicBezTo>
                <a:cubicBezTo>
                  <a:pt x="9723361" y="543426"/>
                  <a:pt x="9710026" y="545140"/>
                  <a:pt x="9699548" y="552951"/>
                </a:cubicBezTo>
                <a:cubicBezTo>
                  <a:pt x="9692214" y="558380"/>
                  <a:pt x="9683546" y="562285"/>
                  <a:pt x="9676212" y="567810"/>
                </a:cubicBezTo>
                <a:cubicBezTo>
                  <a:pt x="9655543" y="583431"/>
                  <a:pt x="9637446" y="601528"/>
                  <a:pt x="9621824" y="622293"/>
                </a:cubicBezTo>
                <a:cubicBezTo>
                  <a:pt x="9614585" y="631913"/>
                  <a:pt x="9600488" y="656488"/>
                  <a:pt x="9595440" y="667251"/>
                </a:cubicBezTo>
                <a:cubicBezTo>
                  <a:pt x="9590963" y="677062"/>
                  <a:pt x="9585153" y="686206"/>
                  <a:pt x="9584105" y="697255"/>
                </a:cubicBezTo>
                <a:cubicBezTo>
                  <a:pt x="9583915" y="699541"/>
                  <a:pt x="9581534" y="701636"/>
                  <a:pt x="9580390" y="703922"/>
                </a:cubicBezTo>
                <a:cubicBezTo>
                  <a:pt x="9579247" y="706208"/>
                  <a:pt x="9577438" y="708589"/>
                  <a:pt x="9577343" y="710971"/>
                </a:cubicBezTo>
                <a:cubicBezTo>
                  <a:pt x="9576676" y="724496"/>
                  <a:pt x="9572580" y="737164"/>
                  <a:pt x="9568103" y="749833"/>
                </a:cubicBezTo>
                <a:cubicBezTo>
                  <a:pt x="9566293" y="755071"/>
                  <a:pt x="9566484" y="761072"/>
                  <a:pt x="9566389" y="766692"/>
                </a:cubicBezTo>
                <a:cubicBezTo>
                  <a:pt x="9566770" y="778503"/>
                  <a:pt x="9566865" y="790409"/>
                  <a:pt x="9566865" y="802220"/>
                </a:cubicBezTo>
                <a:cubicBezTo>
                  <a:pt x="9566770" y="802220"/>
                  <a:pt x="9566674" y="802220"/>
                  <a:pt x="9566484" y="802220"/>
                </a:cubicBezTo>
                <a:cubicBezTo>
                  <a:pt x="9566484" y="807364"/>
                  <a:pt x="9566389" y="812507"/>
                  <a:pt x="9566484" y="817746"/>
                </a:cubicBezTo>
                <a:cubicBezTo>
                  <a:pt x="9566960" y="836701"/>
                  <a:pt x="9564770" y="856132"/>
                  <a:pt x="9575152" y="873562"/>
                </a:cubicBezTo>
                <a:cubicBezTo>
                  <a:pt x="9573628" y="888802"/>
                  <a:pt x="9584201" y="900518"/>
                  <a:pt x="9586963" y="914425"/>
                </a:cubicBezTo>
                <a:cubicBezTo>
                  <a:pt x="9587249" y="915949"/>
                  <a:pt x="9587725" y="917663"/>
                  <a:pt x="9588678" y="918711"/>
                </a:cubicBezTo>
                <a:cubicBezTo>
                  <a:pt x="9596011" y="926902"/>
                  <a:pt x="9596774" y="938809"/>
                  <a:pt x="9605060" y="946333"/>
                </a:cubicBezTo>
                <a:cubicBezTo>
                  <a:pt x="9612776" y="963002"/>
                  <a:pt x="9625634" y="975861"/>
                  <a:pt x="9638493" y="988339"/>
                </a:cubicBezTo>
                <a:cubicBezTo>
                  <a:pt x="9653257" y="1002721"/>
                  <a:pt x="9669640" y="1014818"/>
                  <a:pt x="9688785" y="1023200"/>
                </a:cubicBezTo>
                <a:cubicBezTo>
                  <a:pt x="9696310" y="1026534"/>
                  <a:pt x="9703072" y="1031011"/>
                  <a:pt x="9711454" y="1032249"/>
                </a:cubicBezTo>
                <a:cubicBezTo>
                  <a:pt x="9713836" y="1032630"/>
                  <a:pt x="9715931" y="1034630"/>
                  <a:pt x="9718217" y="1035773"/>
                </a:cubicBezTo>
                <a:cubicBezTo>
                  <a:pt x="9720979" y="1037107"/>
                  <a:pt x="9723742" y="1039202"/>
                  <a:pt x="9726599" y="1039488"/>
                </a:cubicBezTo>
                <a:cubicBezTo>
                  <a:pt x="9741078" y="1040536"/>
                  <a:pt x="9754888" y="1044727"/>
                  <a:pt x="9768985" y="1046917"/>
                </a:cubicBezTo>
                <a:cubicBezTo>
                  <a:pt x="9782606" y="1049013"/>
                  <a:pt x="9796703" y="1047965"/>
                  <a:pt x="9810514" y="1044536"/>
                </a:cubicBezTo>
                <a:cubicBezTo>
                  <a:pt x="9818991" y="1042441"/>
                  <a:pt x="9827946" y="1040536"/>
                  <a:pt x="9836423" y="1041107"/>
                </a:cubicBezTo>
                <a:cubicBezTo>
                  <a:pt x="9856330" y="1042536"/>
                  <a:pt x="9872617" y="1029963"/>
                  <a:pt x="9891667" y="1028439"/>
                </a:cubicBezTo>
                <a:cubicBezTo>
                  <a:pt x="9893478" y="1028248"/>
                  <a:pt x="9895096" y="1026248"/>
                  <a:pt x="9896811" y="1025200"/>
                </a:cubicBezTo>
                <a:cubicBezTo>
                  <a:pt x="9898620" y="1024153"/>
                  <a:pt x="9900335" y="1022819"/>
                  <a:pt x="9902240" y="1022438"/>
                </a:cubicBezTo>
                <a:cubicBezTo>
                  <a:pt x="9920242" y="1018533"/>
                  <a:pt x="9935197" y="1007770"/>
                  <a:pt x="9950056" y="998245"/>
                </a:cubicBezTo>
                <a:cubicBezTo>
                  <a:pt x="9966724" y="987386"/>
                  <a:pt x="9982155" y="974146"/>
                  <a:pt x="9995395" y="958906"/>
                </a:cubicBezTo>
                <a:cubicBezTo>
                  <a:pt x="10007492" y="945000"/>
                  <a:pt x="10020064" y="931379"/>
                  <a:pt x="10028827" y="914806"/>
                </a:cubicBezTo>
                <a:cubicBezTo>
                  <a:pt x="10034542" y="903947"/>
                  <a:pt x="10041306" y="893755"/>
                  <a:pt x="10045687" y="882040"/>
                </a:cubicBezTo>
                <a:cubicBezTo>
                  <a:pt x="10049306" y="872515"/>
                  <a:pt x="10054640" y="863656"/>
                  <a:pt x="10055593" y="853084"/>
                </a:cubicBezTo>
                <a:cubicBezTo>
                  <a:pt x="10055783" y="851179"/>
                  <a:pt x="10056926" y="849178"/>
                  <a:pt x="10058070" y="847464"/>
                </a:cubicBezTo>
                <a:cubicBezTo>
                  <a:pt x="10062737" y="840225"/>
                  <a:pt x="10063499" y="832129"/>
                  <a:pt x="10064260" y="823747"/>
                </a:cubicBezTo>
                <a:cubicBezTo>
                  <a:pt x="10064928" y="816127"/>
                  <a:pt x="10065785" y="808316"/>
                  <a:pt x="10067880" y="800982"/>
                </a:cubicBezTo>
                <a:cubicBezTo>
                  <a:pt x="10070261" y="792981"/>
                  <a:pt x="10071881" y="784980"/>
                  <a:pt x="10072071" y="776693"/>
                </a:cubicBezTo>
                <a:cubicBezTo>
                  <a:pt x="10072262" y="764311"/>
                  <a:pt x="10072547" y="751928"/>
                  <a:pt x="10072071" y="739546"/>
                </a:cubicBezTo>
                <a:cubicBezTo>
                  <a:pt x="10071785" y="732973"/>
                  <a:pt x="10069976" y="726401"/>
                  <a:pt x="10068832" y="719829"/>
                </a:cubicBezTo>
                <a:cubicBezTo>
                  <a:pt x="10067309" y="711256"/>
                  <a:pt x="10065214" y="702684"/>
                  <a:pt x="10064260" y="694016"/>
                </a:cubicBezTo>
                <a:cubicBezTo>
                  <a:pt x="10063308" y="685729"/>
                  <a:pt x="10063117" y="677538"/>
                  <a:pt x="10057784" y="670585"/>
                </a:cubicBezTo>
                <a:cubicBezTo>
                  <a:pt x="10056260" y="668680"/>
                  <a:pt x="10055212" y="665822"/>
                  <a:pt x="10055117" y="663441"/>
                </a:cubicBezTo>
                <a:cubicBezTo>
                  <a:pt x="10054640" y="649820"/>
                  <a:pt x="10043972" y="640486"/>
                  <a:pt x="10040924" y="628008"/>
                </a:cubicBezTo>
                <a:cubicBezTo>
                  <a:pt x="10025399" y="606196"/>
                  <a:pt x="10010825" y="583526"/>
                  <a:pt x="9988156" y="568000"/>
                </a:cubicBezTo>
                <a:cubicBezTo>
                  <a:pt x="9983870" y="565143"/>
                  <a:pt x="9979583" y="562285"/>
                  <a:pt x="9975488" y="559237"/>
                </a:cubicBezTo>
                <a:cubicBezTo>
                  <a:pt x="9966058" y="552094"/>
                  <a:pt x="9955676" y="546760"/>
                  <a:pt x="9944817" y="541997"/>
                </a:cubicBezTo>
                <a:cubicBezTo>
                  <a:pt x="9933959" y="537235"/>
                  <a:pt x="9923291" y="532472"/>
                  <a:pt x="9911480" y="530948"/>
                </a:cubicBezTo>
                <a:cubicBezTo>
                  <a:pt x="9910051" y="530758"/>
                  <a:pt x="9908527" y="529900"/>
                  <a:pt x="9907193" y="529138"/>
                </a:cubicBezTo>
                <a:cubicBezTo>
                  <a:pt x="9899383" y="524471"/>
                  <a:pt x="9890715" y="523519"/>
                  <a:pt x="9881857" y="523233"/>
                </a:cubicBezTo>
                <a:cubicBezTo>
                  <a:pt x="9873570" y="522947"/>
                  <a:pt x="9865189" y="523519"/>
                  <a:pt x="9857091" y="522280"/>
                </a:cubicBezTo>
                <a:cubicBezTo>
                  <a:pt x="9843185" y="520090"/>
                  <a:pt x="9829279" y="520947"/>
                  <a:pt x="9815372" y="521804"/>
                </a:cubicBezTo>
                <a:close/>
                <a:moveTo>
                  <a:pt x="3114820" y="520280"/>
                </a:moveTo>
                <a:cubicBezTo>
                  <a:pt x="3114820" y="520471"/>
                  <a:pt x="3114820" y="520661"/>
                  <a:pt x="3114725" y="520852"/>
                </a:cubicBezTo>
                <a:cubicBezTo>
                  <a:pt x="3104438" y="521518"/>
                  <a:pt x="3093961" y="523804"/>
                  <a:pt x="3083864" y="522661"/>
                </a:cubicBezTo>
                <a:cubicBezTo>
                  <a:pt x="3061766" y="520090"/>
                  <a:pt x="3043097" y="532377"/>
                  <a:pt x="3022333" y="534853"/>
                </a:cubicBezTo>
                <a:cubicBezTo>
                  <a:pt x="3019951" y="535139"/>
                  <a:pt x="3017856" y="537330"/>
                  <a:pt x="3015665" y="538568"/>
                </a:cubicBezTo>
                <a:cubicBezTo>
                  <a:pt x="3013379" y="539806"/>
                  <a:pt x="3011189" y="541711"/>
                  <a:pt x="3008807" y="541997"/>
                </a:cubicBezTo>
                <a:cubicBezTo>
                  <a:pt x="2996996" y="543235"/>
                  <a:pt x="2988424" y="551522"/>
                  <a:pt x="2978519" y="556380"/>
                </a:cubicBezTo>
                <a:cubicBezTo>
                  <a:pt x="2967184" y="561904"/>
                  <a:pt x="2957754" y="571334"/>
                  <a:pt x="2947562" y="579145"/>
                </a:cubicBezTo>
                <a:cubicBezTo>
                  <a:pt x="2930608" y="592194"/>
                  <a:pt x="2917559" y="608863"/>
                  <a:pt x="2905271" y="626008"/>
                </a:cubicBezTo>
                <a:cubicBezTo>
                  <a:pt x="2896318" y="638485"/>
                  <a:pt x="2887841" y="651154"/>
                  <a:pt x="2882793" y="665917"/>
                </a:cubicBezTo>
                <a:cubicBezTo>
                  <a:pt x="2882126" y="667822"/>
                  <a:pt x="2880983" y="669632"/>
                  <a:pt x="2879649" y="671156"/>
                </a:cubicBezTo>
                <a:cubicBezTo>
                  <a:pt x="2876506" y="674871"/>
                  <a:pt x="2875173" y="679062"/>
                  <a:pt x="2874315" y="683824"/>
                </a:cubicBezTo>
                <a:cubicBezTo>
                  <a:pt x="2873649" y="687253"/>
                  <a:pt x="2872791" y="691159"/>
                  <a:pt x="2870696" y="693826"/>
                </a:cubicBezTo>
                <a:cubicBezTo>
                  <a:pt x="2864409" y="701731"/>
                  <a:pt x="2865648" y="711447"/>
                  <a:pt x="2863361" y="720305"/>
                </a:cubicBezTo>
                <a:cubicBezTo>
                  <a:pt x="2860980" y="729640"/>
                  <a:pt x="2854979" y="737831"/>
                  <a:pt x="2854789" y="748118"/>
                </a:cubicBezTo>
                <a:cubicBezTo>
                  <a:pt x="2854503" y="766120"/>
                  <a:pt x="2853170" y="784218"/>
                  <a:pt x="2852312" y="802220"/>
                </a:cubicBezTo>
                <a:cubicBezTo>
                  <a:pt x="2852217" y="805268"/>
                  <a:pt x="2852312" y="808411"/>
                  <a:pt x="2852503" y="811459"/>
                </a:cubicBezTo>
                <a:cubicBezTo>
                  <a:pt x="2853170" y="824890"/>
                  <a:pt x="2854027" y="838225"/>
                  <a:pt x="2854599" y="851655"/>
                </a:cubicBezTo>
                <a:cubicBezTo>
                  <a:pt x="2854979" y="860513"/>
                  <a:pt x="2855646" y="869086"/>
                  <a:pt x="2860599" y="876896"/>
                </a:cubicBezTo>
                <a:cubicBezTo>
                  <a:pt x="2862218" y="879468"/>
                  <a:pt x="2863838" y="882611"/>
                  <a:pt x="2863743" y="885469"/>
                </a:cubicBezTo>
                <a:cubicBezTo>
                  <a:pt x="2863457" y="900232"/>
                  <a:pt x="2874506" y="910900"/>
                  <a:pt x="2877077" y="924616"/>
                </a:cubicBezTo>
                <a:cubicBezTo>
                  <a:pt x="2888126" y="943095"/>
                  <a:pt x="2898223" y="962335"/>
                  <a:pt x="2914130" y="977385"/>
                </a:cubicBezTo>
                <a:cubicBezTo>
                  <a:pt x="2925655" y="988339"/>
                  <a:pt x="2936609" y="1000531"/>
                  <a:pt x="2949753" y="1009103"/>
                </a:cubicBezTo>
                <a:cubicBezTo>
                  <a:pt x="2964612" y="1018819"/>
                  <a:pt x="2979376" y="1029677"/>
                  <a:pt x="2997853" y="1032535"/>
                </a:cubicBezTo>
                <a:cubicBezTo>
                  <a:pt x="2999758" y="1032820"/>
                  <a:pt x="3001664" y="1034154"/>
                  <a:pt x="3003283" y="1035392"/>
                </a:cubicBezTo>
                <a:cubicBezTo>
                  <a:pt x="3008998" y="1039678"/>
                  <a:pt x="3015570" y="1040250"/>
                  <a:pt x="3022333" y="1040821"/>
                </a:cubicBezTo>
                <a:cubicBezTo>
                  <a:pt x="3027952" y="1041202"/>
                  <a:pt x="3033953" y="1041202"/>
                  <a:pt x="3039097" y="1043298"/>
                </a:cubicBezTo>
                <a:cubicBezTo>
                  <a:pt x="3055766" y="1049965"/>
                  <a:pt x="3072815" y="1048632"/>
                  <a:pt x="3089389" y="1045584"/>
                </a:cubicBezTo>
                <a:cubicBezTo>
                  <a:pt x="3103676" y="1043012"/>
                  <a:pt x="3117773" y="1040726"/>
                  <a:pt x="3132251" y="1040440"/>
                </a:cubicBezTo>
                <a:cubicBezTo>
                  <a:pt x="3139490" y="1040250"/>
                  <a:pt x="3146443" y="1039012"/>
                  <a:pt x="3152920" y="1035011"/>
                </a:cubicBezTo>
                <a:cubicBezTo>
                  <a:pt x="3156254" y="1032916"/>
                  <a:pt x="3160541" y="1031773"/>
                  <a:pt x="3164541" y="1031296"/>
                </a:cubicBezTo>
                <a:cubicBezTo>
                  <a:pt x="3171780" y="1030344"/>
                  <a:pt x="3178733" y="1029201"/>
                  <a:pt x="3184543" y="1024057"/>
                </a:cubicBezTo>
                <a:cubicBezTo>
                  <a:pt x="3185972" y="1022724"/>
                  <a:pt x="3188163" y="1021771"/>
                  <a:pt x="3190163" y="1021581"/>
                </a:cubicBezTo>
                <a:cubicBezTo>
                  <a:pt x="3201498" y="1020533"/>
                  <a:pt x="3209023" y="1011199"/>
                  <a:pt x="3219595" y="1008627"/>
                </a:cubicBezTo>
                <a:cubicBezTo>
                  <a:pt x="3237217" y="997102"/>
                  <a:pt x="3254743" y="985481"/>
                  <a:pt x="3269792" y="970527"/>
                </a:cubicBezTo>
                <a:cubicBezTo>
                  <a:pt x="3291605" y="948619"/>
                  <a:pt x="3312178" y="925855"/>
                  <a:pt x="3323990" y="896613"/>
                </a:cubicBezTo>
                <a:cubicBezTo>
                  <a:pt x="3324942" y="894327"/>
                  <a:pt x="3327038" y="892422"/>
                  <a:pt x="3328181" y="890231"/>
                </a:cubicBezTo>
                <a:cubicBezTo>
                  <a:pt x="3329609" y="887564"/>
                  <a:pt x="3331133" y="884802"/>
                  <a:pt x="3331991" y="881944"/>
                </a:cubicBezTo>
                <a:cubicBezTo>
                  <a:pt x="3335705" y="868705"/>
                  <a:pt x="3343897" y="856894"/>
                  <a:pt x="3344373" y="842606"/>
                </a:cubicBezTo>
                <a:cubicBezTo>
                  <a:pt x="3344373" y="841177"/>
                  <a:pt x="3345516" y="839749"/>
                  <a:pt x="3346278" y="838415"/>
                </a:cubicBezTo>
                <a:cubicBezTo>
                  <a:pt x="3350945" y="831176"/>
                  <a:pt x="3351707" y="822985"/>
                  <a:pt x="3352279" y="814698"/>
                </a:cubicBezTo>
                <a:cubicBezTo>
                  <a:pt x="3353136" y="802315"/>
                  <a:pt x="3353517" y="789933"/>
                  <a:pt x="3355232" y="777741"/>
                </a:cubicBezTo>
                <a:cubicBezTo>
                  <a:pt x="3357327" y="762787"/>
                  <a:pt x="3356946" y="747928"/>
                  <a:pt x="3354850" y="733069"/>
                </a:cubicBezTo>
                <a:cubicBezTo>
                  <a:pt x="3353898" y="726401"/>
                  <a:pt x="3352184" y="719638"/>
                  <a:pt x="3352850" y="713066"/>
                </a:cubicBezTo>
                <a:cubicBezTo>
                  <a:pt x="3354850" y="692587"/>
                  <a:pt x="3343135" y="675442"/>
                  <a:pt x="3340277" y="656202"/>
                </a:cubicBezTo>
                <a:cubicBezTo>
                  <a:pt x="3340087" y="654773"/>
                  <a:pt x="3338658" y="653630"/>
                  <a:pt x="3337991" y="652201"/>
                </a:cubicBezTo>
                <a:cubicBezTo>
                  <a:pt x="3336182" y="648487"/>
                  <a:pt x="3334562" y="644772"/>
                  <a:pt x="3332657" y="641152"/>
                </a:cubicBezTo>
                <a:cubicBezTo>
                  <a:pt x="3328085" y="632580"/>
                  <a:pt x="3324275" y="623436"/>
                  <a:pt x="3318656" y="615625"/>
                </a:cubicBezTo>
                <a:cubicBezTo>
                  <a:pt x="3305701" y="597623"/>
                  <a:pt x="3291033" y="580954"/>
                  <a:pt x="3273317" y="567429"/>
                </a:cubicBezTo>
                <a:cubicBezTo>
                  <a:pt x="3259886" y="557142"/>
                  <a:pt x="3245599" y="548474"/>
                  <a:pt x="3229883" y="541711"/>
                </a:cubicBezTo>
                <a:cubicBezTo>
                  <a:pt x="3219405" y="537235"/>
                  <a:pt x="3209499" y="532377"/>
                  <a:pt x="3198069" y="531234"/>
                </a:cubicBezTo>
                <a:cubicBezTo>
                  <a:pt x="3196640" y="531043"/>
                  <a:pt x="3195116" y="530281"/>
                  <a:pt x="3193783" y="529424"/>
                </a:cubicBezTo>
                <a:cubicBezTo>
                  <a:pt x="3185686" y="523900"/>
                  <a:pt x="3176352" y="523423"/>
                  <a:pt x="3167113" y="523042"/>
                </a:cubicBezTo>
                <a:cubicBezTo>
                  <a:pt x="3157874" y="522661"/>
                  <a:pt x="3148539" y="522280"/>
                  <a:pt x="3139300" y="521804"/>
                </a:cubicBezTo>
                <a:cubicBezTo>
                  <a:pt x="3131203" y="521423"/>
                  <a:pt x="3123012" y="520852"/>
                  <a:pt x="3114820" y="520280"/>
                </a:cubicBezTo>
                <a:close/>
                <a:moveTo>
                  <a:pt x="5095354" y="483514"/>
                </a:moveTo>
                <a:cubicBezTo>
                  <a:pt x="5078780" y="483418"/>
                  <a:pt x="5062302" y="483609"/>
                  <a:pt x="5046967" y="491419"/>
                </a:cubicBezTo>
                <a:cubicBezTo>
                  <a:pt x="5031822" y="491800"/>
                  <a:pt x="5018297" y="498182"/>
                  <a:pt x="5004390" y="503230"/>
                </a:cubicBezTo>
                <a:cubicBezTo>
                  <a:pt x="5001533" y="504278"/>
                  <a:pt x="4998294" y="504754"/>
                  <a:pt x="4995723" y="506278"/>
                </a:cubicBezTo>
                <a:cubicBezTo>
                  <a:pt x="4979721" y="515327"/>
                  <a:pt x="4962957" y="523138"/>
                  <a:pt x="4948098" y="534282"/>
                </a:cubicBezTo>
                <a:cubicBezTo>
                  <a:pt x="4933715" y="545140"/>
                  <a:pt x="4919237" y="555999"/>
                  <a:pt x="4907902" y="570096"/>
                </a:cubicBezTo>
                <a:cubicBezTo>
                  <a:pt x="4898568" y="581716"/>
                  <a:pt x="4889900" y="593813"/>
                  <a:pt x="4881518" y="606100"/>
                </a:cubicBezTo>
                <a:cubicBezTo>
                  <a:pt x="4876660" y="613244"/>
                  <a:pt x="4871612" y="620769"/>
                  <a:pt x="4869040" y="628770"/>
                </a:cubicBezTo>
                <a:cubicBezTo>
                  <a:pt x="4866468" y="636676"/>
                  <a:pt x="4863992" y="644296"/>
                  <a:pt x="4859134" y="651058"/>
                </a:cubicBezTo>
                <a:cubicBezTo>
                  <a:pt x="4858562" y="651820"/>
                  <a:pt x="4858372" y="652963"/>
                  <a:pt x="4858182" y="654011"/>
                </a:cubicBezTo>
                <a:cubicBezTo>
                  <a:pt x="4856086" y="662869"/>
                  <a:pt x="4860658" y="669251"/>
                  <a:pt x="4869802" y="670013"/>
                </a:cubicBezTo>
                <a:cubicBezTo>
                  <a:pt x="4873898" y="670299"/>
                  <a:pt x="4878089" y="670204"/>
                  <a:pt x="4882184" y="670204"/>
                </a:cubicBezTo>
                <a:cubicBezTo>
                  <a:pt x="4946097" y="670394"/>
                  <a:pt x="5010010" y="670394"/>
                  <a:pt x="5073923" y="670394"/>
                </a:cubicBezTo>
                <a:cubicBezTo>
                  <a:pt x="5138407" y="670394"/>
                  <a:pt x="5202796" y="670394"/>
                  <a:pt x="5267281" y="670394"/>
                </a:cubicBezTo>
                <a:cubicBezTo>
                  <a:pt x="5272900" y="670394"/>
                  <a:pt x="5278615" y="670299"/>
                  <a:pt x="5284235" y="669537"/>
                </a:cubicBezTo>
                <a:cubicBezTo>
                  <a:pt x="5290522" y="668680"/>
                  <a:pt x="5294807" y="664584"/>
                  <a:pt x="5295093" y="658202"/>
                </a:cubicBezTo>
                <a:cubicBezTo>
                  <a:pt x="5295665" y="643343"/>
                  <a:pt x="5297379" y="628294"/>
                  <a:pt x="5290045" y="614197"/>
                </a:cubicBezTo>
                <a:cubicBezTo>
                  <a:pt x="5288426" y="611053"/>
                  <a:pt x="5286997" y="607529"/>
                  <a:pt x="5286711" y="604005"/>
                </a:cubicBezTo>
                <a:cubicBezTo>
                  <a:pt x="5285378" y="589051"/>
                  <a:pt x="5276424" y="577430"/>
                  <a:pt x="5269662" y="564952"/>
                </a:cubicBezTo>
                <a:cubicBezTo>
                  <a:pt x="5263280" y="553046"/>
                  <a:pt x="5253374" y="543712"/>
                  <a:pt x="5243754" y="534568"/>
                </a:cubicBezTo>
                <a:cubicBezTo>
                  <a:pt x="5228895" y="520375"/>
                  <a:pt x="5211750" y="509803"/>
                  <a:pt x="5192509" y="501706"/>
                </a:cubicBezTo>
                <a:cubicBezTo>
                  <a:pt x="5181460" y="497039"/>
                  <a:pt x="5170887" y="492658"/>
                  <a:pt x="5158981" y="491896"/>
                </a:cubicBezTo>
                <a:cubicBezTo>
                  <a:pt x="5157457" y="491800"/>
                  <a:pt x="5155933" y="491134"/>
                  <a:pt x="5154600" y="490372"/>
                </a:cubicBezTo>
                <a:cubicBezTo>
                  <a:pt x="5144408" y="484276"/>
                  <a:pt x="5133073" y="483799"/>
                  <a:pt x="5121643" y="483704"/>
                </a:cubicBezTo>
                <a:cubicBezTo>
                  <a:pt x="5112880" y="483609"/>
                  <a:pt x="5104117" y="483609"/>
                  <a:pt x="5095354" y="483514"/>
                </a:cubicBezTo>
                <a:close/>
                <a:moveTo>
                  <a:pt x="7518514" y="372262"/>
                </a:moveTo>
                <a:cubicBezTo>
                  <a:pt x="7521562" y="372357"/>
                  <a:pt x="7524705" y="372262"/>
                  <a:pt x="7527848" y="372262"/>
                </a:cubicBezTo>
                <a:cubicBezTo>
                  <a:pt x="7599095" y="372262"/>
                  <a:pt x="7670247" y="372262"/>
                  <a:pt x="7741494" y="372262"/>
                </a:cubicBezTo>
                <a:cubicBezTo>
                  <a:pt x="7745590" y="372262"/>
                  <a:pt x="7749780" y="372262"/>
                  <a:pt x="7753877" y="372643"/>
                </a:cubicBezTo>
                <a:cubicBezTo>
                  <a:pt x="7758544" y="373214"/>
                  <a:pt x="7761115" y="375881"/>
                  <a:pt x="7761877" y="380739"/>
                </a:cubicBezTo>
                <a:cubicBezTo>
                  <a:pt x="7762830" y="387502"/>
                  <a:pt x="7762449" y="394360"/>
                  <a:pt x="7759591" y="400456"/>
                </a:cubicBezTo>
                <a:cubicBezTo>
                  <a:pt x="7753781" y="413029"/>
                  <a:pt x="7752543" y="426269"/>
                  <a:pt x="7752448" y="439699"/>
                </a:cubicBezTo>
                <a:cubicBezTo>
                  <a:pt x="7752448" y="446938"/>
                  <a:pt x="7751972" y="454177"/>
                  <a:pt x="7748733" y="460844"/>
                </a:cubicBezTo>
                <a:cubicBezTo>
                  <a:pt x="7744161" y="470369"/>
                  <a:pt x="7742827" y="480561"/>
                  <a:pt x="7742827" y="490943"/>
                </a:cubicBezTo>
                <a:cubicBezTo>
                  <a:pt x="7742732" y="502373"/>
                  <a:pt x="7741304" y="513327"/>
                  <a:pt x="7736922" y="524185"/>
                </a:cubicBezTo>
                <a:cubicBezTo>
                  <a:pt x="7733969" y="531615"/>
                  <a:pt x="7733493" y="540283"/>
                  <a:pt x="7733112" y="548474"/>
                </a:cubicBezTo>
                <a:cubicBezTo>
                  <a:pt x="7732540" y="559904"/>
                  <a:pt x="7731207" y="570763"/>
                  <a:pt x="7727016" y="581717"/>
                </a:cubicBezTo>
                <a:cubicBezTo>
                  <a:pt x="7723968" y="589718"/>
                  <a:pt x="7723492" y="598861"/>
                  <a:pt x="7722920" y="607529"/>
                </a:cubicBezTo>
                <a:cubicBezTo>
                  <a:pt x="7722254" y="618388"/>
                  <a:pt x="7720825" y="628770"/>
                  <a:pt x="7717110" y="639247"/>
                </a:cubicBezTo>
                <a:cubicBezTo>
                  <a:pt x="7713967" y="648296"/>
                  <a:pt x="7713395" y="658393"/>
                  <a:pt x="7712824" y="668108"/>
                </a:cubicBezTo>
                <a:cubicBezTo>
                  <a:pt x="7712252" y="677443"/>
                  <a:pt x="7711300" y="686491"/>
                  <a:pt x="7707395" y="695159"/>
                </a:cubicBezTo>
                <a:cubicBezTo>
                  <a:pt x="7703584" y="703827"/>
                  <a:pt x="7702918" y="713162"/>
                  <a:pt x="7702918" y="722496"/>
                </a:cubicBezTo>
                <a:cubicBezTo>
                  <a:pt x="7702918" y="733450"/>
                  <a:pt x="7701679" y="744022"/>
                  <a:pt x="7697203" y="754214"/>
                </a:cubicBezTo>
                <a:cubicBezTo>
                  <a:pt x="7693202" y="763358"/>
                  <a:pt x="7693012" y="773360"/>
                  <a:pt x="7693012" y="783170"/>
                </a:cubicBezTo>
                <a:cubicBezTo>
                  <a:pt x="7692916" y="792600"/>
                  <a:pt x="7691964" y="801649"/>
                  <a:pt x="7687868" y="810316"/>
                </a:cubicBezTo>
                <a:cubicBezTo>
                  <a:pt x="7683582" y="819365"/>
                  <a:pt x="7683391" y="829366"/>
                  <a:pt x="7683201" y="839177"/>
                </a:cubicBezTo>
                <a:cubicBezTo>
                  <a:pt x="7683011" y="849560"/>
                  <a:pt x="7681296" y="859370"/>
                  <a:pt x="7677677" y="869372"/>
                </a:cubicBezTo>
                <a:cubicBezTo>
                  <a:pt x="7674533" y="877944"/>
                  <a:pt x="7673866" y="887469"/>
                  <a:pt x="7673295" y="896708"/>
                </a:cubicBezTo>
                <a:cubicBezTo>
                  <a:pt x="7672533" y="907567"/>
                  <a:pt x="7671104" y="917949"/>
                  <a:pt x="7667294" y="928427"/>
                </a:cubicBezTo>
                <a:cubicBezTo>
                  <a:pt x="7664246" y="936904"/>
                  <a:pt x="7663770" y="946619"/>
                  <a:pt x="7663294" y="955763"/>
                </a:cubicBezTo>
                <a:cubicBezTo>
                  <a:pt x="7662722" y="965669"/>
                  <a:pt x="7661960" y="975194"/>
                  <a:pt x="7657864" y="984434"/>
                </a:cubicBezTo>
                <a:cubicBezTo>
                  <a:pt x="7653769" y="993578"/>
                  <a:pt x="7653387" y="1003484"/>
                  <a:pt x="7653387" y="1013294"/>
                </a:cubicBezTo>
                <a:cubicBezTo>
                  <a:pt x="7653387" y="1023200"/>
                  <a:pt x="7652149" y="1032725"/>
                  <a:pt x="7648053" y="1041965"/>
                </a:cubicBezTo>
                <a:cubicBezTo>
                  <a:pt x="7643958" y="1051109"/>
                  <a:pt x="7643672" y="1061015"/>
                  <a:pt x="7643577" y="1070825"/>
                </a:cubicBezTo>
                <a:cubicBezTo>
                  <a:pt x="7643482" y="1080731"/>
                  <a:pt x="7642434" y="1090256"/>
                  <a:pt x="7638148" y="1099400"/>
                </a:cubicBezTo>
                <a:cubicBezTo>
                  <a:pt x="7634052" y="1107973"/>
                  <a:pt x="7633957" y="1117498"/>
                  <a:pt x="7633861" y="1126737"/>
                </a:cubicBezTo>
                <a:cubicBezTo>
                  <a:pt x="7633671" y="1137691"/>
                  <a:pt x="7631861" y="1147978"/>
                  <a:pt x="7628051" y="1158455"/>
                </a:cubicBezTo>
                <a:cubicBezTo>
                  <a:pt x="7625003" y="1167028"/>
                  <a:pt x="7624432" y="1176553"/>
                  <a:pt x="7623860" y="1185792"/>
                </a:cubicBezTo>
                <a:cubicBezTo>
                  <a:pt x="7623193" y="1196651"/>
                  <a:pt x="7621574" y="1207033"/>
                  <a:pt x="7617955" y="1217510"/>
                </a:cubicBezTo>
                <a:cubicBezTo>
                  <a:pt x="7614907" y="1226083"/>
                  <a:pt x="7614526" y="1235703"/>
                  <a:pt x="7613954" y="1244847"/>
                </a:cubicBezTo>
                <a:cubicBezTo>
                  <a:pt x="7613383" y="1254658"/>
                  <a:pt x="7612811" y="1264278"/>
                  <a:pt x="7608430" y="1273517"/>
                </a:cubicBezTo>
                <a:cubicBezTo>
                  <a:pt x="7606525" y="1277613"/>
                  <a:pt x="7606048" y="1282471"/>
                  <a:pt x="7605001" y="1286948"/>
                </a:cubicBezTo>
                <a:cubicBezTo>
                  <a:pt x="7602905" y="1296187"/>
                  <a:pt x="7601191" y="1297616"/>
                  <a:pt x="7591285" y="1297996"/>
                </a:cubicBezTo>
                <a:cubicBezTo>
                  <a:pt x="7588713" y="1298092"/>
                  <a:pt x="7586141" y="1297996"/>
                  <a:pt x="7583570" y="1297996"/>
                </a:cubicBezTo>
                <a:cubicBezTo>
                  <a:pt x="7547089" y="1298187"/>
                  <a:pt x="7510989" y="1298187"/>
                  <a:pt x="7474794" y="1298187"/>
                </a:cubicBezTo>
                <a:cubicBezTo>
                  <a:pt x="7438123" y="1298187"/>
                  <a:pt x="7401546" y="1298187"/>
                  <a:pt x="7364875" y="1298187"/>
                </a:cubicBezTo>
                <a:cubicBezTo>
                  <a:pt x="7348302" y="1298187"/>
                  <a:pt x="7347254" y="1297044"/>
                  <a:pt x="7347826" y="1280661"/>
                </a:cubicBezTo>
                <a:cubicBezTo>
                  <a:pt x="7348111" y="1271327"/>
                  <a:pt x="7349064" y="1262183"/>
                  <a:pt x="7353064" y="1253515"/>
                </a:cubicBezTo>
                <a:cubicBezTo>
                  <a:pt x="7357255" y="1244466"/>
                  <a:pt x="7357636" y="1234465"/>
                  <a:pt x="7357827" y="1224654"/>
                </a:cubicBezTo>
                <a:cubicBezTo>
                  <a:pt x="7358112" y="1214272"/>
                  <a:pt x="7359827" y="1204366"/>
                  <a:pt x="7363256" y="1194460"/>
                </a:cubicBezTo>
                <a:cubicBezTo>
                  <a:pt x="7366304" y="1185316"/>
                  <a:pt x="7367161" y="1175315"/>
                  <a:pt x="7367733" y="1165599"/>
                </a:cubicBezTo>
                <a:cubicBezTo>
                  <a:pt x="7368304" y="1155693"/>
                  <a:pt x="7369162" y="1146168"/>
                  <a:pt x="7373257" y="1136929"/>
                </a:cubicBezTo>
                <a:cubicBezTo>
                  <a:pt x="7377353" y="1127785"/>
                  <a:pt x="7377639" y="1117879"/>
                  <a:pt x="7377734" y="1108068"/>
                </a:cubicBezTo>
                <a:cubicBezTo>
                  <a:pt x="7377829" y="1098162"/>
                  <a:pt x="7378877" y="1088637"/>
                  <a:pt x="7383163" y="1079493"/>
                </a:cubicBezTo>
                <a:cubicBezTo>
                  <a:pt x="7387259" y="1070920"/>
                  <a:pt x="7387354" y="1061491"/>
                  <a:pt x="7387450" y="1052156"/>
                </a:cubicBezTo>
                <a:cubicBezTo>
                  <a:pt x="7387545" y="1041203"/>
                  <a:pt x="7389450" y="1030916"/>
                  <a:pt x="7393355" y="1020533"/>
                </a:cubicBezTo>
                <a:cubicBezTo>
                  <a:pt x="7396308" y="1012532"/>
                  <a:pt x="7396689" y="1003388"/>
                  <a:pt x="7397261" y="994720"/>
                </a:cubicBezTo>
                <a:cubicBezTo>
                  <a:pt x="7397927" y="983862"/>
                  <a:pt x="7399260" y="973480"/>
                  <a:pt x="7403261" y="963002"/>
                </a:cubicBezTo>
                <a:cubicBezTo>
                  <a:pt x="7406309" y="955001"/>
                  <a:pt x="7406880" y="945857"/>
                  <a:pt x="7407357" y="937190"/>
                </a:cubicBezTo>
                <a:cubicBezTo>
                  <a:pt x="7407929" y="925760"/>
                  <a:pt x="7409357" y="914901"/>
                  <a:pt x="7413453" y="903947"/>
                </a:cubicBezTo>
                <a:cubicBezTo>
                  <a:pt x="7416405" y="895946"/>
                  <a:pt x="7416977" y="886802"/>
                  <a:pt x="7417358" y="878135"/>
                </a:cubicBezTo>
                <a:cubicBezTo>
                  <a:pt x="7417834" y="867752"/>
                  <a:pt x="7418787" y="857656"/>
                  <a:pt x="7423073" y="847940"/>
                </a:cubicBezTo>
                <a:cubicBezTo>
                  <a:pt x="7427169" y="838796"/>
                  <a:pt x="7427264" y="828795"/>
                  <a:pt x="7427359" y="818984"/>
                </a:cubicBezTo>
                <a:cubicBezTo>
                  <a:pt x="7427359" y="809555"/>
                  <a:pt x="7428502" y="800506"/>
                  <a:pt x="7432408" y="791838"/>
                </a:cubicBezTo>
                <a:cubicBezTo>
                  <a:pt x="7436599" y="782694"/>
                  <a:pt x="7437075" y="772788"/>
                  <a:pt x="7437170" y="762977"/>
                </a:cubicBezTo>
                <a:cubicBezTo>
                  <a:pt x="7437265" y="752595"/>
                  <a:pt x="7438885" y="742689"/>
                  <a:pt x="7442599" y="732783"/>
                </a:cubicBezTo>
                <a:cubicBezTo>
                  <a:pt x="7445362" y="725258"/>
                  <a:pt x="7446314" y="716686"/>
                  <a:pt x="7446790" y="708590"/>
                </a:cubicBezTo>
                <a:cubicBezTo>
                  <a:pt x="7447648" y="696207"/>
                  <a:pt x="7448791" y="684205"/>
                  <a:pt x="7453362" y="672299"/>
                </a:cubicBezTo>
                <a:cubicBezTo>
                  <a:pt x="7456601" y="663917"/>
                  <a:pt x="7456601" y="654107"/>
                  <a:pt x="7457173" y="644867"/>
                </a:cubicBezTo>
                <a:cubicBezTo>
                  <a:pt x="7457839" y="635533"/>
                  <a:pt x="7458411" y="626484"/>
                  <a:pt x="7462411" y="617721"/>
                </a:cubicBezTo>
                <a:cubicBezTo>
                  <a:pt x="7466602" y="608672"/>
                  <a:pt x="7466984" y="598671"/>
                  <a:pt x="7467078" y="588860"/>
                </a:cubicBezTo>
                <a:cubicBezTo>
                  <a:pt x="7467174" y="578383"/>
                  <a:pt x="7469079" y="568572"/>
                  <a:pt x="7472603" y="558666"/>
                </a:cubicBezTo>
                <a:cubicBezTo>
                  <a:pt x="7475460" y="550570"/>
                  <a:pt x="7476318" y="541521"/>
                  <a:pt x="7476699" y="532853"/>
                </a:cubicBezTo>
                <a:cubicBezTo>
                  <a:pt x="7477175" y="521900"/>
                  <a:pt x="7478032" y="511327"/>
                  <a:pt x="7482700" y="501230"/>
                </a:cubicBezTo>
                <a:cubicBezTo>
                  <a:pt x="7486605" y="492658"/>
                  <a:pt x="7486605" y="483133"/>
                  <a:pt x="7486700" y="473798"/>
                </a:cubicBezTo>
                <a:cubicBezTo>
                  <a:pt x="7486795" y="463892"/>
                  <a:pt x="7487843" y="454367"/>
                  <a:pt x="7492034" y="445128"/>
                </a:cubicBezTo>
                <a:cubicBezTo>
                  <a:pt x="7496606" y="435031"/>
                  <a:pt x="7496606" y="423982"/>
                  <a:pt x="7496606" y="413124"/>
                </a:cubicBezTo>
                <a:cubicBezTo>
                  <a:pt x="7496702" y="401980"/>
                  <a:pt x="7499559" y="391788"/>
                  <a:pt x="7504131" y="381787"/>
                </a:cubicBezTo>
                <a:cubicBezTo>
                  <a:pt x="7506988" y="375405"/>
                  <a:pt x="7511465" y="372071"/>
                  <a:pt x="7518514" y="372262"/>
                </a:cubicBezTo>
                <a:close/>
                <a:moveTo>
                  <a:pt x="5138312" y="267963"/>
                </a:moveTo>
                <a:cubicBezTo>
                  <a:pt x="5144408" y="268058"/>
                  <a:pt x="5150980" y="268534"/>
                  <a:pt x="5156409" y="270916"/>
                </a:cubicBezTo>
                <a:cubicBezTo>
                  <a:pt x="5167649" y="275773"/>
                  <a:pt x="5179269" y="277202"/>
                  <a:pt x="5191175" y="277393"/>
                </a:cubicBezTo>
                <a:cubicBezTo>
                  <a:pt x="5200129" y="277488"/>
                  <a:pt x="5208702" y="278440"/>
                  <a:pt x="5216226" y="283965"/>
                </a:cubicBezTo>
                <a:cubicBezTo>
                  <a:pt x="5217084" y="284536"/>
                  <a:pt x="5218036" y="285203"/>
                  <a:pt x="5218989" y="285203"/>
                </a:cubicBezTo>
                <a:cubicBezTo>
                  <a:pt x="5234800" y="285679"/>
                  <a:pt x="5248040" y="294919"/>
                  <a:pt x="5263184" y="297586"/>
                </a:cubicBezTo>
                <a:cubicBezTo>
                  <a:pt x="5265756" y="298062"/>
                  <a:pt x="5268709" y="298157"/>
                  <a:pt x="5270614" y="299586"/>
                </a:cubicBezTo>
                <a:cubicBezTo>
                  <a:pt x="5276520" y="304063"/>
                  <a:pt x="5282711" y="307301"/>
                  <a:pt x="5290140" y="308158"/>
                </a:cubicBezTo>
                <a:cubicBezTo>
                  <a:pt x="5305381" y="318445"/>
                  <a:pt x="5324621" y="321684"/>
                  <a:pt x="5338527" y="334543"/>
                </a:cubicBezTo>
                <a:cubicBezTo>
                  <a:pt x="5350910" y="339877"/>
                  <a:pt x="5361578" y="347973"/>
                  <a:pt x="5372627" y="355402"/>
                </a:cubicBezTo>
                <a:cubicBezTo>
                  <a:pt x="5377675" y="358831"/>
                  <a:pt x="5382628" y="362546"/>
                  <a:pt x="5387486" y="366356"/>
                </a:cubicBezTo>
                <a:cubicBezTo>
                  <a:pt x="5416632" y="389502"/>
                  <a:pt x="5442540" y="415981"/>
                  <a:pt x="5465972" y="444842"/>
                </a:cubicBezTo>
                <a:cubicBezTo>
                  <a:pt x="5470448" y="450367"/>
                  <a:pt x="5474068" y="456653"/>
                  <a:pt x="5478068" y="462654"/>
                </a:cubicBezTo>
                <a:cubicBezTo>
                  <a:pt x="5484069" y="471607"/>
                  <a:pt x="5490165" y="480466"/>
                  <a:pt x="5495975" y="489514"/>
                </a:cubicBezTo>
                <a:cubicBezTo>
                  <a:pt x="5502834" y="500373"/>
                  <a:pt x="5508263" y="511898"/>
                  <a:pt x="5513025" y="523804"/>
                </a:cubicBezTo>
                <a:cubicBezTo>
                  <a:pt x="5514168" y="526662"/>
                  <a:pt x="5515787" y="529234"/>
                  <a:pt x="5517121" y="531996"/>
                </a:cubicBezTo>
                <a:cubicBezTo>
                  <a:pt x="5518931" y="535615"/>
                  <a:pt x="5520741" y="539330"/>
                  <a:pt x="5522360" y="543045"/>
                </a:cubicBezTo>
                <a:cubicBezTo>
                  <a:pt x="5524074" y="546760"/>
                  <a:pt x="5525789" y="550474"/>
                  <a:pt x="5527122" y="554380"/>
                </a:cubicBezTo>
                <a:cubicBezTo>
                  <a:pt x="5528837" y="559142"/>
                  <a:pt x="5530837" y="564000"/>
                  <a:pt x="5531599" y="568953"/>
                </a:cubicBezTo>
                <a:cubicBezTo>
                  <a:pt x="5532647" y="575620"/>
                  <a:pt x="5534171" y="581907"/>
                  <a:pt x="5537409" y="588003"/>
                </a:cubicBezTo>
                <a:cubicBezTo>
                  <a:pt x="5539791" y="592384"/>
                  <a:pt x="5540648" y="597718"/>
                  <a:pt x="5541791" y="602671"/>
                </a:cubicBezTo>
                <a:cubicBezTo>
                  <a:pt x="5543982" y="611625"/>
                  <a:pt x="5545887" y="620674"/>
                  <a:pt x="5547982" y="629722"/>
                </a:cubicBezTo>
                <a:cubicBezTo>
                  <a:pt x="5549125" y="634771"/>
                  <a:pt x="5550839" y="639724"/>
                  <a:pt x="5551125" y="644772"/>
                </a:cubicBezTo>
                <a:cubicBezTo>
                  <a:pt x="5553697" y="688111"/>
                  <a:pt x="5555221" y="731354"/>
                  <a:pt x="5552268" y="774693"/>
                </a:cubicBezTo>
                <a:cubicBezTo>
                  <a:pt x="5551887" y="780884"/>
                  <a:pt x="5551602" y="787075"/>
                  <a:pt x="5551506" y="793267"/>
                </a:cubicBezTo>
                <a:cubicBezTo>
                  <a:pt x="5551411" y="802601"/>
                  <a:pt x="5549982" y="811650"/>
                  <a:pt x="5546934" y="820603"/>
                </a:cubicBezTo>
                <a:cubicBezTo>
                  <a:pt x="5544839" y="826890"/>
                  <a:pt x="5544077" y="833653"/>
                  <a:pt x="5542839" y="840225"/>
                </a:cubicBezTo>
                <a:cubicBezTo>
                  <a:pt x="5541219" y="848702"/>
                  <a:pt x="5539409" y="850321"/>
                  <a:pt x="5530456" y="850702"/>
                </a:cubicBezTo>
                <a:cubicBezTo>
                  <a:pt x="5527408" y="850798"/>
                  <a:pt x="5524265" y="850702"/>
                  <a:pt x="5521121" y="850702"/>
                </a:cubicBezTo>
                <a:cubicBezTo>
                  <a:pt x="5408727" y="850607"/>
                  <a:pt x="5296712" y="850607"/>
                  <a:pt x="5184698" y="850607"/>
                </a:cubicBezTo>
                <a:cubicBezTo>
                  <a:pt x="5072208" y="850607"/>
                  <a:pt x="4959623" y="850607"/>
                  <a:pt x="4847133" y="850607"/>
                </a:cubicBezTo>
                <a:cubicBezTo>
                  <a:pt x="4828559" y="850607"/>
                  <a:pt x="4827606" y="851464"/>
                  <a:pt x="4827511" y="869467"/>
                </a:cubicBezTo>
                <a:cubicBezTo>
                  <a:pt x="4827416" y="880325"/>
                  <a:pt x="4827606" y="891184"/>
                  <a:pt x="4827797" y="901947"/>
                </a:cubicBezTo>
                <a:cubicBezTo>
                  <a:pt x="4827892" y="905566"/>
                  <a:pt x="4828273" y="909186"/>
                  <a:pt x="4828368" y="912805"/>
                </a:cubicBezTo>
                <a:cubicBezTo>
                  <a:pt x="4828559" y="920997"/>
                  <a:pt x="4834369" y="926998"/>
                  <a:pt x="4836369" y="934427"/>
                </a:cubicBezTo>
                <a:cubicBezTo>
                  <a:pt x="4838370" y="941761"/>
                  <a:pt x="4838084" y="949572"/>
                  <a:pt x="4843037" y="956335"/>
                </a:cubicBezTo>
                <a:cubicBezTo>
                  <a:pt x="4847228" y="962050"/>
                  <a:pt x="4849419" y="969193"/>
                  <a:pt x="4852847" y="975480"/>
                </a:cubicBezTo>
                <a:cubicBezTo>
                  <a:pt x="4864659" y="997006"/>
                  <a:pt x="4881899" y="1013961"/>
                  <a:pt x="4900282" y="1029868"/>
                </a:cubicBezTo>
                <a:cubicBezTo>
                  <a:pt x="4910474" y="1038631"/>
                  <a:pt x="4922380" y="1044727"/>
                  <a:pt x="4933620" y="1051870"/>
                </a:cubicBezTo>
                <a:cubicBezTo>
                  <a:pt x="4944668" y="1058824"/>
                  <a:pt x="4957718" y="1060824"/>
                  <a:pt x="4968481" y="1068158"/>
                </a:cubicBezTo>
                <a:cubicBezTo>
                  <a:pt x="4970481" y="1069492"/>
                  <a:pt x="4973339" y="1069968"/>
                  <a:pt x="4975911" y="1070158"/>
                </a:cubicBezTo>
                <a:cubicBezTo>
                  <a:pt x="4984293" y="1070825"/>
                  <a:pt x="4991817" y="1073587"/>
                  <a:pt x="4999532" y="1076921"/>
                </a:cubicBezTo>
                <a:cubicBezTo>
                  <a:pt x="5005057" y="1079302"/>
                  <a:pt x="5011534" y="1080255"/>
                  <a:pt x="5017630" y="1080350"/>
                </a:cubicBezTo>
                <a:cubicBezTo>
                  <a:pt x="5045538" y="1080636"/>
                  <a:pt x="5073351" y="1080541"/>
                  <a:pt x="5101259" y="1080255"/>
                </a:cubicBezTo>
                <a:cubicBezTo>
                  <a:pt x="5110594" y="1080160"/>
                  <a:pt x="5119548" y="1078350"/>
                  <a:pt x="5128406" y="1074730"/>
                </a:cubicBezTo>
                <a:cubicBezTo>
                  <a:pt x="5134502" y="1072254"/>
                  <a:pt x="5141360" y="1071397"/>
                  <a:pt x="5147932" y="1070635"/>
                </a:cubicBezTo>
                <a:cubicBezTo>
                  <a:pt x="5154695" y="1069777"/>
                  <a:pt x="5161267" y="1069206"/>
                  <a:pt x="5166887" y="1064824"/>
                </a:cubicBezTo>
                <a:cubicBezTo>
                  <a:pt x="5167649" y="1064158"/>
                  <a:pt x="5168601" y="1063491"/>
                  <a:pt x="5169554" y="1063300"/>
                </a:cubicBezTo>
                <a:cubicBezTo>
                  <a:pt x="5182508" y="1061776"/>
                  <a:pt x="5193747" y="1055490"/>
                  <a:pt x="5205558" y="1050632"/>
                </a:cubicBezTo>
                <a:cubicBezTo>
                  <a:pt x="5209273" y="1049108"/>
                  <a:pt x="5212893" y="1047298"/>
                  <a:pt x="5216512" y="1045393"/>
                </a:cubicBezTo>
                <a:cubicBezTo>
                  <a:pt x="5218322" y="1044441"/>
                  <a:pt x="5219846" y="1042917"/>
                  <a:pt x="5221751" y="1042155"/>
                </a:cubicBezTo>
                <a:cubicBezTo>
                  <a:pt x="5225084" y="1040821"/>
                  <a:pt x="5228895" y="1040345"/>
                  <a:pt x="5231943" y="1038535"/>
                </a:cubicBezTo>
                <a:cubicBezTo>
                  <a:pt x="5243754" y="1031392"/>
                  <a:pt x="5255184" y="1023581"/>
                  <a:pt x="5266995" y="1016437"/>
                </a:cubicBezTo>
                <a:cubicBezTo>
                  <a:pt x="5284711" y="1005769"/>
                  <a:pt x="5299761" y="991672"/>
                  <a:pt x="5315572" y="978528"/>
                </a:cubicBezTo>
                <a:cubicBezTo>
                  <a:pt x="5317572" y="976909"/>
                  <a:pt x="5319382" y="975004"/>
                  <a:pt x="5321573" y="973670"/>
                </a:cubicBezTo>
                <a:cubicBezTo>
                  <a:pt x="5325383" y="971289"/>
                  <a:pt x="5329574" y="971860"/>
                  <a:pt x="5332717" y="975480"/>
                </a:cubicBezTo>
                <a:cubicBezTo>
                  <a:pt x="5338432" y="982147"/>
                  <a:pt x="5343861" y="989005"/>
                  <a:pt x="5349386" y="995768"/>
                </a:cubicBezTo>
                <a:cubicBezTo>
                  <a:pt x="5362149" y="1011199"/>
                  <a:pt x="5375008" y="1026629"/>
                  <a:pt x="5387771" y="1042155"/>
                </a:cubicBezTo>
                <a:cubicBezTo>
                  <a:pt x="5407964" y="1066825"/>
                  <a:pt x="5428062" y="1091685"/>
                  <a:pt x="5448160" y="1116450"/>
                </a:cubicBezTo>
                <a:cubicBezTo>
                  <a:pt x="5453875" y="1123498"/>
                  <a:pt x="5453684" y="1126070"/>
                  <a:pt x="5447970" y="1132452"/>
                </a:cubicBezTo>
                <a:cubicBezTo>
                  <a:pt x="5447589" y="1132833"/>
                  <a:pt x="5447303" y="1133214"/>
                  <a:pt x="5446922" y="1133595"/>
                </a:cubicBezTo>
                <a:cubicBezTo>
                  <a:pt x="5425776" y="1152359"/>
                  <a:pt x="5405393" y="1172076"/>
                  <a:pt x="5381485" y="1187506"/>
                </a:cubicBezTo>
                <a:cubicBezTo>
                  <a:pt x="5368150" y="1196079"/>
                  <a:pt x="5355196" y="1205413"/>
                  <a:pt x="5341956" y="1214081"/>
                </a:cubicBezTo>
                <a:cubicBezTo>
                  <a:pt x="5335575" y="1218272"/>
                  <a:pt x="5328336" y="1220844"/>
                  <a:pt x="5321859" y="1225225"/>
                </a:cubicBezTo>
                <a:cubicBezTo>
                  <a:pt x="5313381" y="1230845"/>
                  <a:pt x="5302809" y="1233036"/>
                  <a:pt x="5294331" y="1238656"/>
                </a:cubicBezTo>
                <a:cubicBezTo>
                  <a:pt x="5284330" y="1245323"/>
                  <a:pt x="5272805" y="1248181"/>
                  <a:pt x="5262327" y="1253419"/>
                </a:cubicBezTo>
                <a:cubicBezTo>
                  <a:pt x="5252040" y="1258563"/>
                  <a:pt x="5240610" y="1262373"/>
                  <a:pt x="5229466" y="1265897"/>
                </a:cubicBezTo>
                <a:cubicBezTo>
                  <a:pt x="5221179" y="1268469"/>
                  <a:pt x="5212702" y="1269898"/>
                  <a:pt x="5204891" y="1274374"/>
                </a:cubicBezTo>
                <a:cubicBezTo>
                  <a:pt x="5201558" y="1276279"/>
                  <a:pt x="5196986" y="1276279"/>
                  <a:pt x="5192890" y="1276660"/>
                </a:cubicBezTo>
                <a:cubicBezTo>
                  <a:pt x="5186127" y="1277232"/>
                  <a:pt x="5179555" y="1278375"/>
                  <a:pt x="5173650" y="1281899"/>
                </a:cubicBezTo>
                <a:cubicBezTo>
                  <a:pt x="5168220" y="1285233"/>
                  <a:pt x="5162124" y="1286281"/>
                  <a:pt x="5155838" y="1286471"/>
                </a:cubicBezTo>
                <a:cubicBezTo>
                  <a:pt x="5143932" y="1286757"/>
                  <a:pt x="5132311" y="1288567"/>
                  <a:pt x="5121071" y="1292948"/>
                </a:cubicBezTo>
                <a:cubicBezTo>
                  <a:pt x="5115452" y="1295139"/>
                  <a:pt x="5109070" y="1295710"/>
                  <a:pt x="5102879" y="1295996"/>
                </a:cubicBezTo>
                <a:cubicBezTo>
                  <a:pt x="5061064" y="1298187"/>
                  <a:pt x="5019249" y="1297425"/>
                  <a:pt x="4977434" y="1296282"/>
                </a:cubicBezTo>
                <a:cubicBezTo>
                  <a:pt x="4969053" y="1296091"/>
                  <a:pt x="4961052" y="1295044"/>
                  <a:pt x="4953432" y="1291424"/>
                </a:cubicBezTo>
                <a:cubicBezTo>
                  <a:pt x="4944859" y="1287424"/>
                  <a:pt x="4935429" y="1286947"/>
                  <a:pt x="4926190" y="1286566"/>
                </a:cubicBezTo>
                <a:cubicBezTo>
                  <a:pt x="4918380" y="1286281"/>
                  <a:pt x="4910950" y="1285328"/>
                  <a:pt x="4904187" y="1280566"/>
                </a:cubicBezTo>
                <a:cubicBezTo>
                  <a:pt x="4901044" y="1278375"/>
                  <a:pt x="4896472" y="1277899"/>
                  <a:pt x="4892471" y="1276946"/>
                </a:cubicBezTo>
                <a:cubicBezTo>
                  <a:pt x="4889995" y="1276375"/>
                  <a:pt x="4887137" y="1276946"/>
                  <a:pt x="4884852" y="1276089"/>
                </a:cubicBezTo>
                <a:cubicBezTo>
                  <a:pt x="4873898" y="1271707"/>
                  <a:pt x="4862372" y="1268659"/>
                  <a:pt x="4851895" y="1263802"/>
                </a:cubicBezTo>
                <a:cubicBezTo>
                  <a:pt x="4839894" y="1258182"/>
                  <a:pt x="4827606" y="1253324"/>
                  <a:pt x="4815891" y="1247133"/>
                </a:cubicBezTo>
                <a:cubicBezTo>
                  <a:pt x="4808652" y="1243323"/>
                  <a:pt x="4801032" y="1239989"/>
                  <a:pt x="4794269" y="1235417"/>
                </a:cubicBezTo>
                <a:cubicBezTo>
                  <a:pt x="4778171" y="1224463"/>
                  <a:pt x="4761979" y="1213795"/>
                  <a:pt x="4746358" y="1201984"/>
                </a:cubicBezTo>
                <a:cubicBezTo>
                  <a:pt x="4725308" y="1185982"/>
                  <a:pt x="4706544" y="1167885"/>
                  <a:pt x="4688636" y="1148644"/>
                </a:cubicBezTo>
                <a:cubicBezTo>
                  <a:pt x="4685493" y="1145311"/>
                  <a:pt x="4682636" y="1141691"/>
                  <a:pt x="4679778" y="1138072"/>
                </a:cubicBezTo>
                <a:cubicBezTo>
                  <a:pt x="4671777" y="1127975"/>
                  <a:pt x="4663776" y="1117974"/>
                  <a:pt x="4655870" y="1107782"/>
                </a:cubicBezTo>
                <a:cubicBezTo>
                  <a:pt x="4653966" y="1105401"/>
                  <a:pt x="4652442" y="1102639"/>
                  <a:pt x="4650822" y="1100067"/>
                </a:cubicBezTo>
                <a:cubicBezTo>
                  <a:pt x="4642154" y="1086160"/>
                  <a:pt x="4633487" y="1072254"/>
                  <a:pt x="4624819" y="1058347"/>
                </a:cubicBezTo>
                <a:cubicBezTo>
                  <a:pt x="4623486" y="1056157"/>
                  <a:pt x="4622628" y="1053680"/>
                  <a:pt x="4621580" y="1051394"/>
                </a:cubicBezTo>
                <a:cubicBezTo>
                  <a:pt x="4619580" y="1047298"/>
                  <a:pt x="4617485" y="1043203"/>
                  <a:pt x="4615580" y="1039107"/>
                </a:cubicBezTo>
                <a:cubicBezTo>
                  <a:pt x="4614246" y="1036345"/>
                  <a:pt x="4613103" y="1033487"/>
                  <a:pt x="4611865" y="1030725"/>
                </a:cubicBezTo>
                <a:cubicBezTo>
                  <a:pt x="4610246" y="1027010"/>
                  <a:pt x="4608531" y="1023295"/>
                  <a:pt x="4606817" y="1019676"/>
                </a:cubicBezTo>
                <a:cubicBezTo>
                  <a:pt x="4606341" y="1018723"/>
                  <a:pt x="4605293" y="1018152"/>
                  <a:pt x="4605007" y="1017199"/>
                </a:cubicBezTo>
                <a:cubicBezTo>
                  <a:pt x="4600626" y="1005198"/>
                  <a:pt x="4596244" y="993196"/>
                  <a:pt x="4592053" y="981195"/>
                </a:cubicBezTo>
                <a:cubicBezTo>
                  <a:pt x="4590910" y="977861"/>
                  <a:pt x="4591196" y="973670"/>
                  <a:pt x="4589291" y="970813"/>
                </a:cubicBezTo>
                <a:cubicBezTo>
                  <a:pt x="4583576" y="962240"/>
                  <a:pt x="4581957" y="953001"/>
                  <a:pt x="4581290" y="943000"/>
                </a:cubicBezTo>
                <a:cubicBezTo>
                  <a:pt x="4581004" y="938047"/>
                  <a:pt x="4579194" y="932808"/>
                  <a:pt x="4577003" y="928331"/>
                </a:cubicBezTo>
                <a:cubicBezTo>
                  <a:pt x="4573670" y="921664"/>
                  <a:pt x="4572051" y="914901"/>
                  <a:pt x="4572051" y="907471"/>
                </a:cubicBezTo>
                <a:cubicBezTo>
                  <a:pt x="4572051" y="892898"/>
                  <a:pt x="4570145" y="878706"/>
                  <a:pt x="4565193" y="864895"/>
                </a:cubicBezTo>
                <a:cubicBezTo>
                  <a:pt x="4563192" y="859275"/>
                  <a:pt x="4562716" y="852798"/>
                  <a:pt x="4562621" y="846607"/>
                </a:cubicBezTo>
                <a:cubicBezTo>
                  <a:pt x="4562430" y="818698"/>
                  <a:pt x="4562335" y="790885"/>
                  <a:pt x="4562716" y="762977"/>
                </a:cubicBezTo>
                <a:cubicBezTo>
                  <a:pt x="4562811" y="755357"/>
                  <a:pt x="4563478" y="747261"/>
                  <a:pt x="4565954" y="740117"/>
                </a:cubicBezTo>
                <a:cubicBezTo>
                  <a:pt x="4570050" y="728211"/>
                  <a:pt x="4572051" y="716114"/>
                  <a:pt x="4572146" y="703636"/>
                </a:cubicBezTo>
                <a:cubicBezTo>
                  <a:pt x="4572241" y="694207"/>
                  <a:pt x="4573289" y="685444"/>
                  <a:pt x="4578337" y="676966"/>
                </a:cubicBezTo>
                <a:cubicBezTo>
                  <a:pt x="4581004" y="672394"/>
                  <a:pt x="4581194" y="666108"/>
                  <a:pt x="4581957" y="660583"/>
                </a:cubicBezTo>
                <a:cubicBezTo>
                  <a:pt x="4582814" y="653916"/>
                  <a:pt x="4584052" y="647534"/>
                  <a:pt x="4587576" y="641438"/>
                </a:cubicBezTo>
                <a:cubicBezTo>
                  <a:pt x="4589862" y="637533"/>
                  <a:pt x="4591005" y="632866"/>
                  <a:pt x="4591862" y="628294"/>
                </a:cubicBezTo>
                <a:cubicBezTo>
                  <a:pt x="4593005" y="622674"/>
                  <a:pt x="4594149" y="617245"/>
                  <a:pt x="4598054" y="612673"/>
                </a:cubicBezTo>
                <a:cubicBezTo>
                  <a:pt x="4599006" y="611530"/>
                  <a:pt x="4600149" y="610006"/>
                  <a:pt x="4600245" y="608672"/>
                </a:cubicBezTo>
                <a:cubicBezTo>
                  <a:pt x="4600721" y="596290"/>
                  <a:pt x="4608912" y="586860"/>
                  <a:pt x="4612913" y="575716"/>
                </a:cubicBezTo>
                <a:cubicBezTo>
                  <a:pt x="4615961" y="567048"/>
                  <a:pt x="4620437" y="558856"/>
                  <a:pt x="4625200" y="550951"/>
                </a:cubicBezTo>
                <a:cubicBezTo>
                  <a:pt x="4637583" y="530281"/>
                  <a:pt x="4650346" y="509803"/>
                  <a:pt x="4663110" y="489324"/>
                </a:cubicBezTo>
                <a:cubicBezTo>
                  <a:pt x="4665014" y="486276"/>
                  <a:pt x="4667967" y="483990"/>
                  <a:pt x="4670253" y="481228"/>
                </a:cubicBezTo>
                <a:cubicBezTo>
                  <a:pt x="4681683" y="467321"/>
                  <a:pt x="4693018" y="453319"/>
                  <a:pt x="4704543" y="439413"/>
                </a:cubicBezTo>
                <a:cubicBezTo>
                  <a:pt x="4717402" y="423887"/>
                  <a:pt x="4732928" y="411028"/>
                  <a:pt x="4747882" y="397693"/>
                </a:cubicBezTo>
                <a:cubicBezTo>
                  <a:pt x="4765503" y="381882"/>
                  <a:pt x="4783791" y="366928"/>
                  <a:pt x="4804461" y="355021"/>
                </a:cubicBezTo>
                <a:cubicBezTo>
                  <a:pt x="4808461" y="352735"/>
                  <a:pt x="4811604" y="349211"/>
                  <a:pt x="4815510" y="346639"/>
                </a:cubicBezTo>
                <a:cubicBezTo>
                  <a:pt x="4827416" y="338638"/>
                  <a:pt x="4839989" y="331971"/>
                  <a:pt x="4853038" y="325875"/>
                </a:cubicBezTo>
                <a:cubicBezTo>
                  <a:pt x="4860849" y="322255"/>
                  <a:pt x="4868564" y="318160"/>
                  <a:pt x="4876089" y="313969"/>
                </a:cubicBezTo>
                <a:cubicBezTo>
                  <a:pt x="4881994" y="310635"/>
                  <a:pt x="4887518" y="307492"/>
                  <a:pt x="4894377" y="306444"/>
                </a:cubicBezTo>
                <a:cubicBezTo>
                  <a:pt x="4897329" y="305968"/>
                  <a:pt x="4900377" y="304634"/>
                  <a:pt x="4902854" y="302920"/>
                </a:cubicBezTo>
                <a:cubicBezTo>
                  <a:pt x="4908093" y="299205"/>
                  <a:pt x="4913807" y="297300"/>
                  <a:pt x="4920094" y="296919"/>
                </a:cubicBezTo>
                <a:cubicBezTo>
                  <a:pt x="4921618" y="296824"/>
                  <a:pt x="4923428" y="296728"/>
                  <a:pt x="4924571" y="295966"/>
                </a:cubicBezTo>
                <a:cubicBezTo>
                  <a:pt x="4938763" y="285298"/>
                  <a:pt x="4957527" y="288346"/>
                  <a:pt x="4972577" y="279964"/>
                </a:cubicBezTo>
                <a:cubicBezTo>
                  <a:pt x="4976768" y="277583"/>
                  <a:pt x="4982578" y="277869"/>
                  <a:pt x="4987721" y="277583"/>
                </a:cubicBezTo>
                <a:cubicBezTo>
                  <a:pt x="4996580" y="277107"/>
                  <a:pt x="5004962" y="275297"/>
                  <a:pt x="5013439" y="272916"/>
                </a:cubicBezTo>
                <a:cubicBezTo>
                  <a:pt x="5023250" y="270154"/>
                  <a:pt x="5033632" y="268344"/>
                  <a:pt x="5043824" y="268058"/>
                </a:cubicBezTo>
                <a:cubicBezTo>
                  <a:pt x="5075256" y="267487"/>
                  <a:pt x="5106784" y="267677"/>
                  <a:pt x="5138312" y="267963"/>
                </a:cubicBezTo>
                <a:close/>
                <a:moveTo>
                  <a:pt x="4473562" y="267867"/>
                </a:moveTo>
                <a:cubicBezTo>
                  <a:pt x="4489088" y="267772"/>
                  <a:pt x="4491945" y="269106"/>
                  <a:pt x="4490803" y="285012"/>
                </a:cubicBezTo>
                <a:cubicBezTo>
                  <a:pt x="4489945" y="297395"/>
                  <a:pt x="4488707" y="309396"/>
                  <a:pt x="4484421" y="321303"/>
                </a:cubicBezTo>
                <a:cubicBezTo>
                  <a:pt x="4481373" y="329780"/>
                  <a:pt x="4481087" y="339495"/>
                  <a:pt x="4480706" y="348735"/>
                </a:cubicBezTo>
                <a:cubicBezTo>
                  <a:pt x="4480325" y="358641"/>
                  <a:pt x="4479372" y="368166"/>
                  <a:pt x="4475181" y="377405"/>
                </a:cubicBezTo>
                <a:cubicBezTo>
                  <a:pt x="4471467" y="385596"/>
                  <a:pt x="4470990" y="394455"/>
                  <a:pt x="4470895" y="403218"/>
                </a:cubicBezTo>
                <a:cubicBezTo>
                  <a:pt x="4470705" y="415124"/>
                  <a:pt x="4468895" y="426554"/>
                  <a:pt x="4464799" y="437984"/>
                </a:cubicBezTo>
                <a:cubicBezTo>
                  <a:pt x="4461656" y="447033"/>
                  <a:pt x="4460418" y="457224"/>
                  <a:pt x="4460799" y="466845"/>
                </a:cubicBezTo>
                <a:cubicBezTo>
                  <a:pt x="4461370" y="481894"/>
                  <a:pt x="4454607" y="494943"/>
                  <a:pt x="4451178" y="508850"/>
                </a:cubicBezTo>
                <a:cubicBezTo>
                  <a:pt x="4450226" y="512660"/>
                  <a:pt x="4447083" y="514755"/>
                  <a:pt x="4443178" y="515041"/>
                </a:cubicBezTo>
                <a:cubicBezTo>
                  <a:pt x="4439558" y="515327"/>
                  <a:pt x="4435938" y="515327"/>
                  <a:pt x="4432319" y="515422"/>
                </a:cubicBezTo>
                <a:cubicBezTo>
                  <a:pt x="4413745" y="515803"/>
                  <a:pt x="4395267" y="517613"/>
                  <a:pt x="4376883" y="520756"/>
                </a:cubicBezTo>
                <a:cubicBezTo>
                  <a:pt x="4366215" y="522566"/>
                  <a:pt x="4355357" y="522947"/>
                  <a:pt x="4344594" y="523423"/>
                </a:cubicBezTo>
                <a:cubicBezTo>
                  <a:pt x="4330116" y="523995"/>
                  <a:pt x="4315733" y="523899"/>
                  <a:pt x="4302398" y="530948"/>
                </a:cubicBezTo>
                <a:cubicBezTo>
                  <a:pt x="4298493" y="532948"/>
                  <a:pt x="4293349" y="532948"/>
                  <a:pt x="4288777" y="533234"/>
                </a:cubicBezTo>
                <a:cubicBezTo>
                  <a:pt x="4280395" y="533710"/>
                  <a:pt x="4272299" y="534663"/>
                  <a:pt x="4265251" y="539806"/>
                </a:cubicBezTo>
                <a:cubicBezTo>
                  <a:pt x="4263631" y="540949"/>
                  <a:pt x="4261631" y="542187"/>
                  <a:pt x="4259631" y="542283"/>
                </a:cubicBezTo>
                <a:cubicBezTo>
                  <a:pt x="4250106" y="542949"/>
                  <a:pt x="4242295" y="548093"/>
                  <a:pt x="4233723" y="551427"/>
                </a:cubicBezTo>
                <a:cubicBezTo>
                  <a:pt x="4197909" y="565524"/>
                  <a:pt x="4169238" y="589050"/>
                  <a:pt x="4143807" y="617244"/>
                </a:cubicBezTo>
                <a:cubicBezTo>
                  <a:pt x="4128186" y="634580"/>
                  <a:pt x="4117327" y="654963"/>
                  <a:pt x="4105326" y="674680"/>
                </a:cubicBezTo>
                <a:cubicBezTo>
                  <a:pt x="4102944" y="686301"/>
                  <a:pt x="4093229" y="695064"/>
                  <a:pt x="4092562" y="707446"/>
                </a:cubicBezTo>
                <a:cubicBezTo>
                  <a:pt x="4092467" y="709256"/>
                  <a:pt x="4090752" y="711066"/>
                  <a:pt x="4089705" y="712875"/>
                </a:cubicBezTo>
                <a:cubicBezTo>
                  <a:pt x="4088943" y="714209"/>
                  <a:pt x="4087323" y="715352"/>
                  <a:pt x="4087133" y="716685"/>
                </a:cubicBezTo>
                <a:cubicBezTo>
                  <a:pt x="4085037" y="732021"/>
                  <a:pt x="4075608" y="745165"/>
                  <a:pt x="4074179" y="760691"/>
                </a:cubicBezTo>
                <a:cubicBezTo>
                  <a:pt x="4073607" y="766977"/>
                  <a:pt x="4072845" y="773073"/>
                  <a:pt x="4069607" y="778503"/>
                </a:cubicBezTo>
                <a:cubicBezTo>
                  <a:pt x="4065226" y="785837"/>
                  <a:pt x="4064082" y="794028"/>
                  <a:pt x="4063987" y="802315"/>
                </a:cubicBezTo>
                <a:cubicBezTo>
                  <a:pt x="4063797" y="812221"/>
                  <a:pt x="4061987" y="821556"/>
                  <a:pt x="4058463" y="830890"/>
                </a:cubicBezTo>
                <a:cubicBezTo>
                  <a:pt x="4055510" y="838891"/>
                  <a:pt x="4054748" y="847940"/>
                  <a:pt x="4054177" y="856608"/>
                </a:cubicBezTo>
                <a:cubicBezTo>
                  <a:pt x="4053605" y="866514"/>
                  <a:pt x="4052748" y="876039"/>
                  <a:pt x="4048461" y="885183"/>
                </a:cubicBezTo>
                <a:cubicBezTo>
                  <a:pt x="4044366" y="893755"/>
                  <a:pt x="4044366" y="903280"/>
                  <a:pt x="4044175" y="912519"/>
                </a:cubicBezTo>
                <a:cubicBezTo>
                  <a:pt x="4044080" y="921949"/>
                  <a:pt x="4042365" y="930712"/>
                  <a:pt x="4039032" y="939666"/>
                </a:cubicBezTo>
                <a:cubicBezTo>
                  <a:pt x="4036174" y="947190"/>
                  <a:pt x="4035127" y="955668"/>
                  <a:pt x="4034650" y="963859"/>
                </a:cubicBezTo>
                <a:cubicBezTo>
                  <a:pt x="4033983" y="975765"/>
                  <a:pt x="4032745" y="987195"/>
                  <a:pt x="4028364" y="998625"/>
                </a:cubicBezTo>
                <a:cubicBezTo>
                  <a:pt x="4025316" y="1006531"/>
                  <a:pt x="4025125" y="1015770"/>
                  <a:pt x="4024649" y="1024438"/>
                </a:cubicBezTo>
                <a:cubicBezTo>
                  <a:pt x="4024077" y="1034344"/>
                  <a:pt x="4023125" y="1043869"/>
                  <a:pt x="4019029" y="1053108"/>
                </a:cubicBezTo>
                <a:cubicBezTo>
                  <a:pt x="4014933" y="1062252"/>
                  <a:pt x="4014552" y="1072158"/>
                  <a:pt x="4014457" y="1081969"/>
                </a:cubicBezTo>
                <a:cubicBezTo>
                  <a:pt x="4014362" y="1092447"/>
                  <a:pt x="4012171" y="1102162"/>
                  <a:pt x="4009028" y="1112163"/>
                </a:cubicBezTo>
                <a:cubicBezTo>
                  <a:pt x="4006075" y="1121307"/>
                  <a:pt x="4005218" y="1131309"/>
                  <a:pt x="4004646" y="1141024"/>
                </a:cubicBezTo>
                <a:cubicBezTo>
                  <a:pt x="4004075" y="1150359"/>
                  <a:pt x="4003313" y="1159407"/>
                  <a:pt x="3999408" y="1168170"/>
                </a:cubicBezTo>
                <a:cubicBezTo>
                  <a:pt x="3995217" y="1177314"/>
                  <a:pt x="3994836" y="1187220"/>
                  <a:pt x="3994740" y="1197031"/>
                </a:cubicBezTo>
                <a:cubicBezTo>
                  <a:pt x="3994645" y="1207413"/>
                  <a:pt x="3993597" y="1217510"/>
                  <a:pt x="3989121" y="1227130"/>
                </a:cubicBezTo>
                <a:cubicBezTo>
                  <a:pt x="3984930" y="1236179"/>
                  <a:pt x="3984739" y="1246275"/>
                  <a:pt x="3984930" y="1256086"/>
                </a:cubicBezTo>
                <a:cubicBezTo>
                  <a:pt x="3985215" y="1268373"/>
                  <a:pt x="3981501" y="1279422"/>
                  <a:pt x="3977024" y="1290471"/>
                </a:cubicBezTo>
                <a:cubicBezTo>
                  <a:pt x="3974833" y="1295901"/>
                  <a:pt x="3971119" y="1298758"/>
                  <a:pt x="3965308" y="1298853"/>
                </a:cubicBezTo>
                <a:cubicBezTo>
                  <a:pt x="3962165" y="1298853"/>
                  <a:pt x="3959117" y="1298853"/>
                  <a:pt x="3955974" y="1298853"/>
                </a:cubicBezTo>
                <a:cubicBezTo>
                  <a:pt x="3917969" y="1298377"/>
                  <a:pt x="3879774" y="1298377"/>
                  <a:pt x="3841578" y="1298377"/>
                </a:cubicBezTo>
                <a:cubicBezTo>
                  <a:pt x="3803860" y="1298377"/>
                  <a:pt x="3766236" y="1298377"/>
                  <a:pt x="3728517" y="1298377"/>
                </a:cubicBezTo>
                <a:cubicBezTo>
                  <a:pt x="3726993" y="1298377"/>
                  <a:pt x="3725373" y="1298377"/>
                  <a:pt x="3723849" y="1298377"/>
                </a:cubicBezTo>
                <a:cubicBezTo>
                  <a:pt x="3708800" y="1298949"/>
                  <a:pt x="3704323" y="1295043"/>
                  <a:pt x="3708038" y="1280565"/>
                </a:cubicBezTo>
                <a:cubicBezTo>
                  <a:pt x="3709086" y="1276660"/>
                  <a:pt x="3709276" y="1272374"/>
                  <a:pt x="3709181" y="1268278"/>
                </a:cubicBezTo>
                <a:cubicBezTo>
                  <a:pt x="3709086" y="1256753"/>
                  <a:pt x="3711372" y="1245990"/>
                  <a:pt x="3715277" y="1235131"/>
                </a:cubicBezTo>
                <a:cubicBezTo>
                  <a:pt x="3718325" y="1226654"/>
                  <a:pt x="3718515" y="1216938"/>
                  <a:pt x="3719087" y="1207699"/>
                </a:cubicBezTo>
                <a:cubicBezTo>
                  <a:pt x="3719658" y="1198841"/>
                  <a:pt x="3720420" y="1190364"/>
                  <a:pt x="3724421" y="1182172"/>
                </a:cubicBezTo>
                <a:cubicBezTo>
                  <a:pt x="3728326" y="1174076"/>
                  <a:pt x="3728898" y="1165218"/>
                  <a:pt x="3728898" y="1156455"/>
                </a:cubicBezTo>
                <a:cubicBezTo>
                  <a:pt x="3728898" y="1145501"/>
                  <a:pt x="3730898" y="1135214"/>
                  <a:pt x="3734708" y="1124736"/>
                </a:cubicBezTo>
                <a:cubicBezTo>
                  <a:pt x="3737661" y="1116735"/>
                  <a:pt x="3738232" y="1107591"/>
                  <a:pt x="3738708" y="1098924"/>
                </a:cubicBezTo>
                <a:cubicBezTo>
                  <a:pt x="3739280" y="1089018"/>
                  <a:pt x="3740899" y="1079778"/>
                  <a:pt x="3744233" y="1070349"/>
                </a:cubicBezTo>
                <a:cubicBezTo>
                  <a:pt x="3747281" y="1061776"/>
                  <a:pt x="3748138" y="1052251"/>
                  <a:pt x="3748805" y="1043107"/>
                </a:cubicBezTo>
                <a:cubicBezTo>
                  <a:pt x="3749567" y="1032725"/>
                  <a:pt x="3751091" y="1022914"/>
                  <a:pt x="3754710" y="1013008"/>
                </a:cubicBezTo>
                <a:cubicBezTo>
                  <a:pt x="3757663" y="1005007"/>
                  <a:pt x="3758330" y="995863"/>
                  <a:pt x="3758711" y="987195"/>
                </a:cubicBezTo>
                <a:cubicBezTo>
                  <a:pt x="3759187" y="977289"/>
                  <a:pt x="3760235" y="967764"/>
                  <a:pt x="3764426" y="958620"/>
                </a:cubicBezTo>
                <a:cubicBezTo>
                  <a:pt x="3768331" y="950048"/>
                  <a:pt x="3768617" y="940523"/>
                  <a:pt x="3768712" y="931284"/>
                </a:cubicBezTo>
                <a:cubicBezTo>
                  <a:pt x="3768807" y="921378"/>
                  <a:pt x="3769951" y="911853"/>
                  <a:pt x="3774332" y="902709"/>
                </a:cubicBezTo>
                <a:cubicBezTo>
                  <a:pt x="3778237" y="894612"/>
                  <a:pt x="3778428" y="885659"/>
                  <a:pt x="3778523" y="876896"/>
                </a:cubicBezTo>
                <a:cubicBezTo>
                  <a:pt x="3778618" y="866514"/>
                  <a:pt x="3780428" y="856608"/>
                  <a:pt x="3784143" y="846702"/>
                </a:cubicBezTo>
                <a:cubicBezTo>
                  <a:pt x="3787000" y="839177"/>
                  <a:pt x="3787762" y="830604"/>
                  <a:pt x="3788238" y="822508"/>
                </a:cubicBezTo>
                <a:cubicBezTo>
                  <a:pt x="3788810" y="811650"/>
                  <a:pt x="3790334" y="801267"/>
                  <a:pt x="3794144" y="790790"/>
                </a:cubicBezTo>
                <a:cubicBezTo>
                  <a:pt x="3797287" y="782313"/>
                  <a:pt x="3797763" y="772692"/>
                  <a:pt x="3798430" y="763453"/>
                </a:cubicBezTo>
                <a:cubicBezTo>
                  <a:pt x="3799097" y="753642"/>
                  <a:pt x="3800811" y="744308"/>
                  <a:pt x="3804050" y="734878"/>
                </a:cubicBezTo>
                <a:cubicBezTo>
                  <a:pt x="3807003" y="726306"/>
                  <a:pt x="3807765" y="716781"/>
                  <a:pt x="3808336" y="707541"/>
                </a:cubicBezTo>
                <a:cubicBezTo>
                  <a:pt x="3808908" y="698112"/>
                  <a:pt x="3810336" y="689349"/>
                  <a:pt x="3813861" y="680490"/>
                </a:cubicBezTo>
                <a:cubicBezTo>
                  <a:pt x="3816528" y="673918"/>
                  <a:pt x="3817480" y="666584"/>
                  <a:pt x="3818147" y="659440"/>
                </a:cubicBezTo>
                <a:cubicBezTo>
                  <a:pt x="3818814" y="651630"/>
                  <a:pt x="3819290" y="644010"/>
                  <a:pt x="3823957" y="637342"/>
                </a:cubicBezTo>
                <a:cubicBezTo>
                  <a:pt x="3824814" y="636104"/>
                  <a:pt x="3825767" y="634580"/>
                  <a:pt x="3825862" y="633151"/>
                </a:cubicBezTo>
                <a:cubicBezTo>
                  <a:pt x="3826434" y="617911"/>
                  <a:pt x="3835482" y="605148"/>
                  <a:pt x="3838340" y="590574"/>
                </a:cubicBezTo>
                <a:cubicBezTo>
                  <a:pt x="3838530" y="589527"/>
                  <a:pt x="3838530" y="588384"/>
                  <a:pt x="3839102" y="587622"/>
                </a:cubicBezTo>
                <a:cubicBezTo>
                  <a:pt x="3846722" y="577620"/>
                  <a:pt x="3847770" y="564666"/>
                  <a:pt x="3854628" y="554284"/>
                </a:cubicBezTo>
                <a:cubicBezTo>
                  <a:pt x="3859390" y="547045"/>
                  <a:pt x="3861867" y="538663"/>
                  <a:pt x="3866344" y="531043"/>
                </a:cubicBezTo>
                <a:cubicBezTo>
                  <a:pt x="3872344" y="520851"/>
                  <a:pt x="3878726" y="510945"/>
                  <a:pt x="3884441" y="500754"/>
                </a:cubicBezTo>
                <a:cubicBezTo>
                  <a:pt x="3893299" y="484847"/>
                  <a:pt x="3904824" y="471131"/>
                  <a:pt x="3915683" y="456939"/>
                </a:cubicBezTo>
                <a:cubicBezTo>
                  <a:pt x="3936828" y="429507"/>
                  <a:pt x="3961212" y="405504"/>
                  <a:pt x="3989121" y="384739"/>
                </a:cubicBezTo>
                <a:cubicBezTo>
                  <a:pt x="4005218" y="372833"/>
                  <a:pt x="4021696" y="361593"/>
                  <a:pt x="4038079" y="349973"/>
                </a:cubicBezTo>
                <a:cubicBezTo>
                  <a:pt x="4044747" y="345306"/>
                  <a:pt x="4052176" y="341591"/>
                  <a:pt x="4059415" y="337781"/>
                </a:cubicBezTo>
                <a:cubicBezTo>
                  <a:pt x="4071226" y="331590"/>
                  <a:pt x="4082561" y="323970"/>
                  <a:pt x="4095134" y="319969"/>
                </a:cubicBezTo>
                <a:cubicBezTo>
                  <a:pt x="4107326" y="315969"/>
                  <a:pt x="4117422" y="306729"/>
                  <a:pt x="4130948" y="306634"/>
                </a:cubicBezTo>
                <a:cubicBezTo>
                  <a:pt x="4142283" y="300252"/>
                  <a:pt x="4154570" y="296919"/>
                  <a:pt x="4167429" y="295490"/>
                </a:cubicBezTo>
                <a:cubicBezTo>
                  <a:pt x="4177716" y="288441"/>
                  <a:pt x="4189527" y="287965"/>
                  <a:pt x="4201433" y="286822"/>
                </a:cubicBezTo>
                <a:cubicBezTo>
                  <a:pt x="4207529" y="286251"/>
                  <a:pt x="4213625" y="284441"/>
                  <a:pt x="4219340" y="282155"/>
                </a:cubicBezTo>
                <a:cubicBezTo>
                  <a:pt x="4226198" y="279393"/>
                  <a:pt x="4233151" y="278059"/>
                  <a:pt x="4240390" y="277869"/>
                </a:cubicBezTo>
                <a:cubicBezTo>
                  <a:pt x="4264679" y="277392"/>
                  <a:pt x="4288777" y="275392"/>
                  <a:pt x="4312780" y="271487"/>
                </a:cubicBezTo>
                <a:cubicBezTo>
                  <a:pt x="4328973" y="268820"/>
                  <a:pt x="4345641" y="268344"/>
                  <a:pt x="4362120" y="268153"/>
                </a:cubicBezTo>
                <a:cubicBezTo>
                  <a:pt x="4399267" y="267677"/>
                  <a:pt x="4436415" y="268153"/>
                  <a:pt x="4473562" y="267867"/>
                </a:cubicBezTo>
                <a:close/>
                <a:moveTo>
                  <a:pt x="9829945" y="262534"/>
                </a:moveTo>
                <a:cubicBezTo>
                  <a:pt x="9850806" y="259771"/>
                  <a:pt x="9872046" y="259867"/>
                  <a:pt x="9893192" y="262724"/>
                </a:cubicBezTo>
                <a:cubicBezTo>
                  <a:pt x="9913575" y="265486"/>
                  <a:pt x="9934245" y="266439"/>
                  <a:pt x="9954913" y="267677"/>
                </a:cubicBezTo>
                <a:cubicBezTo>
                  <a:pt x="9963772" y="268153"/>
                  <a:pt x="9972059" y="269201"/>
                  <a:pt x="9980346" y="272916"/>
                </a:cubicBezTo>
                <a:cubicBezTo>
                  <a:pt x="9986727" y="275773"/>
                  <a:pt x="9994252" y="276535"/>
                  <a:pt x="10001300" y="277297"/>
                </a:cubicBezTo>
                <a:cubicBezTo>
                  <a:pt x="10009111" y="278059"/>
                  <a:pt x="10016540" y="278917"/>
                  <a:pt x="10023494" y="283108"/>
                </a:cubicBezTo>
                <a:cubicBezTo>
                  <a:pt x="10027303" y="285394"/>
                  <a:pt x="10032161" y="286156"/>
                  <a:pt x="10036639" y="287203"/>
                </a:cubicBezTo>
                <a:cubicBezTo>
                  <a:pt x="10039591" y="287965"/>
                  <a:pt x="10043210" y="287299"/>
                  <a:pt x="10045782" y="288632"/>
                </a:cubicBezTo>
                <a:cubicBezTo>
                  <a:pt x="10055783" y="294061"/>
                  <a:pt x="10067023" y="296347"/>
                  <a:pt x="10077309" y="300729"/>
                </a:cubicBezTo>
                <a:cubicBezTo>
                  <a:pt x="10083406" y="303301"/>
                  <a:pt x="10088931" y="307015"/>
                  <a:pt x="10095788" y="308063"/>
                </a:cubicBezTo>
                <a:cubicBezTo>
                  <a:pt x="10098170" y="308444"/>
                  <a:pt x="10100360" y="310349"/>
                  <a:pt x="10102551" y="311587"/>
                </a:cubicBezTo>
                <a:cubicBezTo>
                  <a:pt x="10105218" y="313111"/>
                  <a:pt x="10107599" y="315207"/>
                  <a:pt x="10110457" y="316255"/>
                </a:cubicBezTo>
                <a:cubicBezTo>
                  <a:pt x="10122458" y="320827"/>
                  <a:pt x="10133507" y="327018"/>
                  <a:pt x="10144080" y="334257"/>
                </a:cubicBezTo>
                <a:cubicBezTo>
                  <a:pt x="10147890" y="336829"/>
                  <a:pt x="10152271" y="338638"/>
                  <a:pt x="10156081" y="341115"/>
                </a:cubicBezTo>
                <a:cubicBezTo>
                  <a:pt x="10193610" y="364927"/>
                  <a:pt x="10227233" y="393598"/>
                  <a:pt x="10255998" y="427507"/>
                </a:cubicBezTo>
                <a:cubicBezTo>
                  <a:pt x="10269238" y="443128"/>
                  <a:pt x="10281812" y="459511"/>
                  <a:pt x="10292099" y="477418"/>
                </a:cubicBezTo>
                <a:cubicBezTo>
                  <a:pt x="10300290" y="491610"/>
                  <a:pt x="10309910" y="505135"/>
                  <a:pt x="10317054" y="519804"/>
                </a:cubicBezTo>
                <a:cubicBezTo>
                  <a:pt x="10321531" y="528948"/>
                  <a:pt x="10325531" y="538473"/>
                  <a:pt x="10329342" y="547903"/>
                </a:cubicBezTo>
                <a:cubicBezTo>
                  <a:pt x="10331628" y="553618"/>
                  <a:pt x="10332580" y="559714"/>
                  <a:pt x="10336485" y="564857"/>
                </a:cubicBezTo>
                <a:cubicBezTo>
                  <a:pt x="10338199" y="567238"/>
                  <a:pt x="10339057" y="570477"/>
                  <a:pt x="10339438" y="573525"/>
                </a:cubicBezTo>
                <a:cubicBezTo>
                  <a:pt x="10340485" y="580764"/>
                  <a:pt x="10342391" y="587431"/>
                  <a:pt x="10346106" y="593908"/>
                </a:cubicBezTo>
                <a:cubicBezTo>
                  <a:pt x="10348582" y="598099"/>
                  <a:pt x="10349344" y="603624"/>
                  <a:pt x="10349820" y="608672"/>
                </a:cubicBezTo>
                <a:cubicBezTo>
                  <a:pt x="10350582" y="616959"/>
                  <a:pt x="10351725" y="625055"/>
                  <a:pt x="10356106" y="632389"/>
                </a:cubicBezTo>
                <a:cubicBezTo>
                  <a:pt x="10359345" y="637914"/>
                  <a:pt x="10359440" y="644200"/>
                  <a:pt x="10359726" y="650392"/>
                </a:cubicBezTo>
                <a:cubicBezTo>
                  <a:pt x="10360393" y="662203"/>
                  <a:pt x="10361060" y="674109"/>
                  <a:pt x="10362107" y="685920"/>
                </a:cubicBezTo>
                <a:cubicBezTo>
                  <a:pt x="10362584" y="691540"/>
                  <a:pt x="10363727" y="697350"/>
                  <a:pt x="10369537" y="700398"/>
                </a:cubicBezTo>
                <a:cubicBezTo>
                  <a:pt x="10369632" y="729163"/>
                  <a:pt x="10369632" y="758119"/>
                  <a:pt x="10369632" y="786980"/>
                </a:cubicBezTo>
                <a:cubicBezTo>
                  <a:pt x="10363727" y="792886"/>
                  <a:pt x="10362393" y="800601"/>
                  <a:pt x="10361536" y="808316"/>
                </a:cubicBezTo>
                <a:cubicBezTo>
                  <a:pt x="10360489" y="817555"/>
                  <a:pt x="10360012" y="826795"/>
                  <a:pt x="10359917" y="836129"/>
                </a:cubicBezTo>
                <a:cubicBezTo>
                  <a:pt x="10359821" y="844511"/>
                  <a:pt x="10358488" y="852417"/>
                  <a:pt x="10354773" y="860132"/>
                </a:cubicBezTo>
                <a:cubicBezTo>
                  <a:pt x="10352391" y="865180"/>
                  <a:pt x="10351058" y="870895"/>
                  <a:pt x="10350582" y="876420"/>
                </a:cubicBezTo>
                <a:cubicBezTo>
                  <a:pt x="10349725" y="885278"/>
                  <a:pt x="10348867" y="893851"/>
                  <a:pt x="10343534" y="901375"/>
                </a:cubicBezTo>
                <a:cubicBezTo>
                  <a:pt x="10343248" y="901756"/>
                  <a:pt x="10342962" y="902233"/>
                  <a:pt x="10342866" y="902709"/>
                </a:cubicBezTo>
                <a:cubicBezTo>
                  <a:pt x="10340295" y="915282"/>
                  <a:pt x="10336485" y="927283"/>
                  <a:pt x="10331056" y="939094"/>
                </a:cubicBezTo>
                <a:cubicBezTo>
                  <a:pt x="10328388" y="945000"/>
                  <a:pt x="10326579" y="951382"/>
                  <a:pt x="10323436" y="957382"/>
                </a:cubicBezTo>
                <a:cubicBezTo>
                  <a:pt x="10318197" y="967288"/>
                  <a:pt x="10314387" y="977956"/>
                  <a:pt x="10309624" y="988243"/>
                </a:cubicBezTo>
                <a:cubicBezTo>
                  <a:pt x="10306863" y="994244"/>
                  <a:pt x="10303528" y="1000054"/>
                  <a:pt x="10300099" y="1005769"/>
                </a:cubicBezTo>
                <a:cubicBezTo>
                  <a:pt x="10288670" y="1025200"/>
                  <a:pt x="10277525" y="1044727"/>
                  <a:pt x="10263428" y="1062634"/>
                </a:cubicBezTo>
                <a:cubicBezTo>
                  <a:pt x="10252951" y="1075969"/>
                  <a:pt x="10243521" y="1090066"/>
                  <a:pt x="10231995" y="1102639"/>
                </a:cubicBezTo>
                <a:cubicBezTo>
                  <a:pt x="10212374" y="1123784"/>
                  <a:pt x="10191991" y="1144168"/>
                  <a:pt x="10170369" y="1163122"/>
                </a:cubicBezTo>
                <a:cubicBezTo>
                  <a:pt x="10160368" y="1171885"/>
                  <a:pt x="10149224" y="1179601"/>
                  <a:pt x="10138365" y="1187316"/>
                </a:cubicBezTo>
                <a:cubicBezTo>
                  <a:pt x="10125411" y="1196555"/>
                  <a:pt x="10112933" y="1206842"/>
                  <a:pt x="10098931" y="1214081"/>
                </a:cubicBezTo>
                <a:cubicBezTo>
                  <a:pt x="10083596" y="1222082"/>
                  <a:pt x="10069404" y="1232369"/>
                  <a:pt x="10052831" y="1238465"/>
                </a:cubicBezTo>
                <a:cubicBezTo>
                  <a:pt x="10042353" y="1242370"/>
                  <a:pt x="10033019" y="1249038"/>
                  <a:pt x="10022636" y="1253419"/>
                </a:cubicBezTo>
                <a:cubicBezTo>
                  <a:pt x="10010445" y="1258563"/>
                  <a:pt x="9997776" y="1262563"/>
                  <a:pt x="9985299" y="1267040"/>
                </a:cubicBezTo>
                <a:cubicBezTo>
                  <a:pt x="9977107" y="1269993"/>
                  <a:pt x="9969201" y="1273803"/>
                  <a:pt x="9960819" y="1275803"/>
                </a:cubicBezTo>
                <a:cubicBezTo>
                  <a:pt x="9952341" y="1277803"/>
                  <a:pt x="9943675" y="1278184"/>
                  <a:pt x="9935577" y="1282471"/>
                </a:cubicBezTo>
                <a:cubicBezTo>
                  <a:pt x="9930815" y="1285042"/>
                  <a:pt x="9924814" y="1285804"/>
                  <a:pt x="9919195" y="1286185"/>
                </a:cubicBezTo>
                <a:cubicBezTo>
                  <a:pt x="9908813" y="1287043"/>
                  <a:pt x="9898811" y="1288662"/>
                  <a:pt x="9889095" y="1292567"/>
                </a:cubicBezTo>
                <a:cubicBezTo>
                  <a:pt x="9884905" y="1294281"/>
                  <a:pt x="9880142" y="1295425"/>
                  <a:pt x="9875666" y="1295710"/>
                </a:cubicBezTo>
                <a:cubicBezTo>
                  <a:pt x="9844805" y="1297520"/>
                  <a:pt x="9813849" y="1299425"/>
                  <a:pt x="9782892" y="1300568"/>
                </a:cubicBezTo>
                <a:cubicBezTo>
                  <a:pt x="9771082" y="1301044"/>
                  <a:pt x="9759269" y="1299425"/>
                  <a:pt x="9747459" y="1298854"/>
                </a:cubicBezTo>
                <a:cubicBezTo>
                  <a:pt x="9728409" y="1297901"/>
                  <a:pt x="9709359" y="1296853"/>
                  <a:pt x="9690214" y="1296187"/>
                </a:cubicBezTo>
                <a:cubicBezTo>
                  <a:pt x="9680784" y="1295901"/>
                  <a:pt x="9672021" y="1294377"/>
                  <a:pt x="9663163" y="1290852"/>
                </a:cubicBezTo>
                <a:cubicBezTo>
                  <a:pt x="9656114" y="1288090"/>
                  <a:pt x="9648209" y="1287233"/>
                  <a:pt x="9640588" y="1286566"/>
                </a:cubicBezTo>
                <a:cubicBezTo>
                  <a:pt x="9633255" y="1285900"/>
                  <a:pt x="9626206" y="1285423"/>
                  <a:pt x="9619919" y="1281137"/>
                </a:cubicBezTo>
                <a:cubicBezTo>
                  <a:pt x="9618205" y="1279994"/>
                  <a:pt x="9616204" y="1278565"/>
                  <a:pt x="9614395" y="1278565"/>
                </a:cubicBezTo>
                <a:cubicBezTo>
                  <a:pt x="9599536" y="1278280"/>
                  <a:pt x="9587058" y="1270183"/>
                  <a:pt x="9573247" y="1266564"/>
                </a:cubicBezTo>
                <a:cubicBezTo>
                  <a:pt x="9569342" y="1265516"/>
                  <a:pt x="9565627" y="1263706"/>
                  <a:pt x="9561817" y="1262087"/>
                </a:cubicBezTo>
                <a:cubicBezTo>
                  <a:pt x="9559912" y="1261230"/>
                  <a:pt x="9558293" y="1259230"/>
                  <a:pt x="9556483" y="1259039"/>
                </a:cubicBezTo>
                <a:cubicBezTo>
                  <a:pt x="9544672" y="1258087"/>
                  <a:pt x="9536099" y="1249800"/>
                  <a:pt x="9525527" y="1245990"/>
                </a:cubicBezTo>
                <a:cubicBezTo>
                  <a:pt x="9516097" y="1242656"/>
                  <a:pt x="9507620" y="1236465"/>
                  <a:pt x="9498762" y="1231417"/>
                </a:cubicBezTo>
                <a:cubicBezTo>
                  <a:pt x="9493428" y="1228369"/>
                  <a:pt x="9488093" y="1225225"/>
                  <a:pt x="9482854" y="1222082"/>
                </a:cubicBezTo>
                <a:cubicBezTo>
                  <a:pt x="9447993" y="1200746"/>
                  <a:pt x="9417608" y="1173886"/>
                  <a:pt x="9389700" y="1144072"/>
                </a:cubicBezTo>
                <a:cubicBezTo>
                  <a:pt x="9375222" y="1128642"/>
                  <a:pt x="9362268" y="1112164"/>
                  <a:pt x="9350267" y="1094828"/>
                </a:cubicBezTo>
                <a:cubicBezTo>
                  <a:pt x="9340646" y="1080826"/>
                  <a:pt x="9332455" y="1066063"/>
                  <a:pt x="9323882" y="1051489"/>
                </a:cubicBezTo>
                <a:cubicBezTo>
                  <a:pt x="9318167" y="1041869"/>
                  <a:pt x="9314548" y="1031011"/>
                  <a:pt x="9309881" y="1020724"/>
                </a:cubicBezTo>
                <a:cubicBezTo>
                  <a:pt x="9308833" y="1018342"/>
                  <a:pt x="9307690" y="1016056"/>
                  <a:pt x="9306452" y="1013866"/>
                </a:cubicBezTo>
                <a:cubicBezTo>
                  <a:pt x="9305690" y="1012532"/>
                  <a:pt x="9304071" y="1011389"/>
                  <a:pt x="9303880" y="1010056"/>
                </a:cubicBezTo>
                <a:cubicBezTo>
                  <a:pt x="9301784" y="996244"/>
                  <a:pt x="9292926" y="984719"/>
                  <a:pt x="9290831" y="970908"/>
                </a:cubicBezTo>
                <a:cubicBezTo>
                  <a:pt x="9290068" y="965860"/>
                  <a:pt x="9289306" y="960430"/>
                  <a:pt x="9286830" y="956144"/>
                </a:cubicBezTo>
                <a:cubicBezTo>
                  <a:pt x="9282829" y="949096"/>
                  <a:pt x="9281306" y="941857"/>
                  <a:pt x="9280924" y="934046"/>
                </a:cubicBezTo>
                <a:cubicBezTo>
                  <a:pt x="9280543" y="924712"/>
                  <a:pt x="9278638" y="915758"/>
                  <a:pt x="9275209" y="906995"/>
                </a:cubicBezTo>
                <a:cubicBezTo>
                  <a:pt x="9272828" y="900899"/>
                  <a:pt x="9271685" y="894041"/>
                  <a:pt x="9271495" y="887469"/>
                </a:cubicBezTo>
                <a:cubicBezTo>
                  <a:pt x="9269685" y="842035"/>
                  <a:pt x="9269780" y="796600"/>
                  <a:pt x="9271304" y="751261"/>
                </a:cubicBezTo>
                <a:cubicBezTo>
                  <a:pt x="9271590" y="741927"/>
                  <a:pt x="9272447" y="732783"/>
                  <a:pt x="9276448" y="724115"/>
                </a:cubicBezTo>
                <a:cubicBezTo>
                  <a:pt x="9280353" y="715447"/>
                  <a:pt x="9281020" y="706113"/>
                  <a:pt x="9281401" y="696874"/>
                </a:cubicBezTo>
                <a:cubicBezTo>
                  <a:pt x="9281591" y="690016"/>
                  <a:pt x="9283211" y="683824"/>
                  <a:pt x="9286354" y="677633"/>
                </a:cubicBezTo>
                <a:cubicBezTo>
                  <a:pt x="9288830" y="672680"/>
                  <a:pt x="9290068" y="666965"/>
                  <a:pt x="9291021" y="661441"/>
                </a:cubicBezTo>
                <a:cubicBezTo>
                  <a:pt x="9292069" y="655249"/>
                  <a:pt x="9293117" y="649344"/>
                  <a:pt x="9296641" y="643915"/>
                </a:cubicBezTo>
                <a:cubicBezTo>
                  <a:pt x="9298546" y="640962"/>
                  <a:pt x="9299784" y="637342"/>
                  <a:pt x="9300451" y="633913"/>
                </a:cubicBezTo>
                <a:cubicBezTo>
                  <a:pt x="9301499" y="628198"/>
                  <a:pt x="9303118" y="623055"/>
                  <a:pt x="9306356" y="618102"/>
                </a:cubicBezTo>
                <a:cubicBezTo>
                  <a:pt x="9308356" y="615149"/>
                  <a:pt x="9309785" y="611625"/>
                  <a:pt x="9310452" y="608196"/>
                </a:cubicBezTo>
                <a:cubicBezTo>
                  <a:pt x="9311595" y="602576"/>
                  <a:pt x="9312929" y="597147"/>
                  <a:pt x="9317120" y="592861"/>
                </a:cubicBezTo>
                <a:cubicBezTo>
                  <a:pt x="9318167" y="591813"/>
                  <a:pt x="9319024" y="590384"/>
                  <a:pt x="9319501" y="588955"/>
                </a:cubicBezTo>
                <a:cubicBezTo>
                  <a:pt x="9327216" y="567048"/>
                  <a:pt x="9339503" y="547331"/>
                  <a:pt x="9351886" y="528186"/>
                </a:cubicBezTo>
                <a:cubicBezTo>
                  <a:pt x="9382270" y="481418"/>
                  <a:pt x="9417322" y="438365"/>
                  <a:pt x="9461233" y="403408"/>
                </a:cubicBezTo>
                <a:cubicBezTo>
                  <a:pt x="9478092" y="389978"/>
                  <a:pt x="9493713" y="374738"/>
                  <a:pt x="9513334" y="365213"/>
                </a:cubicBezTo>
                <a:cubicBezTo>
                  <a:pt x="9524384" y="354069"/>
                  <a:pt x="9539719" y="349402"/>
                  <a:pt x="9551815" y="339972"/>
                </a:cubicBezTo>
                <a:cubicBezTo>
                  <a:pt x="9562674" y="337876"/>
                  <a:pt x="9570199" y="329304"/>
                  <a:pt x="9580486" y="325589"/>
                </a:cubicBezTo>
                <a:cubicBezTo>
                  <a:pt x="9589344" y="322351"/>
                  <a:pt x="9598393" y="318255"/>
                  <a:pt x="9606679" y="313397"/>
                </a:cubicBezTo>
                <a:cubicBezTo>
                  <a:pt x="9612204" y="310159"/>
                  <a:pt x="9617824" y="308539"/>
                  <a:pt x="9623730" y="306730"/>
                </a:cubicBezTo>
                <a:cubicBezTo>
                  <a:pt x="9630968" y="304444"/>
                  <a:pt x="9637540" y="299872"/>
                  <a:pt x="9644875" y="297967"/>
                </a:cubicBezTo>
                <a:cubicBezTo>
                  <a:pt x="9651828" y="296157"/>
                  <a:pt x="9659067" y="295681"/>
                  <a:pt x="9665163" y="291204"/>
                </a:cubicBezTo>
                <a:cubicBezTo>
                  <a:pt x="9666401" y="290347"/>
                  <a:pt x="9667925" y="289204"/>
                  <a:pt x="9669259" y="289204"/>
                </a:cubicBezTo>
                <a:cubicBezTo>
                  <a:pt x="9688499" y="288727"/>
                  <a:pt x="9704882" y="275678"/>
                  <a:pt x="9724694" y="276726"/>
                </a:cubicBezTo>
                <a:cubicBezTo>
                  <a:pt x="9730124" y="277012"/>
                  <a:pt x="9735838" y="274821"/>
                  <a:pt x="9741078" y="272725"/>
                </a:cubicBezTo>
                <a:cubicBezTo>
                  <a:pt x="9748888" y="269582"/>
                  <a:pt x="9756794" y="267963"/>
                  <a:pt x="9765176" y="267772"/>
                </a:cubicBezTo>
                <a:cubicBezTo>
                  <a:pt x="9786892" y="267296"/>
                  <a:pt x="9808323" y="265391"/>
                  <a:pt x="9829945" y="262534"/>
                </a:cubicBezTo>
                <a:close/>
                <a:moveTo>
                  <a:pt x="3116440" y="261772"/>
                </a:moveTo>
                <a:cubicBezTo>
                  <a:pt x="3137776" y="259009"/>
                  <a:pt x="3159493" y="259105"/>
                  <a:pt x="3181210" y="262248"/>
                </a:cubicBezTo>
                <a:cubicBezTo>
                  <a:pt x="3200545" y="265010"/>
                  <a:pt x="3220262" y="265772"/>
                  <a:pt x="3239789" y="266915"/>
                </a:cubicBezTo>
                <a:cubicBezTo>
                  <a:pt x="3249123" y="267487"/>
                  <a:pt x="3257981" y="268439"/>
                  <a:pt x="3266840" y="272344"/>
                </a:cubicBezTo>
                <a:cubicBezTo>
                  <a:pt x="3273221" y="275202"/>
                  <a:pt x="3280746" y="275964"/>
                  <a:pt x="3287890" y="276535"/>
                </a:cubicBezTo>
                <a:cubicBezTo>
                  <a:pt x="3295224" y="277107"/>
                  <a:pt x="3301987" y="278440"/>
                  <a:pt x="3308559" y="281965"/>
                </a:cubicBezTo>
                <a:cubicBezTo>
                  <a:pt x="3313417" y="284536"/>
                  <a:pt x="3319132" y="285679"/>
                  <a:pt x="3324656" y="286727"/>
                </a:cubicBezTo>
                <a:cubicBezTo>
                  <a:pt x="3330848" y="287775"/>
                  <a:pt x="3336848" y="288537"/>
                  <a:pt x="3341992" y="292728"/>
                </a:cubicBezTo>
                <a:cubicBezTo>
                  <a:pt x="3343135" y="293680"/>
                  <a:pt x="3344659" y="294633"/>
                  <a:pt x="3346088" y="294823"/>
                </a:cubicBezTo>
                <a:cubicBezTo>
                  <a:pt x="3355422" y="296252"/>
                  <a:pt x="3363233" y="301396"/>
                  <a:pt x="3371805" y="304634"/>
                </a:cubicBezTo>
                <a:cubicBezTo>
                  <a:pt x="3386759" y="310159"/>
                  <a:pt x="3400570" y="317683"/>
                  <a:pt x="3414572" y="325018"/>
                </a:cubicBezTo>
                <a:cubicBezTo>
                  <a:pt x="3432003" y="333971"/>
                  <a:pt x="3448481" y="344353"/>
                  <a:pt x="3464102" y="355974"/>
                </a:cubicBezTo>
                <a:cubicBezTo>
                  <a:pt x="3488486" y="374167"/>
                  <a:pt x="3512299" y="393026"/>
                  <a:pt x="3532206" y="416267"/>
                </a:cubicBezTo>
                <a:cubicBezTo>
                  <a:pt x="3541922" y="427602"/>
                  <a:pt x="3550399" y="439984"/>
                  <a:pt x="3560209" y="451129"/>
                </a:cubicBezTo>
                <a:cubicBezTo>
                  <a:pt x="3570497" y="462749"/>
                  <a:pt x="3577831" y="476465"/>
                  <a:pt x="3586213" y="489229"/>
                </a:cubicBezTo>
                <a:cubicBezTo>
                  <a:pt x="3593642" y="500659"/>
                  <a:pt x="3600786" y="512946"/>
                  <a:pt x="3605549" y="525614"/>
                </a:cubicBezTo>
                <a:cubicBezTo>
                  <a:pt x="3609835" y="537044"/>
                  <a:pt x="3618026" y="546950"/>
                  <a:pt x="3619074" y="559618"/>
                </a:cubicBezTo>
                <a:cubicBezTo>
                  <a:pt x="3619265" y="562095"/>
                  <a:pt x="3620408" y="564667"/>
                  <a:pt x="3621932" y="566762"/>
                </a:cubicBezTo>
                <a:cubicBezTo>
                  <a:pt x="3626313" y="572858"/>
                  <a:pt x="3628123" y="579621"/>
                  <a:pt x="3628885" y="586955"/>
                </a:cubicBezTo>
                <a:cubicBezTo>
                  <a:pt x="3629266" y="590956"/>
                  <a:pt x="3630599" y="595147"/>
                  <a:pt x="3632695" y="598576"/>
                </a:cubicBezTo>
                <a:cubicBezTo>
                  <a:pt x="3636314" y="604576"/>
                  <a:pt x="3637838" y="610768"/>
                  <a:pt x="3638029" y="617626"/>
                </a:cubicBezTo>
                <a:cubicBezTo>
                  <a:pt x="3638315" y="626484"/>
                  <a:pt x="3640315" y="634866"/>
                  <a:pt x="3643649" y="643153"/>
                </a:cubicBezTo>
                <a:cubicBezTo>
                  <a:pt x="3645744" y="648296"/>
                  <a:pt x="3647077" y="654011"/>
                  <a:pt x="3647459" y="659631"/>
                </a:cubicBezTo>
                <a:cubicBezTo>
                  <a:pt x="3649078" y="684301"/>
                  <a:pt x="3650411" y="709066"/>
                  <a:pt x="3651459" y="733831"/>
                </a:cubicBezTo>
                <a:cubicBezTo>
                  <a:pt x="3651935" y="746689"/>
                  <a:pt x="3651554" y="759643"/>
                  <a:pt x="3651554" y="772502"/>
                </a:cubicBezTo>
                <a:cubicBezTo>
                  <a:pt x="3650983" y="772788"/>
                  <a:pt x="3650507" y="772788"/>
                  <a:pt x="3650030" y="772788"/>
                </a:cubicBezTo>
                <a:cubicBezTo>
                  <a:pt x="3649268" y="790790"/>
                  <a:pt x="3648316" y="808888"/>
                  <a:pt x="3647649" y="826890"/>
                </a:cubicBezTo>
                <a:cubicBezTo>
                  <a:pt x="3647363" y="833653"/>
                  <a:pt x="3647268" y="840320"/>
                  <a:pt x="3643934" y="846416"/>
                </a:cubicBezTo>
                <a:cubicBezTo>
                  <a:pt x="3639648" y="854322"/>
                  <a:pt x="3638124" y="862894"/>
                  <a:pt x="3637934" y="871753"/>
                </a:cubicBezTo>
                <a:cubicBezTo>
                  <a:pt x="3637743" y="879087"/>
                  <a:pt x="3636886" y="886135"/>
                  <a:pt x="3632123" y="892231"/>
                </a:cubicBezTo>
                <a:cubicBezTo>
                  <a:pt x="3631171" y="893374"/>
                  <a:pt x="3630218" y="894898"/>
                  <a:pt x="3630123" y="896327"/>
                </a:cubicBezTo>
                <a:cubicBezTo>
                  <a:pt x="3628599" y="909186"/>
                  <a:pt x="3624027" y="920997"/>
                  <a:pt x="3618979" y="932808"/>
                </a:cubicBezTo>
                <a:cubicBezTo>
                  <a:pt x="3616217" y="939285"/>
                  <a:pt x="3615740" y="946714"/>
                  <a:pt x="3610883" y="952525"/>
                </a:cubicBezTo>
                <a:cubicBezTo>
                  <a:pt x="3609644" y="954049"/>
                  <a:pt x="3609073" y="956239"/>
                  <a:pt x="3608787" y="958240"/>
                </a:cubicBezTo>
                <a:cubicBezTo>
                  <a:pt x="3607930" y="963478"/>
                  <a:pt x="3606406" y="968241"/>
                  <a:pt x="3602691" y="972146"/>
                </a:cubicBezTo>
                <a:cubicBezTo>
                  <a:pt x="3601358" y="973575"/>
                  <a:pt x="3600310" y="975575"/>
                  <a:pt x="3599643" y="977480"/>
                </a:cubicBezTo>
                <a:cubicBezTo>
                  <a:pt x="3595547" y="990244"/>
                  <a:pt x="3587546" y="1001007"/>
                  <a:pt x="3581450" y="1012723"/>
                </a:cubicBezTo>
                <a:cubicBezTo>
                  <a:pt x="3575068" y="1025105"/>
                  <a:pt x="3567163" y="1036440"/>
                  <a:pt x="3559448" y="1047965"/>
                </a:cubicBezTo>
                <a:cubicBezTo>
                  <a:pt x="3556018" y="1053109"/>
                  <a:pt x="3552685" y="1058252"/>
                  <a:pt x="3549065" y="1063205"/>
                </a:cubicBezTo>
                <a:cubicBezTo>
                  <a:pt x="3522491" y="1099495"/>
                  <a:pt x="3492963" y="1133023"/>
                  <a:pt x="3457720" y="1161122"/>
                </a:cubicBezTo>
                <a:cubicBezTo>
                  <a:pt x="3440861" y="1174552"/>
                  <a:pt x="3425145" y="1189602"/>
                  <a:pt x="3405524" y="1199317"/>
                </a:cubicBezTo>
                <a:cubicBezTo>
                  <a:pt x="3394379" y="1210366"/>
                  <a:pt x="3379044" y="1214938"/>
                  <a:pt x="3367042" y="1224559"/>
                </a:cubicBezTo>
                <a:cubicBezTo>
                  <a:pt x="3356470" y="1227130"/>
                  <a:pt x="3349135" y="1236751"/>
                  <a:pt x="3337896" y="1238084"/>
                </a:cubicBezTo>
                <a:cubicBezTo>
                  <a:pt x="3329895" y="1245799"/>
                  <a:pt x="3317989" y="1246180"/>
                  <a:pt x="3309321" y="1252848"/>
                </a:cubicBezTo>
                <a:cubicBezTo>
                  <a:pt x="3307035" y="1254658"/>
                  <a:pt x="3303701" y="1255610"/>
                  <a:pt x="3300749" y="1256086"/>
                </a:cubicBezTo>
                <a:cubicBezTo>
                  <a:pt x="3294557" y="1257134"/>
                  <a:pt x="3288747" y="1258849"/>
                  <a:pt x="3283699" y="1262754"/>
                </a:cubicBezTo>
                <a:cubicBezTo>
                  <a:pt x="3282080" y="1263992"/>
                  <a:pt x="3279984" y="1265421"/>
                  <a:pt x="3278174" y="1265421"/>
                </a:cubicBezTo>
                <a:cubicBezTo>
                  <a:pt x="3264649" y="1264849"/>
                  <a:pt x="3254648" y="1275613"/>
                  <a:pt x="3241598" y="1276565"/>
                </a:cubicBezTo>
                <a:cubicBezTo>
                  <a:pt x="3236550" y="1276946"/>
                  <a:pt x="3231025" y="1277708"/>
                  <a:pt x="3226739" y="1280089"/>
                </a:cubicBezTo>
                <a:cubicBezTo>
                  <a:pt x="3218738" y="1284471"/>
                  <a:pt x="3210261" y="1285423"/>
                  <a:pt x="3201498" y="1286566"/>
                </a:cubicBezTo>
                <a:cubicBezTo>
                  <a:pt x="3192830" y="1287614"/>
                  <a:pt x="3184448" y="1290186"/>
                  <a:pt x="3175876" y="1292091"/>
                </a:cubicBezTo>
                <a:cubicBezTo>
                  <a:pt x="3170351" y="1293329"/>
                  <a:pt x="3164922" y="1295329"/>
                  <a:pt x="3159302" y="1295615"/>
                </a:cubicBezTo>
                <a:cubicBezTo>
                  <a:pt x="3127393" y="1297520"/>
                  <a:pt x="3095390" y="1299330"/>
                  <a:pt x="3063481" y="1300568"/>
                </a:cubicBezTo>
                <a:cubicBezTo>
                  <a:pt x="3054242" y="1300949"/>
                  <a:pt x="3045002" y="1299616"/>
                  <a:pt x="3035763" y="1299044"/>
                </a:cubicBezTo>
                <a:cubicBezTo>
                  <a:pt x="3016142" y="1297996"/>
                  <a:pt x="2996615" y="1296758"/>
                  <a:pt x="2976995" y="1295996"/>
                </a:cubicBezTo>
                <a:cubicBezTo>
                  <a:pt x="2967089" y="1295615"/>
                  <a:pt x="2957754" y="1294377"/>
                  <a:pt x="2948325" y="1290567"/>
                </a:cubicBezTo>
                <a:cubicBezTo>
                  <a:pt x="2941371" y="1287709"/>
                  <a:pt x="2933370" y="1287043"/>
                  <a:pt x="2925750" y="1286281"/>
                </a:cubicBezTo>
                <a:cubicBezTo>
                  <a:pt x="2918511" y="1285519"/>
                  <a:pt x="2911368" y="1284852"/>
                  <a:pt x="2905176" y="1280661"/>
                </a:cubicBezTo>
                <a:cubicBezTo>
                  <a:pt x="2903938" y="1279804"/>
                  <a:pt x="2902414" y="1278756"/>
                  <a:pt x="2900985" y="1278661"/>
                </a:cubicBezTo>
                <a:cubicBezTo>
                  <a:pt x="2886412" y="1277613"/>
                  <a:pt x="2873649" y="1270564"/>
                  <a:pt x="2859933" y="1266564"/>
                </a:cubicBezTo>
                <a:cubicBezTo>
                  <a:pt x="2854979" y="1265135"/>
                  <a:pt x="2850122" y="1263897"/>
                  <a:pt x="2845740" y="1260849"/>
                </a:cubicBezTo>
                <a:cubicBezTo>
                  <a:pt x="2842883" y="1258849"/>
                  <a:pt x="2839168" y="1258087"/>
                  <a:pt x="2835834" y="1256848"/>
                </a:cubicBezTo>
                <a:cubicBezTo>
                  <a:pt x="2833929" y="1256182"/>
                  <a:pt x="2831643" y="1256182"/>
                  <a:pt x="2829929" y="1255229"/>
                </a:cubicBezTo>
                <a:cubicBezTo>
                  <a:pt x="2820880" y="1250562"/>
                  <a:pt x="2812117" y="1245037"/>
                  <a:pt x="2802878" y="1240942"/>
                </a:cubicBezTo>
                <a:cubicBezTo>
                  <a:pt x="2793448" y="1236846"/>
                  <a:pt x="2785161" y="1230845"/>
                  <a:pt x="2776112" y="1226178"/>
                </a:cubicBezTo>
                <a:cubicBezTo>
                  <a:pt x="2771159" y="1223606"/>
                  <a:pt x="2766683" y="1220082"/>
                  <a:pt x="2761920" y="1217034"/>
                </a:cubicBezTo>
                <a:cubicBezTo>
                  <a:pt x="2729440" y="1196555"/>
                  <a:pt x="2701055" y="1171219"/>
                  <a:pt x="2675148" y="1143215"/>
                </a:cubicBezTo>
                <a:cubicBezTo>
                  <a:pt x="2664670" y="1131880"/>
                  <a:pt x="2654383" y="1120260"/>
                  <a:pt x="2645620" y="1107592"/>
                </a:cubicBezTo>
                <a:cubicBezTo>
                  <a:pt x="2635809" y="1093304"/>
                  <a:pt x="2624475" y="1079874"/>
                  <a:pt x="2617521" y="1063586"/>
                </a:cubicBezTo>
                <a:cubicBezTo>
                  <a:pt x="2613521" y="1054252"/>
                  <a:pt x="2607234" y="1045965"/>
                  <a:pt x="2602281" y="1037107"/>
                </a:cubicBezTo>
                <a:cubicBezTo>
                  <a:pt x="2600757" y="1034440"/>
                  <a:pt x="2600186" y="1031392"/>
                  <a:pt x="2598948" y="1028534"/>
                </a:cubicBezTo>
                <a:cubicBezTo>
                  <a:pt x="2597614" y="1025200"/>
                  <a:pt x="2595995" y="1022057"/>
                  <a:pt x="2594566" y="1018819"/>
                </a:cubicBezTo>
                <a:cubicBezTo>
                  <a:pt x="2592756" y="1014628"/>
                  <a:pt x="2590851" y="1010437"/>
                  <a:pt x="2589327" y="1006150"/>
                </a:cubicBezTo>
                <a:cubicBezTo>
                  <a:pt x="2584374" y="992244"/>
                  <a:pt x="2579231" y="978337"/>
                  <a:pt x="2574849" y="964240"/>
                </a:cubicBezTo>
                <a:cubicBezTo>
                  <a:pt x="2572944" y="957954"/>
                  <a:pt x="2569896" y="951953"/>
                  <a:pt x="2569515" y="945190"/>
                </a:cubicBezTo>
                <a:cubicBezTo>
                  <a:pt x="2568944" y="935856"/>
                  <a:pt x="2567039" y="926902"/>
                  <a:pt x="2563133" y="918235"/>
                </a:cubicBezTo>
                <a:cubicBezTo>
                  <a:pt x="2561038" y="913663"/>
                  <a:pt x="2560085" y="908329"/>
                  <a:pt x="2559704" y="903280"/>
                </a:cubicBezTo>
                <a:cubicBezTo>
                  <a:pt x="2557894" y="877563"/>
                  <a:pt x="2555990" y="851845"/>
                  <a:pt x="2554942" y="826033"/>
                </a:cubicBezTo>
                <a:cubicBezTo>
                  <a:pt x="2554466" y="813745"/>
                  <a:pt x="2555609" y="801363"/>
                  <a:pt x="2556275" y="788980"/>
                </a:cubicBezTo>
                <a:cubicBezTo>
                  <a:pt x="2557228" y="771454"/>
                  <a:pt x="2558561" y="753928"/>
                  <a:pt x="2559323" y="736402"/>
                </a:cubicBezTo>
                <a:cubicBezTo>
                  <a:pt x="2559704" y="727544"/>
                  <a:pt x="2560467" y="718972"/>
                  <a:pt x="2564753" y="710971"/>
                </a:cubicBezTo>
                <a:cubicBezTo>
                  <a:pt x="2568753" y="703446"/>
                  <a:pt x="2569134" y="695064"/>
                  <a:pt x="2569515" y="686872"/>
                </a:cubicBezTo>
                <a:cubicBezTo>
                  <a:pt x="2569801" y="680586"/>
                  <a:pt x="2571230" y="674966"/>
                  <a:pt x="2574373" y="669251"/>
                </a:cubicBezTo>
                <a:cubicBezTo>
                  <a:pt x="2577040" y="664489"/>
                  <a:pt x="2578183" y="658678"/>
                  <a:pt x="2579040" y="653154"/>
                </a:cubicBezTo>
                <a:cubicBezTo>
                  <a:pt x="2579898" y="648010"/>
                  <a:pt x="2580469" y="642962"/>
                  <a:pt x="2583612" y="638581"/>
                </a:cubicBezTo>
                <a:cubicBezTo>
                  <a:pt x="2587041" y="633913"/>
                  <a:pt x="2588470" y="628484"/>
                  <a:pt x="2589518" y="622769"/>
                </a:cubicBezTo>
                <a:cubicBezTo>
                  <a:pt x="2590184" y="619340"/>
                  <a:pt x="2591994" y="616102"/>
                  <a:pt x="2593518" y="612863"/>
                </a:cubicBezTo>
                <a:cubicBezTo>
                  <a:pt x="2594375" y="611053"/>
                  <a:pt x="2596185" y="609529"/>
                  <a:pt x="2596757" y="607624"/>
                </a:cubicBezTo>
                <a:cubicBezTo>
                  <a:pt x="2601519" y="591241"/>
                  <a:pt x="2609996" y="576573"/>
                  <a:pt x="2617998" y="561714"/>
                </a:cubicBezTo>
                <a:cubicBezTo>
                  <a:pt x="2629142" y="540949"/>
                  <a:pt x="2640667" y="520375"/>
                  <a:pt x="2655621" y="501992"/>
                </a:cubicBezTo>
                <a:cubicBezTo>
                  <a:pt x="2666575" y="488371"/>
                  <a:pt x="2676386" y="473798"/>
                  <a:pt x="2687911" y="460654"/>
                </a:cubicBezTo>
                <a:cubicBezTo>
                  <a:pt x="2707247" y="438556"/>
                  <a:pt x="2728011" y="417696"/>
                  <a:pt x="2750681" y="399217"/>
                </a:cubicBezTo>
                <a:cubicBezTo>
                  <a:pt x="2769350" y="383977"/>
                  <a:pt x="2788970" y="369785"/>
                  <a:pt x="2809355" y="356736"/>
                </a:cubicBezTo>
                <a:cubicBezTo>
                  <a:pt x="2825357" y="346544"/>
                  <a:pt x="2842407" y="338353"/>
                  <a:pt x="2858218" y="328066"/>
                </a:cubicBezTo>
                <a:cubicBezTo>
                  <a:pt x="2869553" y="326161"/>
                  <a:pt x="2877649" y="316445"/>
                  <a:pt x="2889269" y="315016"/>
                </a:cubicBezTo>
                <a:cubicBezTo>
                  <a:pt x="2899366" y="305301"/>
                  <a:pt x="2914796" y="307492"/>
                  <a:pt x="2925560" y="298824"/>
                </a:cubicBezTo>
                <a:cubicBezTo>
                  <a:pt x="2927751" y="297109"/>
                  <a:pt x="2931465" y="297205"/>
                  <a:pt x="2934418" y="296538"/>
                </a:cubicBezTo>
                <a:cubicBezTo>
                  <a:pt x="2937466" y="295871"/>
                  <a:pt x="2940895" y="295966"/>
                  <a:pt x="2943371" y="294442"/>
                </a:cubicBezTo>
                <a:cubicBezTo>
                  <a:pt x="2951944" y="289108"/>
                  <a:pt x="2961183" y="286537"/>
                  <a:pt x="2971184" y="285870"/>
                </a:cubicBezTo>
                <a:cubicBezTo>
                  <a:pt x="2973661" y="285679"/>
                  <a:pt x="2976423" y="284917"/>
                  <a:pt x="2978519" y="283584"/>
                </a:cubicBezTo>
                <a:cubicBezTo>
                  <a:pt x="2987186" y="278059"/>
                  <a:pt x="2996806" y="277297"/>
                  <a:pt x="3006617" y="276345"/>
                </a:cubicBezTo>
                <a:cubicBezTo>
                  <a:pt x="3013665" y="275678"/>
                  <a:pt x="3020904" y="273964"/>
                  <a:pt x="3027572" y="271582"/>
                </a:cubicBezTo>
                <a:cubicBezTo>
                  <a:pt x="3035001" y="268915"/>
                  <a:pt x="3042335" y="267201"/>
                  <a:pt x="3050146" y="267106"/>
                </a:cubicBezTo>
                <a:cubicBezTo>
                  <a:pt x="3072339" y="266629"/>
                  <a:pt x="3094342" y="264724"/>
                  <a:pt x="3116440" y="261772"/>
                </a:cubicBezTo>
                <a:close/>
                <a:moveTo>
                  <a:pt x="8948597" y="691"/>
                </a:moveTo>
                <a:cubicBezTo>
                  <a:pt x="9044609" y="596"/>
                  <a:pt x="9140621" y="596"/>
                  <a:pt x="9236633" y="691"/>
                </a:cubicBezTo>
                <a:cubicBezTo>
                  <a:pt x="9239681" y="691"/>
                  <a:pt x="9242729" y="1072"/>
                  <a:pt x="9245110" y="1263"/>
                </a:cubicBezTo>
                <a:cubicBezTo>
                  <a:pt x="9250063" y="4978"/>
                  <a:pt x="9250540" y="9740"/>
                  <a:pt x="9250158" y="14312"/>
                </a:cubicBezTo>
                <a:cubicBezTo>
                  <a:pt x="9248825" y="30124"/>
                  <a:pt x="9249682" y="46030"/>
                  <a:pt x="9243110" y="61461"/>
                </a:cubicBezTo>
                <a:cubicBezTo>
                  <a:pt x="9239681" y="69652"/>
                  <a:pt x="9239871" y="79654"/>
                  <a:pt x="9239395" y="88893"/>
                </a:cubicBezTo>
                <a:cubicBezTo>
                  <a:pt x="9238919" y="98227"/>
                  <a:pt x="9238062" y="107276"/>
                  <a:pt x="9233966" y="115944"/>
                </a:cubicBezTo>
                <a:cubicBezTo>
                  <a:pt x="9229965" y="124516"/>
                  <a:pt x="9229585" y="133946"/>
                  <a:pt x="9229489" y="143281"/>
                </a:cubicBezTo>
                <a:cubicBezTo>
                  <a:pt x="9229394" y="154234"/>
                  <a:pt x="9227775" y="164617"/>
                  <a:pt x="9223774" y="174999"/>
                </a:cubicBezTo>
                <a:cubicBezTo>
                  <a:pt x="9220917" y="182524"/>
                  <a:pt x="9220250" y="191096"/>
                  <a:pt x="9219869" y="199288"/>
                </a:cubicBezTo>
                <a:cubicBezTo>
                  <a:pt x="9219298" y="210718"/>
                  <a:pt x="9217774" y="221576"/>
                  <a:pt x="9213964" y="232530"/>
                </a:cubicBezTo>
                <a:cubicBezTo>
                  <a:pt x="9210915" y="241102"/>
                  <a:pt x="9210439" y="250723"/>
                  <a:pt x="9209963" y="259867"/>
                </a:cubicBezTo>
                <a:cubicBezTo>
                  <a:pt x="9209392" y="269773"/>
                  <a:pt x="9208630" y="279393"/>
                  <a:pt x="9204439" y="288537"/>
                </a:cubicBezTo>
                <a:cubicBezTo>
                  <a:pt x="9200248" y="297681"/>
                  <a:pt x="9199962" y="307587"/>
                  <a:pt x="9199771" y="317398"/>
                </a:cubicBezTo>
                <a:cubicBezTo>
                  <a:pt x="9199485" y="327780"/>
                  <a:pt x="9197771" y="337686"/>
                  <a:pt x="9194247" y="347592"/>
                </a:cubicBezTo>
                <a:cubicBezTo>
                  <a:pt x="9191294" y="356164"/>
                  <a:pt x="9190532" y="365689"/>
                  <a:pt x="9189960" y="374929"/>
                </a:cubicBezTo>
                <a:cubicBezTo>
                  <a:pt x="9189294" y="385311"/>
                  <a:pt x="9188817" y="395407"/>
                  <a:pt x="9184246" y="405028"/>
                </a:cubicBezTo>
                <a:cubicBezTo>
                  <a:pt x="9180245" y="413600"/>
                  <a:pt x="9180150" y="423125"/>
                  <a:pt x="9180055" y="432364"/>
                </a:cubicBezTo>
                <a:cubicBezTo>
                  <a:pt x="9179959" y="442747"/>
                  <a:pt x="9178435" y="452653"/>
                  <a:pt x="9174625" y="462559"/>
                </a:cubicBezTo>
                <a:cubicBezTo>
                  <a:pt x="9171577" y="470560"/>
                  <a:pt x="9170815" y="479608"/>
                  <a:pt x="9170434" y="488276"/>
                </a:cubicBezTo>
                <a:cubicBezTo>
                  <a:pt x="9169863" y="499706"/>
                  <a:pt x="9168339" y="510565"/>
                  <a:pt x="9164338" y="521518"/>
                </a:cubicBezTo>
                <a:cubicBezTo>
                  <a:pt x="9161385" y="529519"/>
                  <a:pt x="9161005" y="538663"/>
                  <a:pt x="9160528" y="547331"/>
                </a:cubicBezTo>
                <a:cubicBezTo>
                  <a:pt x="9159957" y="557713"/>
                  <a:pt x="9159099" y="567810"/>
                  <a:pt x="9154718" y="577525"/>
                </a:cubicBezTo>
                <a:cubicBezTo>
                  <a:pt x="9150622" y="586669"/>
                  <a:pt x="9150432" y="596671"/>
                  <a:pt x="9150241" y="606386"/>
                </a:cubicBezTo>
                <a:cubicBezTo>
                  <a:pt x="9150051" y="616292"/>
                  <a:pt x="9148908" y="625817"/>
                  <a:pt x="9144812" y="635056"/>
                </a:cubicBezTo>
                <a:cubicBezTo>
                  <a:pt x="9140716" y="644200"/>
                  <a:pt x="9140430" y="654106"/>
                  <a:pt x="9140335" y="663917"/>
                </a:cubicBezTo>
                <a:cubicBezTo>
                  <a:pt x="9140240" y="673823"/>
                  <a:pt x="9139287" y="683348"/>
                  <a:pt x="9134906" y="692588"/>
                </a:cubicBezTo>
                <a:cubicBezTo>
                  <a:pt x="9130810" y="701160"/>
                  <a:pt x="9130524" y="710590"/>
                  <a:pt x="9130524" y="719924"/>
                </a:cubicBezTo>
                <a:cubicBezTo>
                  <a:pt x="9130429" y="730878"/>
                  <a:pt x="9128524" y="741165"/>
                  <a:pt x="9124810" y="751642"/>
                </a:cubicBezTo>
                <a:cubicBezTo>
                  <a:pt x="9121762" y="760120"/>
                  <a:pt x="9121285" y="769835"/>
                  <a:pt x="9120714" y="778979"/>
                </a:cubicBezTo>
                <a:cubicBezTo>
                  <a:pt x="9120143" y="789361"/>
                  <a:pt x="9118809" y="799267"/>
                  <a:pt x="9114999" y="809173"/>
                </a:cubicBezTo>
                <a:cubicBezTo>
                  <a:pt x="9112141" y="816698"/>
                  <a:pt x="9111474" y="825271"/>
                  <a:pt x="9110998" y="833462"/>
                </a:cubicBezTo>
                <a:cubicBezTo>
                  <a:pt x="9110332" y="845368"/>
                  <a:pt x="9108808" y="856798"/>
                  <a:pt x="9104617" y="868228"/>
                </a:cubicBezTo>
                <a:cubicBezTo>
                  <a:pt x="9101664" y="876229"/>
                  <a:pt x="9101187" y="885373"/>
                  <a:pt x="9100807" y="894136"/>
                </a:cubicBezTo>
                <a:cubicBezTo>
                  <a:pt x="9100330" y="904519"/>
                  <a:pt x="9099473" y="914615"/>
                  <a:pt x="9095092" y="924331"/>
                </a:cubicBezTo>
                <a:cubicBezTo>
                  <a:pt x="9090996" y="933475"/>
                  <a:pt x="9090901" y="943476"/>
                  <a:pt x="9090805" y="953287"/>
                </a:cubicBezTo>
                <a:cubicBezTo>
                  <a:pt x="9090710" y="962621"/>
                  <a:pt x="9089758" y="971670"/>
                  <a:pt x="9085757" y="980433"/>
                </a:cubicBezTo>
                <a:cubicBezTo>
                  <a:pt x="9081376" y="990053"/>
                  <a:pt x="9080994" y="1000435"/>
                  <a:pt x="9080899" y="1010818"/>
                </a:cubicBezTo>
                <a:cubicBezTo>
                  <a:pt x="9080804" y="1020724"/>
                  <a:pt x="9079661" y="1030249"/>
                  <a:pt x="9075375" y="1039393"/>
                </a:cubicBezTo>
                <a:cubicBezTo>
                  <a:pt x="9071565" y="1047489"/>
                  <a:pt x="9071374" y="1056443"/>
                  <a:pt x="9071184" y="1065205"/>
                </a:cubicBezTo>
                <a:cubicBezTo>
                  <a:pt x="9070993" y="1076636"/>
                  <a:pt x="9069469" y="1087589"/>
                  <a:pt x="9065183" y="1098448"/>
                </a:cubicBezTo>
                <a:cubicBezTo>
                  <a:pt x="9062230" y="1105877"/>
                  <a:pt x="9061849" y="1114545"/>
                  <a:pt x="9061373" y="1122736"/>
                </a:cubicBezTo>
                <a:cubicBezTo>
                  <a:pt x="9060706" y="1134166"/>
                  <a:pt x="9059373" y="1145120"/>
                  <a:pt x="9055277" y="1155979"/>
                </a:cubicBezTo>
                <a:cubicBezTo>
                  <a:pt x="9052229" y="1163980"/>
                  <a:pt x="9051658" y="1173124"/>
                  <a:pt x="9051276" y="1181791"/>
                </a:cubicBezTo>
                <a:cubicBezTo>
                  <a:pt x="9050705" y="1192650"/>
                  <a:pt x="9049181" y="1203032"/>
                  <a:pt x="9045466" y="1213510"/>
                </a:cubicBezTo>
                <a:cubicBezTo>
                  <a:pt x="9042418" y="1222082"/>
                  <a:pt x="9041847" y="1231703"/>
                  <a:pt x="9041371" y="1240846"/>
                </a:cubicBezTo>
                <a:cubicBezTo>
                  <a:pt x="9040799" y="1250753"/>
                  <a:pt x="9039942" y="1260182"/>
                  <a:pt x="9036037" y="1269517"/>
                </a:cubicBezTo>
                <a:cubicBezTo>
                  <a:pt x="9033655" y="1275136"/>
                  <a:pt x="9033179" y="1281518"/>
                  <a:pt x="9032036" y="1287519"/>
                </a:cubicBezTo>
                <a:cubicBezTo>
                  <a:pt x="9030417" y="1295996"/>
                  <a:pt x="9028607" y="1297711"/>
                  <a:pt x="9019653" y="1298092"/>
                </a:cubicBezTo>
                <a:cubicBezTo>
                  <a:pt x="9017082" y="1298187"/>
                  <a:pt x="9014510" y="1298092"/>
                  <a:pt x="9011938" y="1298092"/>
                </a:cubicBezTo>
                <a:cubicBezTo>
                  <a:pt x="8935548" y="1298092"/>
                  <a:pt x="8859157" y="1298092"/>
                  <a:pt x="8782767" y="1298092"/>
                </a:cubicBezTo>
                <a:cubicBezTo>
                  <a:pt x="8779147" y="1298092"/>
                  <a:pt x="8775528" y="1298092"/>
                  <a:pt x="8772003" y="1297520"/>
                </a:cubicBezTo>
                <a:cubicBezTo>
                  <a:pt x="8768574" y="1296949"/>
                  <a:pt x="8766669" y="1294186"/>
                  <a:pt x="8766860" y="1290757"/>
                </a:cubicBezTo>
                <a:cubicBezTo>
                  <a:pt x="8767051" y="1287710"/>
                  <a:pt x="8767718" y="1284566"/>
                  <a:pt x="8769051" y="1281804"/>
                </a:cubicBezTo>
                <a:cubicBezTo>
                  <a:pt x="8774290" y="1270755"/>
                  <a:pt x="8775623" y="1259039"/>
                  <a:pt x="8775623" y="1247133"/>
                </a:cubicBezTo>
                <a:cubicBezTo>
                  <a:pt x="8775623" y="1236656"/>
                  <a:pt x="8776861" y="1226654"/>
                  <a:pt x="8781243" y="1216939"/>
                </a:cubicBezTo>
                <a:cubicBezTo>
                  <a:pt x="8785339" y="1207795"/>
                  <a:pt x="8785339" y="1197793"/>
                  <a:pt x="8785624" y="1187983"/>
                </a:cubicBezTo>
                <a:cubicBezTo>
                  <a:pt x="8785910" y="1177601"/>
                  <a:pt x="8787720" y="1167790"/>
                  <a:pt x="8791053" y="1157788"/>
                </a:cubicBezTo>
                <a:cubicBezTo>
                  <a:pt x="8794101" y="1148645"/>
                  <a:pt x="8794864" y="1138643"/>
                  <a:pt x="8795530" y="1128928"/>
                </a:cubicBezTo>
                <a:cubicBezTo>
                  <a:pt x="8796197" y="1118545"/>
                  <a:pt x="8796769" y="1108449"/>
                  <a:pt x="8801245" y="1098829"/>
                </a:cubicBezTo>
                <a:cubicBezTo>
                  <a:pt x="8805246" y="1090256"/>
                  <a:pt x="8805341" y="1080731"/>
                  <a:pt x="8805436" y="1071492"/>
                </a:cubicBezTo>
                <a:cubicBezTo>
                  <a:pt x="8805531" y="1060538"/>
                  <a:pt x="8807246" y="1050156"/>
                  <a:pt x="8811151" y="1039774"/>
                </a:cubicBezTo>
                <a:cubicBezTo>
                  <a:pt x="8814104" y="1031773"/>
                  <a:pt x="8814676" y="1022629"/>
                  <a:pt x="8815152" y="1013961"/>
                </a:cubicBezTo>
                <a:cubicBezTo>
                  <a:pt x="8815723" y="1002531"/>
                  <a:pt x="8816962" y="991672"/>
                  <a:pt x="8821153" y="980719"/>
                </a:cubicBezTo>
                <a:cubicBezTo>
                  <a:pt x="8824201" y="972813"/>
                  <a:pt x="8824581" y="963574"/>
                  <a:pt x="8824962" y="954906"/>
                </a:cubicBezTo>
                <a:cubicBezTo>
                  <a:pt x="8825534" y="943476"/>
                  <a:pt x="8826963" y="932617"/>
                  <a:pt x="8831058" y="921664"/>
                </a:cubicBezTo>
                <a:cubicBezTo>
                  <a:pt x="8834011" y="913663"/>
                  <a:pt x="8834583" y="904519"/>
                  <a:pt x="8835059" y="895851"/>
                </a:cubicBezTo>
                <a:cubicBezTo>
                  <a:pt x="8835726" y="884421"/>
                  <a:pt x="8837155" y="873563"/>
                  <a:pt x="8841155" y="862609"/>
                </a:cubicBezTo>
                <a:cubicBezTo>
                  <a:pt x="8844203" y="854131"/>
                  <a:pt x="8844584" y="844416"/>
                  <a:pt x="8845155" y="835177"/>
                </a:cubicBezTo>
                <a:cubicBezTo>
                  <a:pt x="8845727" y="824794"/>
                  <a:pt x="8846394" y="814698"/>
                  <a:pt x="8850871" y="804982"/>
                </a:cubicBezTo>
                <a:cubicBezTo>
                  <a:pt x="8854776" y="796410"/>
                  <a:pt x="8855062" y="786885"/>
                  <a:pt x="8855062" y="777646"/>
                </a:cubicBezTo>
                <a:cubicBezTo>
                  <a:pt x="8855157" y="766692"/>
                  <a:pt x="8856871" y="756310"/>
                  <a:pt x="8860776" y="745927"/>
                </a:cubicBezTo>
                <a:cubicBezTo>
                  <a:pt x="8863729" y="737926"/>
                  <a:pt x="8864396" y="728782"/>
                  <a:pt x="8864777" y="720115"/>
                </a:cubicBezTo>
                <a:cubicBezTo>
                  <a:pt x="8865349" y="708685"/>
                  <a:pt x="8866777" y="697731"/>
                  <a:pt x="8870778" y="686872"/>
                </a:cubicBezTo>
                <a:cubicBezTo>
                  <a:pt x="8873730" y="678871"/>
                  <a:pt x="8874302" y="669727"/>
                  <a:pt x="8874683" y="661060"/>
                </a:cubicBezTo>
                <a:cubicBezTo>
                  <a:pt x="8875159" y="649630"/>
                  <a:pt x="8876969" y="638771"/>
                  <a:pt x="8880684" y="627817"/>
                </a:cubicBezTo>
                <a:cubicBezTo>
                  <a:pt x="8883637" y="619245"/>
                  <a:pt x="8884303" y="609625"/>
                  <a:pt x="8884780" y="600481"/>
                </a:cubicBezTo>
                <a:cubicBezTo>
                  <a:pt x="8885351" y="590098"/>
                  <a:pt x="8886875" y="580192"/>
                  <a:pt x="8890304" y="570286"/>
                </a:cubicBezTo>
                <a:cubicBezTo>
                  <a:pt x="8893257" y="561714"/>
                  <a:pt x="8894209" y="552189"/>
                  <a:pt x="8894685" y="542950"/>
                </a:cubicBezTo>
                <a:cubicBezTo>
                  <a:pt x="8895257" y="531996"/>
                  <a:pt x="8896495" y="521614"/>
                  <a:pt x="8900401" y="511231"/>
                </a:cubicBezTo>
                <a:cubicBezTo>
                  <a:pt x="8903163" y="503707"/>
                  <a:pt x="8903925" y="495134"/>
                  <a:pt x="8904496" y="486943"/>
                </a:cubicBezTo>
                <a:cubicBezTo>
                  <a:pt x="8905259" y="476084"/>
                  <a:pt x="8904973" y="465226"/>
                  <a:pt x="8909735" y="455129"/>
                </a:cubicBezTo>
                <a:cubicBezTo>
                  <a:pt x="8910116" y="454272"/>
                  <a:pt x="8910211" y="453129"/>
                  <a:pt x="8910307" y="452081"/>
                </a:cubicBezTo>
                <a:cubicBezTo>
                  <a:pt x="8910687" y="449033"/>
                  <a:pt x="8907163" y="446366"/>
                  <a:pt x="8904020" y="447128"/>
                </a:cubicBezTo>
                <a:cubicBezTo>
                  <a:pt x="8899829" y="448271"/>
                  <a:pt x="8896590" y="450557"/>
                  <a:pt x="8894209" y="454177"/>
                </a:cubicBezTo>
                <a:cubicBezTo>
                  <a:pt x="8886780" y="465892"/>
                  <a:pt x="8879541" y="477703"/>
                  <a:pt x="8871826" y="489229"/>
                </a:cubicBezTo>
                <a:cubicBezTo>
                  <a:pt x="8860967" y="505421"/>
                  <a:pt x="8849632" y="521328"/>
                  <a:pt x="8838869" y="537520"/>
                </a:cubicBezTo>
                <a:cubicBezTo>
                  <a:pt x="8823153" y="561047"/>
                  <a:pt x="8807913" y="584764"/>
                  <a:pt x="8792196" y="608196"/>
                </a:cubicBezTo>
                <a:cubicBezTo>
                  <a:pt x="8782195" y="623150"/>
                  <a:pt x="8771813" y="637723"/>
                  <a:pt x="8761811" y="652678"/>
                </a:cubicBezTo>
                <a:cubicBezTo>
                  <a:pt x="8751810" y="667632"/>
                  <a:pt x="8742285" y="682777"/>
                  <a:pt x="8732284" y="697731"/>
                </a:cubicBezTo>
                <a:cubicBezTo>
                  <a:pt x="8721997" y="713066"/>
                  <a:pt x="8711234" y="728116"/>
                  <a:pt x="8700947" y="743451"/>
                </a:cubicBezTo>
                <a:cubicBezTo>
                  <a:pt x="8691518" y="757548"/>
                  <a:pt x="8682564" y="771835"/>
                  <a:pt x="8673134" y="785932"/>
                </a:cubicBezTo>
                <a:cubicBezTo>
                  <a:pt x="8663133" y="800887"/>
                  <a:pt x="8652655" y="815460"/>
                  <a:pt x="8642844" y="830509"/>
                </a:cubicBezTo>
                <a:cubicBezTo>
                  <a:pt x="8633034" y="845464"/>
                  <a:pt x="8622366" y="859942"/>
                  <a:pt x="8613031" y="875372"/>
                </a:cubicBezTo>
                <a:cubicBezTo>
                  <a:pt x="8603506" y="891184"/>
                  <a:pt x="8592267" y="905947"/>
                  <a:pt x="8581980" y="921283"/>
                </a:cubicBezTo>
                <a:cubicBezTo>
                  <a:pt x="8572550" y="935380"/>
                  <a:pt x="8563406" y="949572"/>
                  <a:pt x="8554071" y="963669"/>
                </a:cubicBezTo>
                <a:cubicBezTo>
                  <a:pt x="8552071" y="966622"/>
                  <a:pt x="8549499" y="969289"/>
                  <a:pt x="8547499" y="972241"/>
                </a:cubicBezTo>
                <a:cubicBezTo>
                  <a:pt x="8531116" y="996435"/>
                  <a:pt x="8515495" y="1021200"/>
                  <a:pt x="8498446" y="1044917"/>
                </a:cubicBezTo>
                <a:cubicBezTo>
                  <a:pt x="8486825" y="1061110"/>
                  <a:pt x="8476634" y="1078445"/>
                  <a:pt x="8465680" y="1095209"/>
                </a:cubicBezTo>
                <a:cubicBezTo>
                  <a:pt x="8461489" y="1101591"/>
                  <a:pt x="8456917" y="1107687"/>
                  <a:pt x="8452154" y="1114355"/>
                </a:cubicBezTo>
                <a:cubicBezTo>
                  <a:pt x="8445105" y="1111497"/>
                  <a:pt x="8441010" y="1106639"/>
                  <a:pt x="8439771" y="1099686"/>
                </a:cubicBezTo>
                <a:cubicBezTo>
                  <a:pt x="8438152" y="1091018"/>
                  <a:pt x="8436819" y="1082541"/>
                  <a:pt x="8431199" y="1075111"/>
                </a:cubicBezTo>
                <a:cubicBezTo>
                  <a:pt x="8429485" y="1072826"/>
                  <a:pt x="8429294" y="1069301"/>
                  <a:pt x="8428913" y="1066253"/>
                </a:cubicBezTo>
                <a:cubicBezTo>
                  <a:pt x="8428056" y="1060062"/>
                  <a:pt x="8426913" y="1053966"/>
                  <a:pt x="8422722" y="1049108"/>
                </a:cubicBezTo>
                <a:cubicBezTo>
                  <a:pt x="8422341" y="1048727"/>
                  <a:pt x="8421960" y="1048251"/>
                  <a:pt x="8421865" y="1047775"/>
                </a:cubicBezTo>
                <a:cubicBezTo>
                  <a:pt x="8419864" y="1033963"/>
                  <a:pt x="8412149" y="1021962"/>
                  <a:pt x="8409386" y="1008532"/>
                </a:cubicBezTo>
                <a:cubicBezTo>
                  <a:pt x="8407672" y="1000150"/>
                  <a:pt x="8402719" y="993482"/>
                  <a:pt x="8400243" y="985767"/>
                </a:cubicBezTo>
                <a:cubicBezTo>
                  <a:pt x="8397766" y="978052"/>
                  <a:pt x="8398814" y="969193"/>
                  <a:pt x="8393099" y="962431"/>
                </a:cubicBezTo>
                <a:cubicBezTo>
                  <a:pt x="8392813" y="962050"/>
                  <a:pt x="8392337" y="961573"/>
                  <a:pt x="8392242" y="961097"/>
                </a:cubicBezTo>
                <a:cubicBezTo>
                  <a:pt x="8389384" y="947476"/>
                  <a:pt x="8383479" y="934999"/>
                  <a:pt x="8379097" y="921949"/>
                </a:cubicBezTo>
                <a:cubicBezTo>
                  <a:pt x="8378621" y="920521"/>
                  <a:pt x="8379002" y="918711"/>
                  <a:pt x="8378430" y="917377"/>
                </a:cubicBezTo>
                <a:cubicBezTo>
                  <a:pt x="8375764" y="910710"/>
                  <a:pt x="8372239" y="904328"/>
                  <a:pt x="8370144" y="897565"/>
                </a:cubicBezTo>
                <a:cubicBezTo>
                  <a:pt x="8368048" y="890707"/>
                  <a:pt x="8368429" y="883278"/>
                  <a:pt x="8363857" y="877087"/>
                </a:cubicBezTo>
                <a:cubicBezTo>
                  <a:pt x="8362048" y="874705"/>
                  <a:pt x="8360714" y="871562"/>
                  <a:pt x="8360238" y="868609"/>
                </a:cubicBezTo>
                <a:cubicBezTo>
                  <a:pt x="8358904" y="860418"/>
                  <a:pt x="8357380" y="852417"/>
                  <a:pt x="8352236" y="845464"/>
                </a:cubicBezTo>
                <a:cubicBezTo>
                  <a:pt x="8350808" y="843559"/>
                  <a:pt x="8350332" y="840701"/>
                  <a:pt x="8350046" y="838129"/>
                </a:cubicBezTo>
                <a:cubicBezTo>
                  <a:pt x="8349094" y="830890"/>
                  <a:pt x="8347379" y="824032"/>
                  <a:pt x="8342998" y="817936"/>
                </a:cubicBezTo>
                <a:cubicBezTo>
                  <a:pt x="8341283" y="815555"/>
                  <a:pt x="8340616" y="812221"/>
                  <a:pt x="8340140" y="809173"/>
                </a:cubicBezTo>
                <a:cubicBezTo>
                  <a:pt x="8338997" y="802030"/>
                  <a:pt x="8337949" y="794886"/>
                  <a:pt x="8332901" y="789076"/>
                </a:cubicBezTo>
                <a:cubicBezTo>
                  <a:pt x="8330710" y="774788"/>
                  <a:pt x="8322805" y="762310"/>
                  <a:pt x="8319852" y="748309"/>
                </a:cubicBezTo>
                <a:cubicBezTo>
                  <a:pt x="8318614" y="742689"/>
                  <a:pt x="8317756" y="737165"/>
                  <a:pt x="8313851" y="732688"/>
                </a:cubicBezTo>
                <a:cubicBezTo>
                  <a:pt x="8313184" y="731926"/>
                  <a:pt x="8312232" y="730973"/>
                  <a:pt x="8312232" y="730116"/>
                </a:cubicBezTo>
                <a:cubicBezTo>
                  <a:pt x="8311755" y="715352"/>
                  <a:pt x="8302802" y="703255"/>
                  <a:pt x="8299277" y="689349"/>
                </a:cubicBezTo>
                <a:cubicBezTo>
                  <a:pt x="8295659" y="675157"/>
                  <a:pt x="8289562" y="661536"/>
                  <a:pt x="8284990" y="647439"/>
                </a:cubicBezTo>
                <a:cubicBezTo>
                  <a:pt x="8284705" y="646486"/>
                  <a:pt x="8283562" y="645724"/>
                  <a:pt x="8283371" y="644772"/>
                </a:cubicBezTo>
                <a:cubicBezTo>
                  <a:pt x="8280609" y="630580"/>
                  <a:pt x="8273560" y="617911"/>
                  <a:pt x="8269941" y="604100"/>
                </a:cubicBezTo>
                <a:cubicBezTo>
                  <a:pt x="8269655" y="603148"/>
                  <a:pt x="8269941" y="601909"/>
                  <a:pt x="8269465" y="601052"/>
                </a:cubicBezTo>
                <a:cubicBezTo>
                  <a:pt x="8262321" y="588479"/>
                  <a:pt x="8260987" y="573715"/>
                  <a:pt x="8254701" y="560857"/>
                </a:cubicBezTo>
                <a:cubicBezTo>
                  <a:pt x="8252891" y="557237"/>
                  <a:pt x="8251367" y="553237"/>
                  <a:pt x="8250700" y="549236"/>
                </a:cubicBezTo>
                <a:cubicBezTo>
                  <a:pt x="8249557" y="542569"/>
                  <a:pt x="8248224" y="536187"/>
                  <a:pt x="8243937" y="530567"/>
                </a:cubicBezTo>
                <a:cubicBezTo>
                  <a:pt x="8242414" y="528662"/>
                  <a:pt x="8241747" y="525900"/>
                  <a:pt x="8241271" y="523423"/>
                </a:cubicBezTo>
                <a:cubicBezTo>
                  <a:pt x="8239937" y="515232"/>
                  <a:pt x="8238699" y="507136"/>
                  <a:pt x="8233174" y="500373"/>
                </a:cubicBezTo>
                <a:cubicBezTo>
                  <a:pt x="8231936" y="498849"/>
                  <a:pt x="8231460" y="496563"/>
                  <a:pt x="8231174" y="494563"/>
                </a:cubicBezTo>
                <a:cubicBezTo>
                  <a:pt x="8230031" y="486371"/>
                  <a:pt x="8228411" y="478561"/>
                  <a:pt x="8223364" y="471417"/>
                </a:cubicBezTo>
                <a:cubicBezTo>
                  <a:pt x="8220887" y="467988"/>
                  <a:pt x="8220887" y="462654"/>
                  <a:pt x="8220220" y="458082"/>
                </a:cubicBezTo>
                <a:cubicBezTo>
                  <a:pt x="8218982" y="448462"/>
                  <a:pt x="8213267" y="442556"/>
                  <a:pt x="8203933" y="437984"/>
                </a:cubicBezTo>
                <a:cubicBezTo>
                  <a:pt x="8202313" y="441127"/>
                  <a:pt x="8200218" y="443509"/>
                  <a:pt x="8199932" y="446176"/>
                </a:cubicBezTo>
                <a:cubicBezTo>
                  <a:pt x="8199075" y="454367"/>
                  <a:pt x="8199170" y="462654"/>
                  <a:pt x="8198313" y="470845"/>
                </a:cubicBezTo>
                <a:cubicBezTo>
                  <a:pt x="8197741" y="476941"/>
                  <a:pt x="8197265" y="483323"/>
                  <a:pt x="8194979" y="488943"/>
                </a:cubicBezTo>
                <a:cubicBezTo>
                  <a:pt x="8190693" y="499706"/>
                  <a:pt x="8188883" y="510755"/>
                  <a:pt x="8188788" y="522185"/>
                </a:cubicBezTo>
                <a:cubicBezTo>
                  <a:pt x="8188692" y="533139"/>
                  <a:pt x="8187073" y="543521"/>
                  <a:pt x="8183168" y="553903"/>
                </a:cubicBezTo>
                <a:cubicBezTo>
                  <a:pt x="8180215" y="561904"/>
                  <a:pt x="8179549" y="571048"/>
                  <a:pt x="8179072" y="579716"/>
                </a:cubicBezTo>
                <a:cubicBezTo>
                  <a:pt x="8178501" y="591146"/>
                  <a:pt x="8177262" y="602100"/>
                  <a:pt x="8172976" y="612958"/>
                </a:cubicBezTo>
                <a:cubicBezTo>
                  <a:pt x="8170024" y="620388"/>
                  <a:pt x="8169642" y="629056"/>
                  <a:pt x="8169071" y="637247"/>
                </a:cubicBezTo>
                <a:cubicBezTo>
                  <a:pt x="8168309" y="649630"/>
                  <a:pt x="8167071" y="661631"/>
                  <a:pt x="8162594" y="673538"/>
                </a:cubicBezTo>
                <a:cubicBezTo>
                  <a:pt x="8159451" y="682015"/>
                  <a:pt x="8159355" y="691730"/>
                  <a:pt x="8158784" y="700969"/>
                </a:cubicBezTo>
                <a:cubicBezTo>
                  <a:pt x="8158212" y="710875"/>
                  <a:pt x="8156689" y="720210"/>
                  <a:pt x="8153450" y="729640"/>
                </a:cubicBezTo>
                <a:cubicBezTo>
                  <a:pt x="8150497" y="738212"/>
                  <a:pt x="8149545" y="747737"/>
                  <a:pt x="8149069" y="756976"/>
                </a:cubicBezTo>
                <a:cubicBezTo>
                  <a:pt x="8148497" y="768406"/>
                  <a:pt x="8146973" y="779265"/>
                  <a:pt x="8142972" y="790219"/>
                </a:cubicBezTo>
                <a:cubicBezTo>
                  <a:pt x="8140020" y="798220"/>
                  <a:pt x="8139544" y="807364"/>
                  <a:pt x="8139162" y="816031"/>
                </a:cubicBezTo>
                <a:cubicBezTo>
                  <a:pt x="8138686" y="826985"/>
                  <a:pt x="8137258" y="837367"/>
                  <a:pt x="8133352" y="847750"/>
                </a:cubicBezTo>
                <a:cubicBezTo>
                  <a:pt x="8130399" y="855751"/>
                  <a:pt x="8129828" y="864895"/>
                  <a:pt x="8129352" y="873563"/>
                </a:cubicBezTo>
                <a:cubicBezTo>
                  <a:pt x="8128780" y="884992"/>
                  <a:pt x="8127447" y="895946"/>
                  <a:pt x="8123256" y="906805"/>
                </a:cubicBezTo>
                <a:cubicBezTo>
                  <a:pt x="8120398" y="914329"/>
                  <a:pt x="8119827" y="922902"/>
                  <a:pt x="8119351" y="931093"/>
                </a:cubicBezTo>
                <a:cubicBezTo>
                  <a:pt x="8118589" y="943476"/>
                  <a:pt x="8117350" y="955477"/>
                  <a:pt x="8112874" y="967384"/>
                </a:cubicBezTo>
                <a:cubicBezTo>
                  <a:pt x="8109730" y="975861"/>
                  <a:pt x="8109540" y="985576"/>
                  <a:pt x="8109159" y="994816"/>
                </a:cubicBezTo>
                <a:cubicBezTo>
                  <a:pt x="8108683" y="1004722"/>
                  <a:pt x="8107635" y="1014247"/>
                  <a:pt x="8103634" y="1023486"/>
                </a:cubicBezTo>
                <a:cubicBezTo>
                  <a:pt x="8099634" y="1032630"/>
                  <a:pt x="8099252" y="1042536"/>
                  <a:pt x="8099252" y="1052442"/>
                </a:cubicBezTo>
                <a:cubicBezTo>
                  <a:pt x="8099252" y="1062920"/>
                  <a:pt x="8097919" y="1072921"/>
                  <a:pt x="8093633" y="1082636"/>
                </a:cubicBezTo>
                <a:cubicBezTo>
                  <a:pt x="8089823" y="1091304"/>
                  <a:pt x="8089347" y="1100734"/>
                  <a:pt x="8089347" y="1109973"/>
                </a:cubicBezTo>
                <a:cubicBezTo>
                  <a:pt x="8089347" y="1120927"/>
                  <a:pt x="8087442" y="1131309"/>
                  <a:pt x="8083727" y="1141691"/>
                </a:cubicBezTo>
                <a:cubicBezTo>
                  <a:pt x="8080869" y="1149788"/>
                  <a:pt x="8080108" y="1158836"/>
                  <a:pt x="8079631" y="1167504"/>
                </a:cubicBezTo>
                <a:cubicBezTo>
                  <a:pt x="8079060" y="1178934"/>
                  <a:pt x="8077631" y="1189793"/>
                  <a:pt x="8073726" y="1200746"/>
                </a:cubicBezTo>
                <a:cubicBezTo>
                  <a:pt x="8070677" y="1209319"/>
                  <a:pt x="8070106" y="1218939"/>
                  <a:pt x="8069535" y="1228083"/>
                </a:cubicBezTo>
                <a:cubicBezTo>
                  <a:pt x="8068868" y="1238941"/>
                  <a:pt x="8067725" y="1249514"/>
                  <a:pt x="8063629" y="1259801"/>
                </a:cubicBezTo>
                <a:cubicBezTo>
                  <a:pt x="8061248" y="1265897"/>
                  <a:pt x="8060867" y="1272850"/>
                  <a:pt x="8059819" y="1279423"/>
                </a:cubicBezTo>
                <a:cubicBezTo>
                  <a:pt x="8059248" y="1282947"/>
                  <a:pt x="8059438" y="1286662"/>
                  <a:pt x="8058867" y="1290186"/>
                </a:cubicBezTo>
                <a:cubicBezTo>
                  <a:pt x="8058105" y="1295044"/>
                  <a:pt x="8055533" y="1297235"/>
                  <a:pt x="8050485" y="1297615"/>
                </a:cubicBezTo>
                <a:cubicBezTo>
                  <a:pt x="8047436" y="1297901"/>
                  <a:pt x="8044294" y="1297806"/>
                  <a:pt x="8041246" y="1297806"/>
                </a:cubicBezTo>
                <a:cubicBezTo>
                  <a:pt x="7967427" y="1297806"/>
                  <a:pt x="7893608" y="1297806"/>
                  <a:pt x="7819789" y="1297806"/>
                </a:cubicBezTo>
                <a:cubicBezTo>
                  <a:pt x="7814646" y="1297806"/>
                  <a:pt x="7809502" y="1297615"/>
                  <a:pt x="7804359" y="1296853"/>
                </a:cubicBezTo>
                <a:cubicBezTo>
                  <a:pt x="7800168" y="1296282"/>
                  <a:pt x="7797691" y="1292758"/>
                  <a:pt x="7798930" y="1288948"/>
                </a:cubicBezTo>
                <a:cubicBezTo>
                  <a:pt x="7803692" y="1275041"/>
                  <a:pt x="7803501" y="1260563"/>
                  <a:pt x="7804359" y="1246085"/>
                </a:cubicBezTo>
                <a:cubicBezTo>
                  <a:pt x="7804549" y="1242085"/>
                  <a:pt x="7805597" y="1237799"/>
                  <a:pt x="7807216" y="1234179"/>
                </a:cubicBezTo>
                <a:cubicBezTo>
                  <a:pt x="7812074" y="1223606"/>
                  <a:pt x="7813408" y="1212367"/>
                  <a:pt x="7813598" y="1200937"/>
                </a:cubicBezTo>
                <a:cubicBezTo>
                  <a:pt x="7813788" y="1190555"/>
                  <a:pt x="7815217" y="1180649"/>
                  <a:pt x="7819027" y="1170743"/>
                </a:cubicBezTo>
                <a:cubicBezTo>
                  <a:pt x="7822075" y="1162741"/>
                  <a:pt x="7822837" y="1153693"/>
                  <a:pt x="7823313" y="1145025"/>
                </a:cubicBezTo>
                <a:cubicBezTo>
                  <a:pt x="7823885" y="1133595"/>
                  <a:pt x="7825123" y="1122641"/>
                  <a:pt x="7829314" y="1111783"/>
                </a:cubicBezTo>
                <a:cubicBezTo>
                  <a:pt x="7832172" y="1104258"/>
                  <a:pt x="7832743" y="1095686"/>
                  <a:pt x="7833124" y="1087494"/>
                </a:cubicBezTo>
                <a:cubicBezTo>
                  <a:pt x="7833601" y="1076064"/>
                  <a:pt x="7835220" y="1065205"/>
                  <a:pt x="7839220" y="1054252"/>
                </a:cubicBezTo>
                <a:cubicBezTo>
                  <a:pt x="7842173" y="1046251"/>
                  <a:pt x="7842649" y="1037107"/>
                  <a:pt x="7843126" y="1028439"/>
                </a:cubicBezTo>
                <a:cubicBezTo>
                  <a:pt x="7843697" y="1017580"/>
                  <a:pt x="7845507" y="1007198"/>
                  <a:pt x="7849031" y="996721"/>
                </a:cubicBezTo>
                <a:cubicBezTo>
                  <a:pt x="7852079" y="987672"/>
                  <a:pt x="7852651" y="977480"/>
                  <a:pt x="7853317" y="967765"/>
                </a:cubicBezTo>
                <a:cubicBezTo>
                  <a:pt x="7853889" y="958430"/>
                  <a:pt x="7854841" y="949381"/>
                  <a:pt x="7858651" y="940714"/>
                </a:cubicBezTo>
                <a:cubicBezTo>
                  <a:pt x="7862937" y="931093"/>
                  <a:pt x="7863128" y="920616"/>
                  <a:pt x="7863319" y="910329"/>
                </a:cubicBezTo>
                <a:cubicBezTo>
                  <a:pt x="7863414" y="900994"/>
                  <a:pt x="7864366" y="891850"/>
                  <a:pt x="7868367" y="883183"/>
                </a:cubicBezTo>
                <a:cubicBezTo>
                  <a:pt x="7872177" y="875086"/>
                  <a:pt x="7872844" y="866228"/>
                  <a:pt x="7872939" y="857465"/>
                </a:cubicBezTo>
                <a:cubicBezTo>
                  <a:pt x="7873129" y="845559"/>
                  <a:pt x="7874558" y="834034"/>
                  <a:pt x="7879130" y="822699"/>
                </a:cubicBezTo>
                <a:cubicBezTo>
                  <a:pt x="7882083" y="815269"/>
                  <a:pt x="7882369" y="806602"/>
                  <a:pt x="7882749" y="798410"/>
                </a:cubicBezTo>
                <a:cubicBezTo>
                  <a:pt x="7883226" y="787456"/>
                  <a:pt x="7884559" y="777074"/>
                  <a:pt x="7888560" y="766692"/>
                </a:cubicBezTo>
                <a:cubicBezTo>
                  <a:pt x="7891417" y="759167"/>
                  <a:pt x="7892084" y="750595"/>
                  <a:pt x="7892560" y="742403"/>
                </a:cubicBezTo>
                <a:cubicBezTo>
                  <a:pt x="7893227" y="730497"/>
                  <a:pt x="7894751" y="719067"/>
                  <a:pt x="7898847" y="707637"/>
                </a:cubicBezTo>
                <a:cubicBezTo>
                  <a:pt x="7901990" y="699160"/>
                  <a:pt x="7902276" y="689444"/>
                  <a:pt x="7902752" y="680205"/>
                </a:cubicBezTo>
                <a:cubicBezTo>
                  <a:pt x="7903228" y="670299"/>
                  <a:pt x="7904276" y="660774"/>
                  <a:pt x="7908372" y="651630"/>
                </a:cubicBezTo>
                <a:cubicBezTo>
                  <a:pt x="7912467" y="642486"/>
                  <a:pt x="7912658" y="632485"/>
                  <a:pt x="7912658" y="622674"/>
                </a:cubicBezTo>
                <a:cubicBezTo>
                  <a:pt x="7912753" y="612768"/>
                  <a:pt x="7913801" y="603243"/>
                  <a:pt x="7917992" y="594004"/>
                </a:cubicBezTo>
                <a:cubicBezTo>
                  <a:pt x="7922183" y="584860"/>
                  <a:pt x="7922374" y="574954"/>
                  <a:pt x="7922468" y="565143"/>
                </a:cubicBezTo>
                <a:cubicBezTo>
                  <a:pt x="7922564" y="555237"/>
                  <a:pt x="7923517" y="545712"/>
                  <a:pt x="7927898" y="536568"/>
                </a:cubicBezTo>
                <a:cubicBezTo>
                  <a:pt x="7932089" y="527995"/>
                  <a:pt x="7932089" y="518470"/>
                  <a:pt x="7932184" y="509231"/>
                </a:cubicBezTo>
                <a:cubicBezTo>
                  <a:pt x="7932280" y="498277"/>
                  <a:pt x="7934089" y="487895"/>
                  <a:pt x="7938090" y="477513"/>
                </a:cubicBezTo>
                <a:cubicBezTo>
                  <a:pt x="7940852" y="470464"/>
                  <a:pt x="7941328" y="462463"/>
                  <a:pt x="7941805" y="454748"/>
                </a:cubicBezTo>
                <a:cubicBezTo>
                  <a:pt x="7942567" y="442366"/>
                  <a:pt x="7943900" y="430364"/>
                  <a:pt x="7948377" y="418458"/>
                </a:cubicBezTo>
                <a:cubicBezTo>
                  <a:pt x="7951520" y="409981"/>
                  <a:pt x="7951710" y="400265"/>
                  <a:pt x="7952186" y="391026"/>
                </a:cubicBezTo>
                <a:cubicBezTo>
                  <a:pt x="7952663" y="381691"/>
                  <a:pt x="7953520" y="372547"/>
                  <a:pt x="7957426" y="363880"/>
                </a:cubicBezTo>
                <a:cubicBezTo>
                  <a:pt x="7961521" y="354736"/>
                  <a:pt x="7962093" y="344830"/>
                  <a:pt x="7962093" y="335019"/>
                </a:cubicBezTo>
                <a:cubicBezTo>
                  <a:pt x="7962093" y="324541"/>
                  <a:pt x="7963236" y="314540"/>
                  <a:pt x="7967712" y="304920"/>
                </a:cubicBezTo>
                <a:cubicBezTo>
                  <a:pt x="7971713" y="296347"/>
                  <a:pt x="7971809" y="286822"/>
                  <a:pt x="7971903" y="277583"/>
                </a:cubicBezTo>
                <a:cubicBezTo>
                  <a:pt x="7971999" y="267201"/>
                  <a:pt x="7973618" y="257295"/>
                  <a:pt x="7977428" y="247389"/>
                </a:cubicBezTo>
                <a:cubicBezTo>
                  <a:pt x="7980285" y="239864"/>
                  <a:pt x="7981047" y="231292"/>
                  <a:pt x="7981524" y="223195"/>
                </a:cubicBezTo>
                <a:cubicBezTo>
                  <a:pt x="7982190" y="211289"/>
                  <a:pt x="7983143" y="199764"/>
                  <a:pt x="7987905" y="188429"/>
                </a:cubicBezTo>
                <a:cubicBezTo>
                  <a:pt x="7990763" y="181571"/>
                  <a:pt x="7991049" y="173284"/>
                  <a:pt x="7991430" y="165664"/>
                </a:cubicBezTo>
                <a:cubicBezTo>
                  <a:pt x="7992096" y="153282"/>
                  <a:pt x="7993525" y="141280"/>
                  <a:pt x="7998002" y="129374"/>
                </a:cubicBezTo>
                <a:cubicBezTo>
                  <a:pt x="8001145" y="120897"/>
                  <a:pt x="8001240" y="111181"/>
                  <a:pt x="8001717" y="101942"/>
                </a:cubicBezTo>
                <a:cubicBezTo>
                  <a:pt x="8002193" y="92512"/>
                  <a:pt x="8003241" y="83559"/>
                  <a:pt x="8007051" y="74796"/>
                </a:cubicBezTo>
                <a:cubicBezTo>
                  <a:pt x="8010861" y="66128"/>
                  <a:pt x="8011908" y="56698"/>
                  <a:pt x="8011432" y="47459"/>
                </a:cubicBezTo>
                <a:cubicBezTo>
                  <a:pt x="8011337" y="30981"/>
                  <a:pt x="8017147" y="16408"/>
                  <a:pt x="8025339" y="1072"/>
                </a:cubicBezTo>
                <a:cubicBezTo>
                  <a:pt x="8125256" y="1072"/>
                  <a:pt x="8224316" y="1072"/>
                  <a:pt x="8323090" y="1072"/>
                </a:cubicBezTo>
                <a:cubicBezTo>
                  <a:pt x="8326996" y="7264"/>
                  <a:pt x="8330615" y="12883"/>
                  <a:pt x="8334139" y="18503"/>
                </a:cubicBezTo>
                <a:cubicBezTo>
                  <a:pt x="8334425" y="18979"/>
                  <a:pt x="8334806" y="19360"/>
                  <a:pt x="8334901" y="19837"/>
                </a:cubicBezTo>
                <a:cubicBezTo>
                  <a:pt x="8336140" y="33838"/>
                  <a:pt x="8344521" y="45649"/>
                  <a:pt x="8347284" y="59175"/>
                </a:cubicBezTo>
                <a:cubicBezTo>
                  <a:pt x="8347760" y="61651"/>
                  <a:pt x="8347379" y="64890"/>
                  <a:pt x="8348808" y="66700"/>
                </a:cubicBezTo>
                <a:cubicBezTo>
                  <a:pt x="8357380" y="77749"/>
                  <a:pt x="8355666" y="92512"/>
                  <a:pt x="8362714" y="103942"/>
                </a:cubicBezTo>
                <a:cubicBezTo>
                  <a:pt x="8363476" y="105276"/>
                  <a:pt x="8364715" y="106514"/>
                  <a:pt x="8365000" y="107943"/>
                </a:cubicBezTo>
                <a:cubicBezTo>
                  <a:pt x="8367096" y="119659"/>
                  <a:pt x="8372144" y="130327"/>
                  <a:pt x="8375954" y="141471"/>
                </a:cubicBezTo>
                <a:cubicBezTo>
                  <a:pt x="8378716" y="149662"/>
                  <a:pt x="8380050" y="158235"/>
                  <a:pt x="8384622" y="165950"/>
                </a:cubicBezTo>
                <a:cubicBezTo>
                  <a:pt x="8386336" y="168903"/>
                  <a:pt x="8386051" y="172999"/>
                  <a:pt x="8387194" y="176332"/>
                </a:cubicBezTo>
                <a:cubicBezTo>
                  <a:pt x="8391956" y="190334"/>
                  <a:pt x="8396814" y="204241"/>
                  <a:pt x="8401767" y="218242"/>
                </a:cubicBezTo>
                <a:cubicBezTo>
                  <a:pt x="8403005" y="221576"/>
                  <a:pt x="8405196" y="224719"/>
                  <a:pt x="8405768" y="228148"/>
                </a:cubicBezTo>
                <a:cubicBezTo>
                  <a:pt x="8407101" y="236435"/>
                  <a:pt x="8408625" y="244436"/>
                  <a:pt x="8414054" y="251104"/>
                </a:cubicBezTo>
                <a:cubicBezTo>
                  <a:pt x="8415006" y="266248"/>
                  <a:pt x="8423865" y="278917"/>
                  <a:pt x="8427294" y="293490"/>
                </a:cubicBezTo>
                <a:cubicBezTo>
                  <a:pt x="8430246" y="306253"/>
                  <a:pt x="8437390" y="317969"/>
                  <a:pt x="8439486" y="331304"/>
                </a:cubicBezTo>
                <a:cubicBezTo>
                  <a:pt x="8444724" y="337495"/>
                  <a:pt x="8444915" y="345496"/>
                  <a:pt x="8447296" y="352735"/>
                </a:cubicBezTo>
                <a:cubicBezTo>
                  <a:pt x="8451392" y="364832"/>
                  <a:pt x="8456726" y="376453"/>
                  <a:pt x="8459203" y="389026"/>
                </a:cubicBezTo>
                <a:cubicBezTo>
                  <a:pt x="8464727" y="395693"/>
                  <a:pt x="8464822" y="404266"/>
                  <a:pt x="8467585" y="411886"/>
                </a:cubicBezTo>
                <a:cubicBezTo>
                  <a:pt x="8471776" y="423411"/>
                  <a:pt x="8475681" y="434936"/>
                  <a:pt x="8479396" y="446652"/>
                </a:cubicBezTo>
                <a:cubicBezTo>
                  <a:pt x="8481872" y="454367"/>
                  <a:pt x="8486539" y="461320"/>
                  <a:pt x="8487015" y="469798"/>
                </a:cubicBezTo>
                <a:cubicBezTo>
                  <a:pt x="8487206" y="472274"/>
                  <a:pt x="8488158" y="474941"/>
                  <a:pt x="8489587" y="477037"/>
                </a:cubicBezTo>
                <a:cubicBezTo>
                  <a:pt x="8493778" y="483133"/>
                  <a:pt x="8494540" y="490372"/>
                  <a:pt x="8496921" y="497039"/>
                </a:cubicBezTo>
                <a:cubicBezTo>
                  <a:pt x="8501494" y="510088"/>
                  <a:pt x="8505303" y="523328"/>
                  <a:pt x="8510352" y="536092"/>
                </a:cubicBezTo>
                <a:cubicBezTo>
                  <a:pt x="8512828" y="542378"/>
                  <a:pt x="8515590" y="548284"/>
                  <a:pt x="8516543" y="555046"/>
                </a:cubicBezTo>
                <a:cubicBezTo>
                  <a:pt x="8516924" y="558094"/>
                  <a:pt x="8517686" y="561333"/>
                  <a:pt x="8519401" y="563809"/>
                </a:cubicBezTo>
                <a:cubicBezTo>
                  <a:pt x="8523877" y="570477"/>
                  <a:pt x="8525496" y="577811"/>
                  <a:pt x="8526544" y="585622"/>
                </a:cubicBezTo>
                <a:cubicBezTo>
                  <a:pt x="8527592" y="593146"/>
                  <a:pt x="8534069" y="595623"/>
                  <a:pt x="8540260" y="591241"/>
                </a:cubicBezTo>
                <a:cubicBezTo>
                  <a:pt x="8542642" y="589527"/>
                  <a:pt x="8544642" y="586955"/>
                  <a:pt x="8546356" y="584383"/>
                </a:cubicBezTo>
                <a:cubicBezTo>
                  <a:pt x="8554262" y="572382"/>
                  <a:pt x="8561786" y="560095"/>
                  <a:pt x="8569788" y="548284"/>
                </a:cubicBezTo>
                <a:cubicBezTo>
                  <a:pt x="8580456" y="532567"/>
                  <a:pt x="8591695" y="517232"/>
                  <a:pt x="8602363" y="501516"/>
                </a:cubicBezTo>
                <a:cubicBezTo>
                  <a:pt x="8611221" y="488371"/>
                  <a:pt x="8619603" y="474846"/>
                  <a:pt x="8628271" y="461511"/>
                </a:cubicBezTo>
                <a:cubicBezTo>
                  <a:pt x="8630271" y="458558"/>
                  <a:pt x="8632939" y="455986"/>
                  <a:pt x="8634939" y="453034"/>
                </a:cubicBezTo>
                <a:cubicBezTo>
                  <a:pt x="8651131" y="428745"/>
                  <a:pt x="8667324" y="404361"/>
                  <a:pt x="8683897" y="380263"/>
                </a:cubicBezTo>
                <a:cubicBezTo>
                  <a:pt x="8697232" y="360832"/>
                  <a:pt x="8709805" y="340829"/>
                  <a:pt x="8723521" y="321589"/>
                </a:cubicBezTo>
                <a:cubicBezTo>
                  <a:pt x="8734856" y="305682"/>
                  <a:pt x="8744762" y="288918"/>
                  <a:pt x="8755621" y="272725"/>
                </a:cubicBezTo>
                <a:cubicBezTo>
                  <a:pt x="8764765" y="259105"/>
                  <a:pt x="8774480" y="245865"/>
                  <a:pt x="8783624" y="232244"/>
                </a:cubicBezTo>
                <a:cubicBezTo>
                  <a:pt x="8793625" y="217290"/>
                  <a:pt x="8802865" y="201859"/>
                  <a:pt x="8813151" y="187191"/>
                </a:cubicBezTo>
                <a:cubicBezTo>
                  <a:pt x="8823153" y="172903"/>
                  <a:pt x="8832011" y="157854"/>
                  <a:pt x="8842584" y="143947"/>
                </a:cubicBezTo>
                <a:cubicBezTo>
                  <a:pt x="8854014" y="128803"/>
                  <a:pt x="8863348" y="112229"/>
                  <a:pt x="8873921" y="96418"/>
                </a:cubicBezTo>
                <a:cubicBezTo>
                  <a:pt x="8883065" y="82797"/>
                  <a:pt x="8892590" y="69462"/>
                  <a:pt x="8901829" y="55936"/>
                </a:cubicBezTo>
                <a:cubicBezTo>
                  <a:pt x="8904401" y="52126"/>
                  <a:pt x="8906496" y="47935"/>
                  <a:pt x="8909068" y="44125"/>
                </a:cubicBezTo>
                <a:cubicBezTo>
                  <a:pt x="8918593" y="30124"/>
                  <a:pt x="8928309" y="16217"/>
                  <a:pt x="8938310" y="1739"/>
                </a:cubicBezTo>
                <a:cubicBezTo>
                  <a:pt x="8941549" y="1358"/>
                  <a:pt x="8945073" y="691"/>
                  <a:pt x="8948597" y="691"/>
                </a:cubicBezTo>
                <a:close/>
                <a:moveTo>
                  <a:pt x="7404405" y="596"/>
                </a:moveTo>
                <a:cubicBezTo>
                  <a:pt x="7406405" y="596"/>
                  <a:pt x="7408501" y="977"/>
                  <a:pt x="7410691" y="1263"/>
                </a:cubicBezTo>
                <a:cubicBezTo>
                  <a:pt x="7414978" y="6311"/>
                  <a:pt x="7415358" y="11836"/>
                  <a:pt x="7411643" y="16884"/>
                </a:cubicBezTo>
                <a:cubicBezTo>
                  <a:pt x="7408215" y="21646"/>
                  <a:pt x="7405929" y="26504"/>
                  <a:pt x="7404786" y="32219"/>
                </a:cubicBezTo>
                <a:cubicBezTo>
                  <a:pt x="7404214" y="35077"/>
                  <a:pt x="7402118" y="37744"/>
                  <a:pt x="7400785" y="40411"/>
                </a:cubicBezTo>
                <a:cubicBezTo>
                  <a:pt x="7399166" y="43649"/>
                  <a:pt x="7397547" y="46792"/>
                  <a:pt x="7396023" y="50031"/>
                </a:cubicBezTo>
                <a:cubicBezTo>
                  <a:pt x="7393737" y="55174"/>
                  <a:pt x="7391451" y="60318"/>
                  <a:pt x="7389260" y="65461"/>
                </a:cubicBezTo>
                <a:cubicBezTo>
                  <a:pt x="7388022" y="68319"/>
                  <a:pt x="7386593" y="71081"/>
                  <a:pt x="7385831" y="74034"/>
                </a:cubicBezTo>
                <a:cubicBezTo>
                  <a:pt x="7384593" y="79082"/>
                  <a:pt x="7382878" y="83749"/>
                  <a:pt x="7379640" y="88036"/>
                </a:cubicBezTo>
                <a:cubicBezTo>
                  <a:pt x="7377640" y="90798"/>
                  <a:pt x="7376878" y="94608"/>
                  <a:pt x="7375544" y="97846"/>
                </a:cubicBezTo>
                <a:cubicBezTo>
                  <a:pt x="7374210" y="101180"/>
                  <a:pt x="7372877" y="104418"/>
                  <a:pt x="7371448" y="107752"/>
                </a:cubicBezTo>
                <a:cubicBezTo>
                  <a:pt x="7369638" y="111943"/>
                  <a:pt x="7367733" y="116134"/>
                  <a:pt x="7365734" y="120230"/>
                </a:cubicBezTo>
                <a:cubicBezTo>
                  <a:pt x="7364018" y="123945"/>
                  <a:pt x="7362209" y="127564"/>
                  <a:pt x="7360494" y="131279"/>
                </a:cubicBezTo>
                <a:cubicBezTo>
                  <a:pt x="7358971" y="134518"/>
                  <a:pt x="7357065" y="137661"/>
                  <a:pt x="7356209" y="141090"/>
                </a:cubicBezTo>
                <a:cubicBezTo>
                  <a:pt x="7354780" y="146614"/>
                  <a:pt x="7352684" y="151758"/>
                  <a:pt x="7349350" y="156520"/>
                </a:cubicBezTo>
                <a:cubicBezTo>
                  <a:pt x="7347350" y="159378"/>
                  <a:pt x="7346874" y="163188"/>
                  <a:pt x="7345541" y="166522"/>
                </a:cubicBezTo>
                <a:cubicBezTo>
                  <a:pt x="7344207" y="169855"/>
                  <a:pt x="7342683" y="173094"/>
                  <a:pt x="7341254" y="176332"/>
                </a:cubicBezTo>
                <a:cubicBezTo>
                  <a:pt x="7339540" y="180047"/>
                  <a:pt x="7337825" y="183762"/>
                  <a:pt x="7336206" y="187381"/>
                </a:cubicBezTo>
                <a:cubicBezTo>
                  <a:pt x="7334587" y="191096"/>
                  <a:pt x="7332967" y="194811"/>
                  <a:pt x="7331253" y="198526"/>
                </a:cubicBezTo>
                <a:cubicBezTo>
                  <a:pt x="7329729" y="201764"/>
                  <a:pt x="7328110" y="204907"/>
                  <a:pt x="7326585" y="208241"/>
                </a:cubicBezTo>
                <a:cubicBezTo>
                  <a:pt x="7324490" y="212908"/>
                  <a:pt x="7322394" y="217576"/>
                  <a:pt x="7320394" y="222243"/>
                </a:cubicBezTo>
                <a:cubicBezTo>
                  <a:pt x="7318965" y="225577"/>
                  <a:pt x="7317537" y="228815"/>
                  <a:pt x="7316108" y="232149"/>
                </a:cubicBezTo>
                <a:cubicBezTo>
                  <a:pt x="7314012" y="236816"/>
                  <a:pt x="7311917" y="241388"/>
                  <a:pt x="7309822" y="246055"/>
                </a:cubicBezTo>
                <a:cubicBezTo>
                  <a:pt x="7308583" y="248818"/>
                  <a:pt x="7306964" y="251580"/>
                  <a:pt x="7306392" y="254533"/>
                </a:cubicBezTo>
                <a:cubicBezTo>
                  <a:pt x="7305440" y="259200"/>
                  <a:pt x="7303821" y="263296"/>
                  <a:pt x="7300963" y="267201"/>
                </a:cubicBezTo>
                <a:cubicBezTo>
                  <a:pt x="7298868" y="269963"/>
                  <a:pt x="7298010" y="273678"/>
                  <a:pt x="7296582" y="276916"/>
                </a:cubicBezTo>
                <a:cubicBezTo>
                  <a:pt x="7294962" y="280631"/>
                  <a:pt x="7293438" y="284441"/>
                  <a:pt x="7291724" y="288156"/>
                </a:cubicBezTo>
                <a:cubicBezTo>
                  <a:pt x="7290105" y="291871"/>
                  <a:pt x="7288295" y="295585"/>
                  <a:pt x="7286676" y="299300"/>
                </a:cubicBezTo>
                <a:cubicBezTo>
                  <a:pt x="7284771" y="303491"/>
                  <a:pt x="7282961" y="307682"/>
                  <a:pt x="7281151" y="311968"/>
                </a:cubicBezTo>
                <a:cubicBezTo>
                  <a:pt x="7279532" y="315683"/>
                  <a:pt x="7277913" y="319493"/>
                  <a:pt x="7276294" y="323208"/>
                </a:cubicBezTo>
                <a:cubicBezTo>
                  <a:pt x="7274674" y="326923"/>
                  <a:pt x="7273055" y="330733"/>
                  <a:pt x="7271436" y="334447"/>
                </a:cubicBezTo>
                <a:cubicBezTo>
                  <a:pt x="7269817" y="338162"/>
                  <a:pt x="7268102" y="341877"/>
                  <a:pt x="7266483" y="345592"/>
                </a:cubicBezTo>
                <a:cubicBezTo>
                  <a:pt x="7265054" y="348830"/>
                  <a:pt x="7264292" y="352545"/>
                  <a:pt x="7262292" y="355307"/>
                </a:cubicBezTo>
                <a:cubicBezTo>
                  <a:pt x="7259529" y="359212"/>
                  <a:pt x="7257339" y="363118"/>
                  <a:pt x="7256767" y="367880"/>
                </a:cubicBezTo>
                <a:cubicBezTo>
                  <a:pt x="7256672" y="368928"/>
                  <a:pt x="7256577" y="370166"/>
                  <a:pt x="7256005" y="370833"/>
                </a:cubicBezTo>
                <a:cubicBezTo>
                  <a:pt x="7248195" y="380167"/>
                  <a:pt x="7247719" y="392835"/>
                  <a:pt x="7241051" y="402742"/>
                </a:cubicBezTo>
                <a:cubicBezTo>
                  <a:pt x="7239051" y="405694"/>
                  <a:pt x="7238289" y="409314"/>
                  <a:pt x="7236860" y="412552"/>
                </a:cubicBezTo>
                <a:cubicBezTo>
                  <a:pt x="7235050" y="416743"/>
                  <a:pt x="7233050" y="420839"/>
                  <a:pt x="7231241" y="425030"/>
                </a:cubicBezTo>
                <a:cubicBezTo>
                  <a:pt x="7229812" y="428269"/>
                  <a:pt x="7228573" y="431602"/>
                  <a:pt x="7227144" y="434936"/>
                </a:cubicBezTo>
                <a:cubicBezTo>
                  <a:pt x="7225525" y="438651"/>
                  <a:pt x="7223906" y="442366"/>
                  <a:pt x="7222192" y="446080"/>
                </a:cubicBezTo>
                <a:cubicBezTo>
                  <a:pt x="7220667" y="449319"/>
                  <a:pt x="7219144" y="452557"/>
                  <a:pt x="7217619" y="455796"/>
                </a:cubicBezTo>
                <a:cubicBezTo>
                  <a:pt x="7215524" y="460463"/>
                  <a:pt x="7213428" y="465035"/>
                  <a:pt x="7211428" y="469798"/>
                </a:cubicBezTo>
                <a:cubicBezTo>
                  <a:pt x="7209809" y="473608"/>
                  <a:pt x="7208476" y="477418"/>
                  <a:pt x="7206951" y="481228"/>
                </a:cubicBezTo>
                <a:cubicBezTo>
                  <a:pt x="7205618" y="484561"/>
                  <a:pt x="7204761" y="488181"/>
                  <a:pt x="7202666" y="491038"/>
                </a:cubicBezTo>
                <a:cubicBezTo>
                  <a:pt x="7199617" y="495420"/>
                  <a:pt x="7197808" y="499992"/>
                  <a:pt x="7196759" y="505135"/>
                </a:cubicBezTo>
                <a:cubicBezTo>
                  <a:pt x="7196093" y="508088"/>
                  <a:pt x="7194188" y="510660"/>
                  <a:pt x="7192950" y="513517"/>
                </a:cubicBezTo>
                <a:cubicBezTo>
                  <a:pt x="7191045" y="517708"/>
                  <a:pt x="7189235" y="521899"/>
                  <a:pt x="7187425" y="526090"/>
                </a:cubicBezTo>
                <a:cubicBezTo>
                  <a:pt x="7186187" y="528948"/>
                  <a:pt x="7185139" y="531805"/>
                  <a:pt x="7183806" y="534568"/>
                </a:cubicBezTo>
                <a:cubicBezTo>
                  <a:pt x="7181710" y="539235"/>
                  <a:pt x="7179519" y="543807"/>
                  <a:pt x="7177329" y="548474"/>
                </a:cubicBezTo>
                <a:cubicBezTo>
                  <a:pt x="7175614" y="552189"/>
                  <a:pt x="7173804" y="555904"/>
                  <a:pt x="7172090" y="559618"/>
                </a:cubicBezTo>
                <a:cubicBezTo>
                  <a:pt x="7170376" y="563333"/>
                  <a:pt x="7168851" y="567143"/>
                  <a:pt x="7167232" y="570858"/>
                </a:cubicBezTo>
                <a:cubicBezTo>
                  <a:pt x="7165613" y="574573"/>
                  <a:pt x="7163993" y="578383"/>
                  <a:pt x="7162374" y="582097"/>
                </a:cubicBezTo>
                <a:cubicBezTo>
                  <a:pt x="7160755" y="585812"/>
                  <a:pt x="7159136" y="589527"/>
                  <a:pt x="7157517" y="593242"/>
                </a:cubicBezTo>
                <a:cubicBezTo>
                  <a:pt x="7156088" y="596480"/>
                  <a:pt x="7155326" y="600195"/>
                  <a:pt x="7153326" y="603052"/>
                </a:cubicBezTo>
                <a:cubicBezTo>
                  <a:pt x="7150563" y="606958"/>
                  <a:pt x="7148754" y="610958"/>
                  <a:pt x="7147706" y="615625"/>
                </a:cubicBezTo>
                <a:cubicBezTo>
                  <a:pt x="7146944" y="619054"/>
                  <a:pt x="7144943" y="622197"/>
                  <a:pt x="7143515" y="625436"/>
                </a:cubicBezTo>
                <a:cubicBezTo>
                  <a:pt x="7141610" y="629627"/>
                  <a:pt x="7139705" y="633818"/>
                  <a:pt x="7137800" y="638009"/>
                </a:cubicBezTo>
                <a:cubicBezTo>
                  <a:pt x="7136085" y="641724"/>
                  <a:pt x="7134466" y="645534"/>
                  <a:pt x="7132847" y="649249"/>
                </a:cubicBezTo>
                <a:cubicBezTo>
                  <a:pt x="7131037" y="653440"/>
                  <a:pt x="7129228" y="657726"/>
                  <a:pt x="7127418" y="661917"/>
                </a:cubicBezTo>
                <a:cubicBezTo>
                  <a:pt x="7125989" y="665155"/>
                  <a:pt x="7124560" y="668489"/>
                  <a:pt x="7123131" y="671728"/>
                </a:cubicBezTo>
                <a:cubicBezTo>
                  <a:pt x="7121322" y="675919"/>
                  <a:pt x="7119512" y="680110"/>
                  <a:pt x="7117797" y="684301"/>
                </a:cubicBezTo>
                <a:cubicBezTo>
                  <a:pt x="7117417" y="685253"/>
                  <a:pt x="7117607" y="686587"/>
                  <a:pt x="7117035" y="687253"/>
                </a:cubicBezTo>
                <a:cubicBezTo>
                  <a:pt x="7109415" y="696016"/>
                  <a:pt x="7109225" y="708304"/>
                  <a:pt x="7102462" y="717543"/>
                </a:cubicBezTo>
                <a:cubicBezTo>
                  <a:pt x="7100367" y="720305"/>
                  <a:pt x="7099700" y="724115"/>
                  <a:pt x="7098271" y="727449"/>
                </a:cubicBezTo>
                <a:cubicBezTo>
                  <a:pt x="7096462" y="731640"/>
                  <a:pt x="7094556" y="735831"/>
                  <a:pt x="7092747" y="740117"/>
                </a:cubicBezTo>
                <a:cubicBezTo>
                  <a:pt x="7091128" y="743832"/>
                  <a:pt x="7089699" y="747642"/>
                  <a:pt x="7088079" y="751452"/>
                </a:cubicBezTo>
                <a:cubicBezTo>
                  <a:pt x="7086651" y="754786"/>
                  <a:pt x="7085222" y="758024"/>
                  <a:pt x="7083793" y="761263"/>
                </a:cubicBezTo>
                <a:cubicBezTo>
                  <a:pt x="7082079" y="764977"/>
                  <a:pt x="7080364" y="768597"/>
                  <a:pt x="7078650" y="772312"/>
                </a:cubicBezTo>
                <a:cubicBezTo>
                  <a:pt x="7076745" y="776407"/>
                  <a:pt x="7074744" y="780598"/>
                  <a:pt x="7072840" y="784789"/>
                </a:cubicBezTo>
                <a:cubicBezTo>
                  <a:pt x="7071601" y="787552"/>
                  <a:pt x="7070268" y="790409"/>
                  <a:pt x="7069029" y="793171"/>
                </a:cubicBezTo>
                <a:cubicBezTo>
                  <a:pt x="7067029" y="797839"/>
                  <a:pt x="7064934" y="802506"/>
                  <a:pt x="7063029" y="807268"/>
                </a:cubicBezTo>
                <a:cubicBezTo>
                  <a:pt x="7061410" y="811078"/>
                  <a:pt x="7059981" y="814888"/>
                  <a:pt x="7058362" y="818603"/>
                </a:cubicBezTo>
                <a:cubicBezTo>
                  <a:pt x="7056742" y="822318"/>
                  <a:pt x="7055123" y="826128"/>
                  <a:pt x="7053504" y="829843"/>
                </a:cubicBezTo>
                <a:cubicBezTo>
                  <a:pt x="7051885" y="833557"/>
                  <a:pt x="7050266" y="837272"/>
                  <a:pt x="7048646" y="841082"/>
                </a:cubicBezTo>
                <a:cubicBezTo>
                  <a:pt x="7047217" y="844321"/>
                  <a:pt x="7045884" y="847654"/>
                  <a:pt x="7044550" y="850988"/>
                </a:cubicBezTo>
                <a:cubicBezTo>
                  <a:pt x="7042740" y="855179"/>
                  <a:pt x="7040835" y="859370"/>
                  <a:pt x="7039026" y="863561"/>
                </a:cubicBezTo>
                <a:cubicBezTo>
                  <a:pt x="7037597" y="866799"/>
                  <a:pt x="7036168" y="870133"/>
                  <a:pt x="7034644" y="873372"/>
                </a:cubicBezTo>
                <a:cubicBezTo>
                  <a:pt x="7033120" y="876610"/>
                  <a:pt x="7030834" y="879563"/>
                  <a:pt x="7029787" y="882897"/>
                </a:cubicBezTo>
                <a:cubicBezTo>
                  <a:pt x="7027977" y="888897"/>
                  <a:pt x="7025976" y="894517"/>
                  <a:pt x="7022357" y="899756"/>
                </a:cubicBezTo>
                <a:cubicBezTo>
                  <a:pt x="7020357" y="902614"/>
                  <a:pt x="7019881" y="906424"/>
                  <a:pt x="7018547" y="909757"/>
                </a:cubicBezTo>
                <a:cubicBezTo>
                  <a:pt x="7017213" y="913091"/>
                  <a:pt x="7015690" y="916330"/>
                  <a:pt x="7014165" y="919568"/>
                </a:cubicBezTo>
                <a:cubicBezTo>
                  <a:pt x="7012451" y="923283"/>
                  <a:pt x="7010737" y="926902"/>
                  <a:pt x="7009212" y="930712"/>
                </a:cubicBezTo>
                <a:cubicBezTo>
                  <a:pt x="7008641" y="932141"/>
                  <a:pt x="7009022" y="934141"/>
                  <a:pt x="7008069" y="935189"/>
                </a:cubicBezTo>
                <a:cubicBezTo>
                  <a:pt x="7000545" y="944047"/>
                  <a:pt x="7000164" y="956239"/>
                  <a:pt x="6993401" y="965479"/>
                </a:cubicBezTo>
                <a:cubicBezTo>
                  <a:pt x="6991306" y="968241"/>
                  <a:pt x="6990639" y="972051"/>
                  <a:pt x="6989210" y="975385"/>
                </a:cubicBezTo>
                <a:cubicBezTo>
                  <a:pt x="6987400" y="979576"/>
                  <a:pt x="6985400" y="983767"/>
                  <a:pt x="6983591" y="987958"/>
                </a:cubicBezTo>
                <a:cubicBezTo>
                  <a:pt x="6981971" y="991672"/>
                  <a:pt x="6980447" y="995482"/>
                  <a:pt x="6978923" y="999292"/>
                </a:cubicBezTo>
                <a:cubicBezTo>
                  <a:pt x="6977590" y="1002626"/>
                  <a:pt x="6976161" y="1005865"/>
                  <a:pt x="6974732" y="1009103"/>
                </a:cubicBezTo>
                <a:cubicBezTo>
                  <a:pt x="6972922" y="1013294"/>
                  <a:pt x="6971112" y="1017485"/>
                  <a:pt x="6969208" y="1021676"/>
                </a:cubicBezTo>
                <a:cubicBezTo>
                  <a:pt x="6967779" y="1024915"/>
                  <a:pt x="6966160" y="1028153"/>
                  <a:pt x="6964635" y="1031296"/>
                </a:cubicBezTo>
                <a:cubicBezTo>
                  <a:pt x="6963112" y="1034535"/>
                  <a:pt x="6961397" y="1037678"/>
                  <a:pt x="6959968" y="1040917"/>
                </a:cubicBezTo>
                <a:cubicBezTo>
                  <a:pt x="6957873" y="1045584"/>
                  <a:pt x="6955872" y="1050251"/>
                  <a:pt x="6953872" y="1054918"/>
                </a:cubicBezTo>
                <a:cubicBezTo>
                  <a:pt x="6952444" y="1058252"/>
                  <a:pt x="6951110" y="1061491"/>
                  <a:pt x="6949586" y="1064824"/>
                </a:cubicBezTo>
                <a:cubicBezTo>
                  <a:pt x="6947490" y="1069492"/>
                  <a:pt x="6945395" y="1074159"/>
                  <a:pt x="6943299" y="1078731"/>
                </a:cubicBezTo>
                <a:cubicBezTo>
                  <a:pt x="6942252" y="1081017"/>
                  <a:pt x="6940633" y="1083303"/>
                  <a:pt x="6940156" y="1085779"/>
                </a:cubicBezTo>
                <a:cubicBezTo>
                  <a:pt x="6939013" y="1091494"/>
                  <a:pt x="6937203" y="1096638"/>
                  <a:pt x="6933489" y="1101210"/>
                </a:cubicBezTo>
                <a:cubicBezTo>
                  <a:pt x="6931965" y="1103115"/>
                  <a:pt x="6930822" y="1105687"/>
                  <a:pt x="6930441" y="1108163"/>
                </a:cubicBezTo>
                <a:cubicBezTo>
                  <a:pt x="6929393" y="1113878"/>
                  <a:pt x="6927012" y="1118831"/>
                  <a:pt x="6923583" y="1123498"/>
                </a:cubicBezTo>
                <a:cubicBezTo>
                  <a:pt x="6921773" y="1125880"/>
                  <a:pt x="6921297" y="1129118"/>
                  <a:pt x="6920058" y="1131976"/>
                </a:cubicBezTo>
                <a:cubicBezTo>
                  <a:pt x="6918249" y="1136262"/>
                  <a:pt x="6916439" y="1140453"/>
                  <a:pt x="6914629" y="1144644"/>
                </a:cubicBezTo>
                <a:cubicBezTo>
                  <a:pt x="6913010" y="1148359"/>
                  <a:pt x="6911391" y="1152169"/>
                  <a:pt x="6909772" y="1155883"/>
                </a:cubicBezTo>
                <a:cubicBezTo>
                  <a:pt x="6907962" y="1160074"/>
                  <a:pt x="6905962" y="1164265"/>
                  <a:pt x="6904152" y="1168456"/>
                </a:cubicBezTo>
                <a:cubicBezTo>
                  <a:pt x="6902723" y="1171695"/>
                  <a:pt x="6901484" y="1175029"/>
                  <a:pt x="6900056" y="1178362"/>
                </a:cubicBezTo>
                <a:cubicBezTo>
                  <a:pt x="6898437" y="1182077"/>
                  <a:pt x="6896722" y="1185792"/>
                  <a:pt x="6895103" y="1189507"/>
                </a:cubicBezTo>
                <a:cubicBezTo>
                  <a:pt x="6893484" y="1193221"/>
                  <a:pt x="6891865" y="1197031"/>
                  <a:pt x="6890340" y="1200746"/>
                </a:cubicBezTo>
                <a:cubicBezTo>
                  <a:pt x="6888912" y="1204080"/>
                  <a:pt x="6887578" y="1207318"/>
                  <a:pt x="6886149" y="1210652"/>
                </a:cubicBezTo>
                <a:cubicBezTo>
                  <a:pt x="6884054" y="1215319"/>
                  <a:pt x="6881958" y="1219987"/>
                  <a:pt x="6879863" y="1224559"/>
                </a:cubicBezTo>
                <a:cubicBezTo>
                  <a:pt x="6878434" y="1227797"/>
                  <a:pt x="6877006" y="1231131"/>
                  <a:pt x="6875481" y="1234369"/>
                </a:cubicBezTo>
                <a:cubicBezTo>
                  <a:pt x="6873672" y="1238560"/>
                  <a:pt x="6871767" y="1242751"/>
                  <a:pt x="6869957" y="1246942"/>
                </a:cubicBezTo>
                <a:cubicBezTo>
                  <a:pt x="6868528" y="1250181"/>
                  <a:pt x="6867671" y="1253896"/>
                  <a:pt x="6865671" y="1256658"/>
                </a:cubicBezTo>
                <a:cubicBezTo>
                  <a:pt x="6862813" y="1260563"/>
                  <a:pt x="6861194" y="1264659"/>
                  <a:pt x="6860242" y="1269231"/>
                </a:cubicBezTo>
                <a:cubicBezTo>
                  <a:pt x="6859670" y="1272184"/>
                  <a:pt x="6858432" y="1275232"/>
                  <a:pt x="6856717" y="1277613"/>
                </a:cubicBezTo>
                <a:cubicBezTo>
                  <a:pt x="6850431" y="1286662"/>
                  <a:pt x="6848049" y="1297139"/>
                  <a:pt x="6845097" y="1307426"/>
                </a:cubicBezTo>
                <a:cubicBezTo>
                  <a:pt x="6760038" y="1307331"/>
                  <a:pt x="6675361" y="1307331"/>
                  <a:pt x="6590684" y="1307331"/>
                </a:cubicBezTo>
                <a:cubicBezTo>
                  <a:pt x="6590303" y="1304378"/>
                  <a:pt x="6590779" y="1300949"/>
                  <a:pt x="6589446" y="1298473"/>
                </a:cubicBezTo>
                <a:cubicBezTo>
                  <a:pt x="6585922" y="1291900"/>
                  <a:pt x="6584588" y="1284947"/>
                  <a:pt x="6584397" y="1277613"/>
                </a:cubicBezTo>
                <a:cubicBezTo>
                  <a:pt x="6584207" y="1269802"/>
                  <a:pt x="6582302" y="1262468"/>
                  <a:pt x="6578873" y="1255324"/>
                </a:cubicBezTo>
                <a:cubicBezTo>
                  <a:pt x="6576492" y="1250371"/>
                  <a:pt x="6575253" y="1244561"/>
                  <a:pt x="6574777" y="1239037"/>
                </a:cubicBezTo>
                <a:cubicBezTo>
                  <a:pt x="6574016" y="1230178"/>
                  <a:pt x="6572396" y="1221892"/>
                  <a:pt x="6568586" y="1213700"/>
                </a:cubicBezTo>
                <a:cubicBezTo>
                  <a:pt x="6566014" y="1208271"/>
                  <a:pt x="6565347" y="1201889"/>
                  <a:pt x="6564681" y="1195793"/>
                </a:cubicBezTo>
                <a:cubicBezTo>
                  <a:pt x="6563824" y="1187983"/>
                  <a:pt x="6562775" y="1180458"/>
                  <a:pt x="6558680" y="1173600"/>
                </a:cubicBezTo>
                <a:cubicBezTo>
                  <a:pt x="6555442" y="1168075"/>
                  <a:pt x="6554679" y="1161979"/>
                  <a:pt x="6554489" y="1155693"/>
                </a:cubicBezTo>
                <a:cubicBezTo>
                  <a:pt x="6554299" y="1147882"/>
                  <a:pt x="6553156" y="1140262"/>
                  <a:pt x="6548965" y="1133404"/>
                </a:cubicBezTo>
                <a:cubicBezTo>
                  <a:pt x="6545631" y="1127880"/>
                  <a:pt x="6544774" y="1121879"/>
                  <a:pt x="6544678" y="1115593"/>
                </a:cubicBezTo>
                <a:cubicBezTo>
                  <a:pt x="6544583" y="1107211"/>
                  <a:pt x="6543154" y="1099114"/>
                  <a:pt x="6538678" y="1091875"/>
                </a:cubicBezTo>
                <a:cubicBezTo>
                  <a:pt x="6535534" y="1086827"/>
                  <a:pt x="6535153" y="1081207"/>
                  <a:pt x="6534963" y="1075492"/>
                </a:cubicBezTo>
                <a:cubicBezTo>
                  <a:pt x="6534677" y="1067206"/>
                  <a:pt x="6533629" y="1059014"/>
                  <a:pt x="6528962" y="1051775"/>
                </a:cubicBezTo>
                <a:cubicBezTo>
                  <a:pt x="6525818" y="1046727"/>
                  <a:pt x="6525342" y="1041107"/>
                  <a:pt x="6525152" y="1035392"/>
                </a:cubicBezTo>
                <a:cubicBezTo>
                  <a:pt x="6524771" y="1026534"/>
                  <a:pt x="6523152" y="1018247"/>
                  <a:pt x="6518961" y="1010151"/>
                </a:cubicBezTo>
                <a:cubicBezTo>
                  <a:pt x="6516484" y="1005388"/>
                  <a:pt x="6515913" y="999292"/>
                  <a:pt x="6515341" y="993768"/>
                </a:cubicBezTo>
                <a:cubicBezTo>
                  <a:pt x="6514389" y="985481"/>
                  <a:pt x="6513055" y="977671"/>
                  <a:pt x="6509245" y="969955"/>
                </a:cubicBezTo>
                <a:cubicBezTo>
                  <a:pt x="6506578" y="964621"/>
                  <a:pt x="6505816" y="958144"/>
                  <a:pt x="6505245" y="952048"/>
                </a:cubicBezTo>
                <a:cubicBezTo>
                  <a:pt x="6504387" y="944333"/>
                  <a:pt x="6503149" y="936904"/>
                  <a:pt x="6499720" y="929760"/>
                </a:cubicBezTo>
                <a:cubicBezTo>
                  <a:pt x="6497149" y="924331"/>
                  <a:pt x="6496006" y="917949"/>
                  <a:pt x="6495434" y="911948"/>
                </a:cubicBezTo>
                <a:cubicBezTo>
                  <a:pt x="6494672" y="903661"/>
                  <a:pt x="6493148" y="895851"/>
                  <a:pt x="6489528" y="888136"/>
                </a:cubicBezTo>
                <a:cubicBezTo>
                  <a:pt x="6486957" y="882706"/>
                  <a:pt x="6486099" y="876324"/>
                  <a:pt x="6485528" y="870229"/>
                </a:cubicBezTo>
                <a:cubicBezTo>
                  <a:pt x="6484766" y="862418"/>
                  <a:pt x="6483718" y="854893"/>
                  <a:pt x="6479622" y="848035"/>
                </a:cubicBezTo>
                <a:cubicBezTo>
                  <a:pt x="6476384" y="842511"/>
                  <a:pt x="6475717" y="836415"/>
                  <a:pt x="6475527" y="830128"/>
                </a:cubicBezTo>
                <a:cubicBezTo>
                  <a:pt x="6475336" y="822318"/>
                  <a:pt x="6473908" y="814793"/>
                  <a:pt x="6469907" y="807840"/>
                </a:cubicBezTo>
                <a:cubicBezTo>
                  <a:pt x="6466764" y="802315"/>
                  <a:pt x="6465811" y="796219"/>
                  <a:pt x="6465621" y="789933"/>
                </a:cubicBezTo>
                <a:cubicBezTo>
                  <a:pt x="6465335" y="781551"/>
                  <a:pt x="6463525" y="773740"/>
                  <a:pt x="6459810" y="766120"/>
                </a:cubicBezTo>
                <a:cubicBezTo>
                  <a:pt x="6457429" y="761167"/>
                  <a:pt x="6456286" y="755357"/>
                  <a:pt x="6455715" y="749833"/>
                </a:cubicBezTo>
                <a:cubicBezTo>
                  <a:pt x="6454953" y="740974"/>
                  <a:pt x="6453619" y="732688"/>
                  <a:pt x="6449428" y="724591"/>
                </a:cubicBezTo>
                <a:cubicBezTo>
                  <a:pt x="6446952" y="719734"/>
                  <a:pt x="6446285" y="713828"/>
                  <a:pt x="6445809" y="708208"/>
                </a:cubicBezTo>
                <a:cubicBezTo>
                  <a:pt x="6445047" y="699922"/>
                  <a:pt x="6444094" y="691730"/>
                  <a:pt x="6439522" y="684491"/>
                </a:cubicBezTo>
                <a:cubicBezTo>
                  <a:pt x="6436379" y="679443"/>
                  <a:pt x="6436093" y="673823"/>
                  <a:pt x="6435903" y="668108"/>
                </a:cubicBezTo>
                <a:cubicBezTo>
                  <a:pt x="6435617" y="659821"/>
                  <a:pt x="6433998" y="651916"/>
                  <a:pt x="6430092" y="644296"/>
                </a:cubicBezTo>
                <a:cubicBezTo>
                  <a:pt x="6427616" y="639438"/>
                  <a:pt x="6426759" y="633532"/>
                  <a:pt x="6426187" y="628008"/>
                </a:cubicBezTo>
                <a:cubicBezTo>
                  <a:pt x="6425330" y="619149"/>
                  <a:pt x="6423901" y="610863"/>
                  <a:pt x="6419710" y="602767"/>
                </a:cubicBezTo>
                <a:cubicBezTo>
                  <a:pt x="6417234" y="597909"/>
                  <a:pt x="6416662" y="591908"/>
                  <a:pt x="6416091" y="586384"/>
                </a:cubicBezTo>
                <a:cubicBezTo>
                  <a:pt x="6415233" y="578097"/>
                  <a:pt x="6413710" y="570286"/>
                  <a:pt x="6409995" y="562571"/>
                </a:cubicBezTo>
                <a:cubicBezTo>
                  <a:pt x="6407423" y="557237"/>
                  <a:pt x="6406566" y="550760"/>
                  <a:pt x="6405994" y="544664"/>
                </a:cubicBezTo>
                <a:cubicBezTo>
                  <a:pt x="6405232" y="536854"/>
                  <a:pt x="6404470" y="529329"/>
                  <a:pt x="6400279" y="522376"/>
                </a:cubicBezTo>
                <a:cubicBezTo>
                  <a:pt x="6396755" y="516470"/>
                  <a:pt x="6396183" y="509707"/>
                  <a:pt x="6395993" y="502945"/>
                </a:cubicBezTo>
                <a:cubicBezTo>
                  <a:pt x="6395803" y="495610"/>
                  <a:pt x="6394374" y="488657"/>
                  <a:pt x="6390659" y="482180"/>
                </a:cubicBezTo>
                <a:cubicBezTo>
                  <a:pt x="6387420" y="476656"/>
                  <a:pt x="6386373" y="470655"/>
                  <a:pt x="6386278" y="464368"/>
                </a:cubicBezTo>
                <a:cubicBezTo>
                  <a:pt x="6386182" y="455986"/>
                  <a:pt x="6384753" y="447985"/>
                  <a:pt x="6380372" y="440651"/>
                </a:cubicBezTo>
                <a:cubicBezTo>
                  <a:pt x="6377133" y="435127"/>
                  <a:pt x="6376467" y="429031"/>
                  <a:pt x="6376276" y="422744"/>
                </a:cubicBezTo>
                <a:cubicBezTo>
                  <a:pt x="6376086" y="414934"/>
                  <a:pt x="6374752" y="407314"/>
                  <a:pt x="6370752" y="400456"/>
                </a:cubicBezTo>
                <a:cubicBezTo>
                  <a:pt x="6367513" y="394931"/>
                  <a:pt x="6366656" y="388930"/>
                  <a:pt x="6366370" y="382644"/>
                </a:cubicBezTo>
                <a:cubicBezTo>
                  <a:pt x="6366085" y="374357"/>
                  <a:pt x="6364846" y="366261"/>
                  <a:pt x="6360274" y="358927"/>
                </a:cubicBezTo>
                <a:cubicBezTo>
                  <a:pt x="6357131" y="353974"/>
                  <a:pt x="6356464" y="348354"/>
                  <a:pt x="6356369" y="342544"/>
                </a:cubicBezTo>
                <a:cubicBezTo>
                  <a:pt x="6356178" y="333685"/>
                  <a:pt x="6354178" y="325399"/>
                  <a:pt x="6350083" y="317302"/>
                </a:cubicBezTo>
                <a:cubicBezTo>
                  <a:pt x="6347606" y="312445"/>
                  <a:pt x="6347130" y="306444"/>
                  <a:pt x="6346653" y="300919"/>
                </a:cubicBezTo>
                <a:cubicBezTo>
                  <a:pt x="6345892" y="292633"/>
                  <a:pt x="6344367" y="284822"/>
                  <a:pt x="6340558" y="277202"/>
                </a:cubicBezTo>
                <a:cubicBezTo>
                  <a:pt x="6338081" y="272344"/>
                  <a:pt x="6337414" y="266439"/>
                  <a:pt x="6336843" y="260819"/>
                </a:cubicBezTo>
                <a:cubicBezTo>
                  <a:pt x="6335985" y="252532"/>
                  <a:pt x="6334747" y="244627"/>
                  <a:pt x="6330747" y="237102"/>
                </a:cubicBezTo>
                <a:cubicBezTo>
                  <a:pt x="6328461" y="232720"/>
                  <a:pt x="6327603" y="227291"/>
                  <a:pt x="6327127" y="222338"/>
                </a:cubicBezTo>
                <a:cubicBezTo>
                  <a:pt x="6326175" y="213003"/>
                  <a:pt x="6325032" y="204145"/>
                  <a:pt x="6320555" y="195573"/>
                </a:cubicBezTo>
                <a:cubicBezTo>
                  <a:pt x="6318078" y="190810"/>
                  <a:pt x="6317507" y="184714"/>
                  <a:pt x="6317031" y="179095"/>
                </a:cubicBezTo>
                <a:cubicBezTo>
                  <a:pt x="6316268" y="170808"/>
                  <a:pt x="6314554" y="162997"/>
                  <a:pt x="6310934" y="155377"/>
                </a:cubicBezTo>
                <a:cubicBezTo>
                  <a:pt x="6308363" y="149948"/>
                  <a:pt x="6307601" y="143566"/>
                  <a:pt x="6306934" y="137470"/>
                </a:cubicBezTo>
                <a:cubicBezTo>
                  <a:pt x="6306172" y="129660"/>
                  <a:pt x="6304744" y="122421"/>
                  <a:pt x="6301315" y="115182"/>
                </a:cubicBezTo>
                <a:cubicBezTo>
                  <a:pt x="6298743" y="109753"/>
                  <a:pt x="6297695" y="103371"/>
                  <a:pt x="6297124" y="97370"/>
                </a:cubicBezTo>
                <a:cubicBezTo>
                  <a:pt x="6296362" y="88988"/>
                  <a:pt x="6294837" y="81178"/>
                  <a:pt x="6291028" y="73558"/>
                </a:cubicBezTo>
                <a:cubicBezTo>
                  <a:pt x="6288837" y="69081"/>
                  <a:pt x="6287693" y="63747"/>
                  <a:pt x="6287313" y="58794"/>
                </a:cubicBezTo>
                <a:cubicBezTo>
                  <a:pt x="6286646" y="49364"/>
                  <a:pt x="6285027" y="40601"/>
                  <a:pt x="6280645" y="32029"/>
                </a:cubicBezTo>
                <a:cubicBezTo>
                  <a:pt x="6275787" y="22504"/>
                  <a:pt x="6275692" y="12312"/>
                  <a:pt x="6280360" y="2120"/>
                </a:cubicBezTo>
                <a:cubicBezTo>
                  <a:pt x="6282741" y="1644"/>
                  <a:pt x="6284646" y="882"/>
                  <a:pt x="6286646" y="882"/>
                </a:cubicBezTo>
                <a:cubicBezTo>
                  <a:pt x="6376943" y="786"/>
                  <a:pt x="6467240" y="786"/>
                  <a:pt x="6558108" y="786"/>
                </a:cubicBezTo>
                <a:cubicBezTo>
                  <a:pt x="6559823" y="4311"/>
                  <a:pt x="6561537" y="7359"/>
                  <a:pt x="6562775" y="10502"/>
                </a:cubicBezTo>
                <a:cubicBezTo>
                  <a:pt x="6564109" y="13836"/>
                  <a:pt x="6564681" y="17646"/>
                  <a:pt x="6566395" y="20694"/>
                </a:cubicBezTo>
                <a:cubicBezTo>
                  <a:pt x="6570872" y="28600"/>
                  <a:pt x="6572491" y="36982"/>
                  <a:pt x="6572587" y="45935"/>
                </a:cubicBezTo>
                <a:cubicBezTo>
                  <a:pt x="6572587" y="53746"/>
                  <a:pt x="6574016" y="61366"/>
                  <a:pt x="6578016" y="68224"/>
                </a:cubicBezTo>
                <a:cubicBezTo>
                  <a:pt x="6581540" y="74224"/>
                  <a:pt x="6582016" y="80987"/>
                  <a:pt x="6582302" y="87655"/>
                </a:cubicBezTo>
                <a:cubicBezTo>
                  <a:pt x="6582683" y="96513"/>
                  <a:pt x="6583826" y="105085"/>
                  <a:pt x="6588303" y="112991"/>
                </a:cubicBezTo>
                <a:cubicBezTo>
                  <a:pt x="6591446" y="118516"/>
                  <a:pt x="6592208" y="124612"/>
                  <a:pt x="6592399" y="130898"/>
                </a:cubicBezTo>
                <a:cubicBezTo>
                  <a:pt x="6592684" y="140233"/>
                  <a:pt x="6594113" y="149186"/>
                  <a:pt x="6598685" y="157759"/>
                </a:cubicBezTo>
                <a:cubicBezTo>
                  <a:pt x="6601257" y="162521"/>
                  <a:pt x="6601733" y="168617"/>
                  <a:pt x="6602114" y="174237"/>
                </a:cubicBezTo>
                <a:cubicBezTo>
                  <a:pt x="6602781" y="183571"/>
                  <a:pt x="6604210" y="192430"/>
                  <a:pt x="6608305" y="201193"/>
                </a:cubicBezTo>
                <a:cubicBezTo>
                  <a:pt x="6610877" y="206527"/>
                  <a:pt x="6611543" y="213099"/>
                  <a:pt x="6612020" y="219100"/>
                </a:cubicBezTo>
                <a:cubicBezTo>
                  <a:pt x="6612687" y="227958"/>
                  <a:pt x="6614020" y="236340"/>
                  <a:pt x="6618021" y="244436"/>
                </a:cubicBezTo>
                <a:cubicBezTo>
                  <a:pt x="6620402" y="249389"/>
                  <a:pt x="6621354" y="255199"/>
                  <a:pt x="6621735" y="260819"/>
                </a:cubicBezTo>
                <a:cubicBezTo>
                  <a:pt x="6622497" y="270630"/>
                  <a:pt x="6623736" y="280155"/>
                  <a:pt x="6628403" y="289204"/>
                </a:cubicBezTo>
                <a:cubicBezTo>
                  <a:pt x="6630689" y="293585"/>
                  <a:pt x="6631260" y="299110"/>
                  <a:pt x="6631642" y="304158"/>
                </a:cubicBezTo>
                <a:cubicBezTo>
                  <a:pt x="6632403" y="314540"/>
                  <a:pt x="6633832" y="324446"/>
                  <a:pt x="6638690" y="333971"/>
                </a:cubicBezTo>
                <a:cubicBezTo>
                  <a:pt x="6641167" y="338829"/>
                  <a:pt x="6641452" y="344925"/>
                  <a:pt x="6641833" y="350449"/>
                </a:cubicBezTo>
                <a:cubicBezTo>
                  <a:pt x="6642595" y="359212"/>
                  <a:pt x="6643929" y="367594"/>
                  <a:pt x="6647834" y="375786"/>
                </a:cubicBezTo>
                <a:cubicBezTo>
                  <a:pt x="6650406" y="381120"/>
                  <a:pt x="6651168" y="387597"/>
                  <a:pt x="6651644" y="393693"/>
                </a:cubicBezTo>
                <a:cubicBezTo>
                  <a:pt x="6652406" y="403027"/>
                  <a:pt x="6653834" y="411885"/>
                  <a:pt x="6658025" y="420553"/>
                </a:cubicBezTo>
                <a:cubicBezTo>
                  <a:pt x="6660407" y="425411"/>
                  <a:pt x="6661074" y="431412"/>
                  <a:pt x="6661455" y="436936"/>
                </a:cubicBezTo>
                <a:cubicBezTo>
                  <a:pt x="6662122" y="446271"/>
                  <a:pt x="6663550" y="455129"/>
                  <a:pt x="6667837" y="463797"/>
                </a:cubicBezTo>
                <a:cubicBezTo>
                  <a:pt x="6670218" y="468655"/>
                  <a:pt x="6670885" y="474655"/>
                  <a:pt x="6671265" y="480180"/>
                </a:cubicBezTo>
                <a:cubicBezTo>
                  <a:pt x="6672028" y="489514"/>
                  <a:pt x="6673456" y="498468"/>
                  <a:pt x="6677552" y="507040"/>
                </a:cubicBezTo>
                <a:cubicBezTo>
                  <a:pt x="6679933" y="511993"/>
                  <a:pt x="6680695" y="517899"/>
                  <a:pt x="6681172" y="523519"/>
                </a:cubicBezTo>
                <a:cubicBezTo>
                  <a:pt x="6681933" y="533425"/>
                  <a:pt x="6683458" y="542759"/>
                  <a:pt x="6687934" y="551903"/>
                </a:cubicBezTo>
                <a:cubicBezTo>
                  <a:pt x="6690315" y="556761"/>
                  <a:pt x="6690887" y="562762"/>
                  <a:pt x="6691363" y="568381"/>
                </a:cubicBezTo>
                <a:cubicBezTo>
                  <a:pt x="6692125" y="577716"/>
                  <a:pt x="6693363" y="586574"/>
                  <a:pt x="6697650" y="595242"/>
                </a:cubicBezTo>
                <a:cubicBezTo>
                  <a:pt x="6700317" y="600576"/>
                  <a:pt x="6700888" y="607148"/>
                  <a:pt x="6701269" y="613244"/>
                </a:cubicBezTo>
                <a:cubicBezTo>
                  <a:pt x="6701936" y="622102"/>
                  <a:pt x="6703079" y="630675"/>
                  <a:pt x="6707556" y="638485"/>
                </a:cubicBezTo>
                <a:cubicBezTo>
                  <a:pt x="6710699" y="644010"/>
                  <a:pt x="6711080" y="650296"/>
                  <a:pt x="6711175" y="656488"/>
                </a:cubicBezTo>
                <a:cubicBezTo>
                  <a:pt x="6711270" y="665346"/>
                  <a:pt x="6713176" y="673633"/>
                  <a:pt x="6717081" y="681824"/>
                </a:cubicBezTo>
                <a:cubicBezTo>
                  <a:pt x="6719653" y="687253"/>
                  <a:pt x="6720319" y="693635"/>
                  <a:pt x="6720891" y="699731"/>
                </a:cubicBezTo>
                <a:cubicBezTo>
                  <a:pt x="6721653" y="708494"/>
                  <a:pt x="6722986" y="716971"/>
                  <a:pt x="6726701" y="725163"/>
                </a:cubicBezTo>
                <a:cubicBezTo>
                  <a:pt x="6729178" y="730687"/>
                  <a:pt x="6730225" y="736974"/>
                  <a:pt x="6730797" y="743070"/>
                </a:cubicBezTo>
                <a:cubicBezTo>
                  <a:pt x="6731654" y="752404"/>
                  <a:pt x="6732987" y="761263"/>
                  <a:pt x="6737178" y="769930"/>
                </a:cubicBezTo>
                <a:cubicBezTo>
                  <a:pt x="6739750" y="775264"/>
                  <a:pt x="6740322" y="781741"/>
                  <a:pt x="6740893" y="787837"/>
                </a:cubicBezTo>
                <a:cubicBezTo>
                  <a:pt x="6741751" y="796600"/>
                  <a:pt x="6742894" y="805078"/>
                  <a:pt x="6746799" y="813269"/>
                </a:cubicBezTo>
                <a:cubicBezTo>
                  <a:pt x="6749370" y="818603"/>
                  <a:pt x="6749751" y="825175"/>
                  <a:pt x="6750799" y="831176"/>
                </a:cubicBezTo>
                <a:cubicBezTo>
                  <a:pt x="6751656" y="836224"/>
                  <a:pt x="6751656" y="841463"/>
                  <a:pt x="6752609" y="846511"/>
                </a:cubicBezTo>
                <a:cubicBezTo>
                  <a:pt x="6753562" y="851750"/>
                  <a:pt x="6756800" y="854417"/>
                  <a:pt x="6760705" y="854512"/>
                </a:cubicBezTo>
                <a:cubicBezTo>
                  <a:pt x="6765563" y="854608"/>
                  <a:pt x="6769754" y="851845"/>
                  <a:pt x="6771469" y="847178"/>
                </a:cubicBezTo>
                <a:cubicBezTo>
                  <a:pt x="6772135" y="845273"/>
                  <a:pt x="6772135" y="843082"/>
                  <a:pt x="6772897" y="841177"/>
                </a:cubicBezTo>
                <a:cubicBezTo>
                  <a:pt x="6774326" y="837367"/>
                  <a:pt x="6775945" y="833653"/>
                  <a:pt x="6777565" y="829938"/>
                </a:cubicBezTo>
                <a:cubicBezTo>
                  <a:pt x="6779184" y="826223"/>
                  <a:pt x="6780898" y="822508"/>
                  <a:pt x="6782422" y="818698"/>
                </a:cubicBezTo>
                <a:cubicBezTo>
                  <a:pt x="6784422" y="814031"/>
                  <a:pt x="6786232" y="809269"/>
                  <a:pt x="6788233" y="804506"/>
                </a:cubicBezTo>
                <a:cubicBezTo>
                  <a:pt x="6788423" y="804030"/>
                  <a:pt x="6788994" y="803649"/>
                  <a:pt x="6789090" y="803172"/>
                </a:cubicBezTo>
                <a:cubicBezTo>
                  <a:pt x="6791375" y="790885"/>
                  <a:pt x="6799377" y="780979"/>
                  <a:pt x="6802520" y="769073"/>
                </a:cubicBezTo>
                <a:cubicBezTo>
                  <a:pt x="6803472" y="765644"/>
                  <a:pt x="6804615" y="762024"/>
                  <a:pt x="6806521" y="759167"/>
                </a:cubicBezTo>
                <a:cubicBezTo>
                  <a:pt x="6809759" y="754309"/>
                  <a:pt x="6811664" y="749166"/>
                  <a:pt x="6812997" y="743546"/>
                </a:cubicBezTo>
                <a:cubicBezTo>
                  <a:pt x="6813760" y="740117"/>
                  <a:pt x="6815569" y="736974"/>
                  <a:pt x="6816998" y="733640"/>
                </a:cubicBezTo>
                <a:cubicBezTo>
                  <a:pt x="6818808" y="729449"/>
                  <a:pt x="6820522" y="725258"/>
                  <a:pt x="6822332" y="721067"/>
                </a:cubicBezTo>
                <a:cubicBezTo>
                  <a:pt x="6823951" y="717352"/>
                  <a:pt x="6825475" y="713542"/>
                  <a:pt x="6827190" y="709828"/>
                </a:cubicBezTo>
                <a:cubicBezTo>
                  <a:pt x="6828428" y="707065"/>
                  <a:pt x="6830524" y="704494"/>
                  <a:pt x="6831191" y="701541"/>
                </a:cubicBezTo>
                <a:cubicBezTo>
                  <a:pt x="6832810" y="694492"/>
                  <a:pt x="6834715" y="687634"/>
                  <a:pt x="6839382" y="681729"/>
                </a:cubicBezTo>
                <a:cubicBezTo>
                  <a:pt x="6840906" y="679824"/>
                  <a:pt x="6841192" y="676966"/>
                  <a:pt x="6841858" y="674490"/>
                </a:cubicBezTo>
                <a:cubicBezTo>
                  <a:pt x="6842239" y="672966"/>
                  <a:pt x="6841953" y="671156"/>
                  <a:pt x="6842715" y="670013"/>
                </a:cubicBezTo>
                <a:cubicBezTo>
                  <a:pt x="6849097" y="660488"/>
                  <a:pt x="6851288" y="649249"/>
                  <a:pt x="6856146" y="639152"/>
                </a:cubicBezTo>
                <a:cubicBezTo>
                  <a:pt x="6858622" y="634009"/>
                  <a:pt x="6861289" y="629246"/>
                  <a:pt x="6862528" y="623531"/>
                </a:cubicBezTo>
                <a:cubicBezTo>
                  <a:pt x="6863194" y="620102"/>
                  <a:pt x="6865290" y="616959"/>
                  <a:pt x="6866719" y="613720"/>
                </a:cubicBezTo>
                <a:cubicBezTo>
                  <a:pt x="6868338" y="610006"/>
                  <a:pt x="6870052" y="606291"/>
                  <a:pt x="6871672" y="602576"/>
                </a:cubicBezTo>
                <a:cubicBezTo>
                  <a:pt x="6873481" y="598385"/>
                  <a:pt x="6875101" y="594099"/>
                  <a:pt x="6876910" y="589908"/>
                </a:cubicBezTo>
                <a:cubicBezTo>
                  <a:pt x="6877482" y="588479"/>
                  <a:pt x="6879101" y="587336"/>
                  <a:pt x="6879292" y="585907"/>
                </a:cubicBezTo>
                <a:cubicBezTo>
                  <a:pt x="6880911" y="573430"/>
                  <a:pt x="6889674" y="563714"/>
                  <a:pt x="6892150" y="551522"/>
                </a:cubicBezTo>
                <a:cubicBezTo>
                  <a:pt x="6892722" y="548569"/>
                  <a:pt x="6894436" y="545902"/>
                  <a:pt x="6895865" y="543140"/>
                </a:cubicBezTo>
                <a:cubicBezTo>
                  <a:pt x="6896817" y="541330"/>
                  <a:pt x="6898627" y="539806"/>
                  <a:pt x="6899103" y="537901"/>
                </a:cubicBezTo>
                <a:cubicBezTo>
                  <a:pt x="6901580" y="527805"/>
                  <a:pt x="6906533" y="518851"/>
                  <a:pt x="6910438" y="509326"/>
                </a:cubicBezTo>
                <a:cubicBezTo>
                  <a:pt x="6913201" y="502754"/>
                  <a:pt x="6915010" y="495991"/>
                  <a:pt x="6918820" y="489705"/>
                </a:cubicBezTo>
                <a:cubicBezTo>
                  <a:pt x="6921392" y="485514"/>
                  <a:pt x="6920725" y="479037"/>
                  <a:pt x="6923583" y="475227"/>
                </a:cubicBezTo>
                <a:cubicBezTo>
                  <a:pt x="6931584" y="464654"/>
                  <a:pt x="6930726" y="450367"/>
                  <a:pt x="6939584" y="440460"/>
                </a:cubicBezTo>
                <a:cubicBezTo>
                  <a:pt x="6940061" y="427126"/>
                  <a:pt x="6951586" y="417696"/>
                  <a:pt x="6952634" y="404456"/>
                </a:cubicBezTo>
                <a:cubicBezTo>
                  <a:pt x="6960826" y="394741"/>
                  <a:pt x="6959968" y="380929"/>
                  <a:pt x="6967874" y="371119"/>
                </a:cubicBezTo>
                <a:cubicBezTo>
                  <a:pt x="6969398" y="369214"/>
                  <a:pt x="6969684" y="366356"/>
                  <a:pt x="6970636" y="363975"/>
                </a:cubicBezTo>
                <a:cubicBezTo>
                  <a:pt x="6972732" y="358736"/>
                  <a:pt x="6974827" y="353593"/>
                  <a:pt x="6977018" y="348354"/>
                </a:cubicBezTo>
                <a:cubicBezTo>
                  <a:pt x="6978351" y="345020"/>
                  <a:pt x="6980161" y="341782"/>
                  <a:pt x="6980828" y="338353"/>
                </a:cubicBezTo>
                <a:cubicBezTo>
                  <a:pt x="6981781" y="333114"/>
                  <a:pt x="6983591" y="328637"/>
                  <a:pt x="6986733" y="324351"/>
                </a:cubicBezTo>
                <a:cubicBezTo>
                  <a:pt x="6988734" y="321589"/>
                  <a:pt x="6989401" y="317779"/>
                  <a:pt x="6990639" y="314445"/>
                </a:cubicBezTo>
                <a:cubicBezTo>
                  <a:pt x="6991687" y="311587"/>
                  <a:pt x="6991972" y="308158"/>
                  <a:pt x="6993687" y="305777"/>
                </a:cubicBezTo>
                <a:cubicBezTo>
                  <a:pt x="6997973" y="299776"/>
                  <a:pt x="7000545" y="293204"/>
                  <a:pt x="7001783" y="285965"/>
                </a:cubicBezTo>
                <a:cubicBezTo>
                  <a:pt x="7002259" y="283489"/>
                  <a:pt x="7003307" y="280917"/>
                  <a:pt x="7004831" y="279012"/>
                </a:cubicBezTo>
                <a:cubicBezTo>
                  <a:pt x="7008069" y="274821"/>
                  <a:pt x="7009784" y="270154"/>
                  <a:pt x="7010927" y="265010"/>
                </a:cubicBezTo>
                <a:cubicBezTo>
                  <a:pt x="7011593" y="261581"/>
                  <a:pt x="7013689" y="258438"/>
                  <a:pt x="7015023" y="255199"/>
                </a:cubicBezTo>
                <a:cubicBezTo>
                  <a:pt x="7017023" y="250532"/>
                  <a:pt x="7018928" y="245770"/>
                  <a:pt x="7020833" y="241102"/>
                </a:cubicBezTo>
                <a:cubicBezTo>
                  <a:pt x="7022357" y="237292"/>
                  <a:pt x="7023976" y="233578"/>
                  <a:pt x="7025500" y="229768"/>
                </a:cubicBezTo>
                <a:cubicBezTo>
                  <a:pt x="7027215" y="225577"/>
                  <a:pt x="7028834" y="221290"/>
                  <a:pt x="7030549" y="217004"/>
                </a:cubicBezTo>
                <a:cubicBezTo>
                  <a:pt x="7032072" y="213289"/>
                  <a:pt x="7033787" y="209575"/>
                  <a:pt x="7035406" y="205860"/>
                </a:cubicBezTo>
                <a:cubicBezTo>
                  <a:pt x="7036835" y="202621"/>
                  <a:pt x="7038359" y="199383"/>
                  <a:pt x="7039788" y="196049"/>
                </a:cubicBezTo>
                <a:cubicBezTo>
                  <a:pt x="7041978" y="190906"/>
                  <a:pt x="7044169" y="185762"/>
                  <a:pt x="7046360" y="180523"/>
                </a:cubicBezTo>
                <a:cubicBezTo>
                  <a:pt x="7047503" y="177666"/>
                  <a:pt x="7049217" y="174903"/>
                  <a:pt x="7049789" y="171951"/>
                </a:cubicBezTo>
                <a:cubicBezTo>
                  <a:pt x="7050932" y="165760"/>
                  <a:pt x="7053028" y="160140"/>
                  <a:pt x="7056933" y="155092"/>
                </a:cubicBezTo>
                <a:cubicBezTo>
                  <a:pt x="7058742" y="152806"/>
                  <a:pt x="7058933" y="149377"/>
                  <a:pt x="7059981" y="146424"/>
                </a:cubicBezTo>
                <a:cubicBezTo>
                  <a:pt x="7061219" y="143090"/>
                  <a:pt x="7061790" y="139280"/>
                  <a:pt x="7063886" y="136423"/>
                </a:cubicBezTo>
                <a:cubicBezTo>
                  <a:pt x="7067696" y="131279"/>
                  <a:pt x="7069506" y="125564"/>
                  <a:pt x="7070935" y="119468"/>
                </a:cubicBezTo>
                <a:cubicBezTo>
                  <a:pt x="7071697" y="116039"/>
                  <a:pt x="7073601" y="112896"/>
                  <a:pt x="7075221" y="109657"/>
                </a:cubicBezTo>
                <a:cubicBezTo>
                  <a:pt x="7075887" y="108324"/>
                  <a:pt x="7077412" y="107181"/>
                  <a:pt x="7077697" y="105752"/>
                </a:cubicBezTo>
                <a:cubicBezTo>
                  <a:pt x="7079697" y="96132"/>
                  <a:pt x="7086079" y="87940"/>
                  <a:pt x="7088366" y="78892"/>
                </a:cubicBezTo>
                <a:cubicBezTo>
                  <a:pt x="7091413" y="66700"/>
                  <a:pt x="7100462" y="57079"/>
                  <a:pt x="7101224" y="44411"/>
                </a:cubicBezTo>
                <a:cubicBezTo>
                  <a:pt x="7110749" y="31552"/>
                  <a:pt x="7110368" y="13550"/>
                  <a:pt x="7123036" y="2406"/>
                </a:cubicBezTo>
                <a:cubicBezTo>
                  <a:pt x="7123417" y="2120"/>
                  <a:pt x="7123894" y="1739"/>
                  <a:pt x="7124274" y="1548"/>
                </a:cubicBezTo>
                <a:cubicBezTo>
                  <a:pt x="7124751" y="1358"/>
                  <a:pt x="7125227" y="1072"/>
                  <a:pt x="7125703" y="1072"/>
                </a:cubicBezTo>
                <a:cubicBezTo>
                  <a:pt x="7218572" y="882"/>
                  <a:pt x="7311536" y="691"/>
                  <a:pt x="7404405" y="596"/>
                </a:cubicBezTo>
                <a:close/>
                <a:moveTo>
                  <a:pt x="1317740" y="500"/>
                </a:moveTo>
                <a:cubicBezTo>
                  <a:pt x="1320312" y="405"/>
                  <a:pt x="1322883" y="500"/>
                  <a:pt x="1325455" y="500"/>
                </a:cubicBezTo>
                <a:cubicBezTo>
                  <a:pt x="1415276" y="500"/>
                  <a:pt x="1505097" y="500"/>
                  <a:pt x="1594917" y="500"/>
                </a:cubicBezTo>
                <a:cubicBezTo>
                  <a:pt x="1600918" y="500"/>
                  <a:pt x="1605966" y="786"/>
                  <a:pt x="1611110" y="977"/>
                </a:cubicBezTo>
                <a:cubicBezTo>
                  <a:pt x="1614254" y="8882"/>
                  <a:pt x="1616253" y="16502"/>
                  <a:pt x="1620159" y="22979"/>
                </a:cubicBezTo>
                <a:cubicBezTo>
                  <a:pt x="1624064" y="29552"/>
                  <a:pt x="1623683" y="37076"/>
                  <a:pt x="1626540" y="43363"/>
                </a:cubicBezTo>
                <a:cubicBezTo>
                  <a:pt x="1631589" y="54698"/>
                  <a:pt x="1634256" y="66699"/>
                  <a:pt x="1638542" y="78129"/>
                </a:cubicBezTo>
                <a:cubicBezTo>
                  <a:pt x="1641209" y="85368"/>
                  <a:pt x="1643209" y="92893"/>
                  <a:pt x="1646162" y="99751"/>
                </a:cubicBezTo>
                <a:cubicBezTo>
                  <a:pt x="1651877" y="112991"/>
                  <a:pt x="1654163" y="127278"/>
                  <a:pt x="1660545" y="140137"/>
                </a:cubicBezTo>
                <a:cubicBezTo>
                  <a:pt x="1662164" y="143375"/>
                  <a:pt x="1663783" y="146709"/>
                  <a:pt x="1664260" y="150233"/>
                </a:cubicBezTo>
                <a:cubicBezTo>
                  <a:pt x="1665402" y="158044"/>
                  <a:pt x="1667117" y="165378"/>
                  <a:pt x="1671879" y="171855"/>
                </a:cubicBezTo>
                <a:cubicBezTo>
                  <a:pt x="1673308" y="173855"/>
                  <a:pt x="1673880" y="176618"/>
                  <a:pt x="1674165" y="179189"/>
                </a:cubicBezTo>
                <a:cubicBezTo>
                  <a:pt x="1675118" y="187000"/>
                  <a:pt x="1676737" y="194334"/>
                  <a:pt x="1681691" y="200811"/>
                </a:cubicBezTo>
                <a:cubicBezTo>
                  <a:pt x="1683119" y="202716"/>
                  <a:pt x="1683690" y="205574"/>
                  <a:pt x="1683976" y="208050"/>
                </a:cubicBezTo>
                <a:cubicBezTo>
                  <a:pt x="1684929" y="215861"/>
                  <a:pt x="1686453" y="223290"/>
                  <a:pt x="1691596" y="229577"/>
                </a:cubicBezTo>
                <a:cubicBezTo>
                  <a:pt x="1692835" y="231101"/>
                  <a:pt x="1693406" y="233387"/>
                  <a:pt x="1693596" y="235292"/>
                </a:cubicBezTo>
                <a:cubicBezTo>
                  <a:pt x="1694644" y="244150"/>
                  <a:pt x="1696549" y="252437"/>
                  <a:pt x="1701978" y="259866"/>
                </a:cubicBezTo>
                <a:cubicBezTo>
                  <a:pt x="1703693" y="262152"/>
                  <a:pt x="1703788" y="265676"/>
                  <a:pt x="1704266" y="268724"/>
                </a:cubicBezTo>
                <a:cubicBezTo>
                  <a:pt x="1705122" y="274916"/>
                  <a:pt x="1706265" y="281012"/>
                  <a:pt x="1710456" y="285965"/>
                </a:cubicBezTo>
                <a:cubicBezTo>
                  <a:pt x="1710741" y="286346"/>
                  <a:pt x="1711123" y="286822"/>
                  <a:pt x="1711313" y="287298"/>
                </a:cubicBezTo>
                <a:cubicBezTo>
                  <a:pt x="1713027" y="294251"/>
                  <a:pt x="1714170" y="301395"/>
                  <a:pt x="1716552" y="308158"/>
                </a:cubicBezTo>
                <a:cubicBezTo>
                  <a:pt x="1718933" y="314825"/>
                  <a:pt x="1724743" y="320159"/>
                  <a:pt x="1724362" y="327970"/>
                </a:cubicBezTo>
                <a:cubicBezTo>
                  <a:pt x="1723981" y="336828"/>
                  <a:pt x="1730935" y="342924"/>
                  <a:pt x="1733125" y="350735"/>
                </a:cubicBezTo>
                <a:cubicBezTo>
                  <a:pt x="1735221" y="358069"/>
                  <a:pt x="1734649" y="366260"/>
                  <a:pt x="1739698" y="372737"/>
                </a:cubicBezTo>
                <a:cubicBezTo>
                  <a:pt x="1740365" y="373499"/>
                  <a:pt x="1741221" y="374452"/>
                  <a:pt x="1741317" y="375309"/>
                </a:cubicBezTo>
                <a:cubicBezTo>
                  <a:pt x="1742745" y="389882"/>
                  <a:pt x="1751413" y="402074"/>
                  <a:pt x="1754271" y="416076"/>
                </a:cubicBezTo>
                <a:cubicBezTo>
                  <a:pt x="1754462" y="417124"/>
                  <a:pt x="1754271" y="418172"/>
                  <a:pt x="1754652" y="419124"/>
                </a:cubicBezTo>
                <a:cubicBezTo>
                  <a:pt x="1757414" y="425696"/>
                  <a:pt x="1760938" y="432078"/>
                  <a:pt x="1763034" y="438936"/>
                </a:cubicBezTo>
                <a:cubicBezTo>
                  <a:pt x="1765035" y="445794"/>
                  <a:pt x="1764462" y="453319"/>
                  <a:pt x="1769225" y="459415"/>
                </a:cubicBezTo>
                <a:cubicBezTo>
                  <a:pt x="1770177" y="460653"/>
                  <a:pt x="1771130" y="461987"/>
                  <a:pt x="1771416" y="463511"/>
                </a:cubicBezTo>
                <a:cubicBezTo>
                  <a:pt x="1773511" y="475226"/>
                  <a:pt x="1777321" y="486275"/>
                  <a:pt x="1782750" y="496848"/>
                </a:cubicBezTo>
                <a:cubicBezTo>
                  <a:pt x="1783608" y="512088"/>
                  <a:pt x="1794848" y="524185"/>
                  <a:pt x="1795514" y="539425"/>
                </a:cubicBezTo>
                <a:cubicBezTo>
                  <a:pt x="1795609" y="541235"/>
                  <a:pt x="1797324" y="543044"/>
                  <a:pt x="1798276" y="544854"/>
                </a:cubicBezTo>
                <a:cubicBezTo>
                  <a:pt x="1799419" y="547140"/>
                  <a:pt x="1801515" y="549426"/>
                  <a:pt x="1801610" y="551712"/>
                </a:cubicBezTo>
                <a:cubicBezTo>
                  <a:pt x="1801991" y="565047"/>
                  <a:pt x="1810563" y="575620"/>
                  <a:pt x="1813611" y="588098"/>
                </a:cubicBezTo>
                <a:cubicBezTo>
                  <a:pt x="1815231" y="594479"/>
                  <a:pt x="1820851" y="595718"/>
                  <a:pt x="1825138" y="590574"/>
                </a:cubicBezTo>
                <a:cubicBezTo>
                  <a:pt x="1831423" y="583145"/>
                  <a:pt x="1837806" y="575620"/>
                  <a:pt x="1842853" y="567333"/>
                </a:cubicBezTo>
                <a:cubicBezTo>
                  <a:pt x="1853521" y="549807"/>
                  <a:pt x="1865904" y="533424"/>
                  <a:pt x="1876857" y="515993"/>
                </a:cubicBezTo>
                <a:cubicBezTo>
                  <a:pt x="1886382" y="500849"/>
                  <a:pt x="1897241" y="486561"/>
                  <a:pt x="1906575" y="471131"/>
                </a:cubicBezTo>
                <a:cubicBezTo>
                  <a:pt x="1915338" y="456653"/>
                  <a:pt x="1925530" y="443127"/>
                  <a:pt x="1935055" y="429125"/>
                </a:cubicBezTo>
                <a:cubicBezTo>
                  <a:pt x="1947723" y="410456"/>
                  <a:pt x="1960296" y="391692"/>
                  <a:pt x="1972965" y="373118"/>
                </a:cubicBezTo>
                <a:cubicBezTo>
                  <a:pt x="1982491" y="359117"/>
                  <a:pt x="1992396" y="345401"/>
                  <a:pt x="2001825" y="331399"/>
                </a:cubicBezTo>
                <a:cubicBezTo>
                  <a:pt x="2011541" y="316921"/>
                  <a:pt x="2020780" y="302157"/>
                  <a:pt x="2030591" y="287679"/>
                </a:cubicBezTo>
                <a:cubicBezTo>
                  <a:pt x="2040593" y="272820"/>
                  <a:pt x="2051070" y="258247"/>
                  <a:pt x="2061071" y="243293"/>
                </a:cubicBezTo>
                <a:cubicBezTo>
                  <a:pt x="2071929" y="227100"/>
                  <a:pt x="2082121" y="210431"/>
                  <a:pt x="2092885" y="194239"/>
                </a:cubicBezTo>
                <a:cubicBezTo>
                  <a:pt x="2103933" y="177570"/>
                  <a:pt x="2115459" y="161187"/>
                  <a:pt x="2126508" y="144518"/>
                </a:cubicBezTo>
                <a:cubicBezTo>
                  <a:pt x="2135937" y="130421"/>
                  <a:pt x="2144891" y="116039"/>
                  <a:pt x="2154416" y="102037"/>
                </a:cubicBezTo>
                <a:cubicBezTo>
                  <a:pt x="2164417" y="87178"/>
                  <a:pt x="2174896" y="72509"/>
                  <a:pt x="2184896" y="57650"/>
                </a:cubicBezTo>
                <a:cubicBezTo>
                  <a:pt x="2194326" y="43553"/>
                  <a:pt x="2203279" y="29171"/>
                  <a:pt x="2212899" y="15264"/>
                </a:cubicBezTo>
                <a:cubicBezTo>
                  <a:pt x="2216328" y="10216"/>
                  <a:pt x="2221187" y="6215"/>
                  <a:pt x="2224996" y="2120"/>
                </a:cubicBezTo>
                <a:cubicBezTo>
                  <a:pt x="2226044" y="1643"/>
                  <a:pt x="2226425" y="1358"/>
                  <a:pt x="2226901" y="1262"/>
                </a:cubicBezTo>
                <a:cubicBezTo>
                  <a:pt x="2227378" y="1072"/>
                  <a:pt x="2227854" y="977"/>
                  <a:pt x="2228425" y="977"/>
                </a:cubicBezTo>
                <a:cubicBezTo>
                  <a:pt x="2325961" y="881"/>
                  <a:pt x="2423497" y="786"/>
                  <a:pt x="2521033" y="691"/>
                </a:cubicBezTo>
                <a:cubicBezTo>
                  <a:pt x="2523129" y="691"/>
                  <a:pt x="2525129" y="691"/>
                  <a:pt x="2527225" y="786"/>
                </a:cubicBezTo>
                <a:cubicBezTo>
                  <a:pt x="2528272" y="786"/>
                  <a:pt x="2529225" y="1072"/>
                  <a:pt x="2530273" y="1167"/>
                </a:cubicBezTo>
                <a:cubicBezTo>
                  <a:pt x="2530749" y="1262"/>
                  <a:pt x="2531320" y="1453"/>
                  <a:pt x="2531702" y="1643"/>
                </a:cubicBezTo>
                <a:cubicBezTo>
                  <a:pt x="2532178" y="1834"/>
                  <a:pt x="2532560" y="2215"/>
                  <a:pt x="2533892" y="3167"/>
                </a:cubicBezTo>
                <a:cubicBezTo>
                  <a:pt x="2538654" y="13835"/>
                  <a:pt x="2537893" y="25742"/>
                  <a:pt x="2533416" y="36791"/>
                </a:cubicBezTo>
                <a:cubicBezTo>
                  <a:pt x="2528748" y="48602"/>
                  <a:pt x="2526940" y="60603"/>
                  <a:pt x="2526844" y="73081"/>
                </a:cubicBezTo>
                <a:cubicBezTo>
                  <a:pt x="2526844" y="82511"/>
                  <a:pt x="2525415" y="91464"/>
                  <a:pt x="2521510" y="100132"/>
                </a:cubicBezTo>
                <a:cubicBezTo>
                  <a:pt x="2517414" y="109276"/>
                  <a:pt x="2517128" y="119182"/>
                  <a:pt x="2517033" y="128993"/>
                </a:cubicBezTo>
                <a:cubicBezTo>
                  <a:pt x="2516937" y="138899"/>
                  <a:pt x="2515985" y="148424"/>
                  <a:pt x="2511603" y="157663"/>
                </a:cubicBezTo>
                <a:cubicBezTo>
                  <a:pt x="2507508" y="166235"/>
                  <a:pt x="2507317" y="175665"/>
                  <a:pt x="2507223" y="185000"/>
                </a:cubicBezTo>
                <a:cubicBezTo>
                  <a:pt x="2507127" y="195953"/>
                  <a:pt x="2505317" y="206240"/>
                  <a:pt x="2501507" y="216718"/>
                </a:cubicBezTo>
                <a:cubicBezTo>
                  <a:pt x="2498554" y="224719"/>
                  <a:pt x="2497983" y="233863"/>
                  <a:pt x="2497506" y="242531"/>
                </a:cubicBezTo>
                <a:cubicBezTo>
                  <a:pt x="2496840" y="253389"/>
                  <a:pt x="2495506" y="263771"/>
                  <a:pt x="2491697" y="274249"/>
                </a:cubicBezTo>
                <a:cubicBezTo>
                  <a:pt x="2488553" y="282726"/>
                  <a:pt x="2487981" y="292346"/>
                  <a:pt x="2487315" y="301586"/>
                </a:cubicBezTo>
                <a:cubicBezTo>
                  <a:pt x="2486648" y="311968"/>
                  <a:pt x="2485219" y="321874"/>
                  <a:pt x="2481790" y="331780"/>
                </a:cubicBezTo>
                <a:cubicBezTo>
                  <a:pt x="2478837" y="340352"/>
                  <a:pt x="2477980" y="349877"/>
                  <a:pt x="2477504" y="359117"/>
                </a:cubicBezTo>
                <a:cubicBezTo>
                  <a:pt x="2476933" y="369499"/>
                  <a:pt x="2476170" y="379595"/>
                  <a:pt x="2471694" y="389216"/>
                </a:cubicBezTo>
                <a:cubicBezTo>
                  <a:pt x="2467788" y="397788"/>
                  <a:pt x="2467503" y="407313"/>
                  <a:pt x="2467503" y="416552"/>
                </a:cubicBezTo>
                <a:cubicBezTo>
                  <a:pt x="2467503" y="427030"/>
                  <a:pt x="2466360" y="437031"/>
                  <a:pt x="2461788" y="446651"/>
                </a:cubicBezTo>
                <a:cubicBezTo>
                  <a:pt x="2457787" y="455224"/>
                  <a:pt x="2457692" y="464749"/>
                  <a:pt x="2457597" y="473988"/>
                </a:cubicBezTo>
                <a:cubicBezTo>
                  <a:pt x="2457502" y="484370"/>
                  <a:pt x="2455692" y="494276"/>
                  <a:pt x="2452072" y="504182"/>
                </a:cubicBezTo>
                <a:cubicBezTo>
                  <a:pt x="2449120" y="512279"/>
                  <a:pt x="2448358" y="521327"/>
                  <a:pt x="2447881" y="529995"/>
                </a:cubicBezTo>
                <a:cubicBezTo>
                  <a:pt x="2447214" y="541425"/>
                  <a:pt x="2445881" y="552284"/>
                  <a:pt x="2441785" y="563237"/>
                </a:cubicBezTo>
                <a:cubicBezTo>
                  <a:pt x="2438737" y="571238"/>
                  <a:pt x="2438261" y="580382"/>
                  <a:pt x="2437689" y="589050"/>
                </a:cubicBezTo>
                <a:cubicBezTo>
                  <a:pt x="2437023" y="599909"/>
                  <a:pt x="2435689" y="610291"/>
                  <a:pt x="2431879" y="620768"/>
                </a:cubicBezTo>
                <a:cubicBezTo>
                  <a:pt x="2428736" y="629246"/>
                  <a:pt x="2428261" y="638866"/>
                  <a:pt x="2427688" y="648105"/>
                </a:cubicBezTo>
                <a:cubicBezTo>
                  <a:pt x="2427117" y="658011"/>
                  <a:pt x="2426450" y="667536"/>
                  <a:pt x="2422259" y="676775"/>
                </a:cubicBezTo>
                <a:cubicBezTo>
                  <a:pt x="2418163" y="685919"/>
                  <a:pt x="2417782" y="695825"/>
                  <a:pt x="2417688" y="705636"/>
                </a:cubicBezTo>
                <a:cubicBezTo>
                  <a:pt x="2417688" y="715542"/>
                  <a:pt x="2416639" y="725067"/>
                  <a:pt x="2412353" y="734306"/>
                </a:cubicBezTo>
                <a:cubicBezTo>
                  <a:pt x="2408067" y="743355"/>
                  <a:pt x="2407876" y="753356"/>
                  <a:pt x="2407876" y="763167"/>
                </a:cubicBezTo>
                <a:cubicBezTo>
                  <a:pt x="2407876" y="773645"/>
                  <a:pt x="2406543" y="783646"/>
                  <a:pt x="2402066" y="793266"/>
                </a:cubicBezTo>
                <a:cubicBezTo>
                  <a:pt x="2398065" y="801934"/>
                  <a:pt x="2398162" y="811364"/>
                  <a:pt x="2398065" y="820698"/>
                </a:cubicBezTo>
                <a:cubicBezTo>
                  <a:pt x="2397971" y="831080"/>
                  <a:pt x="2395876" y="840891"/>
                  <a:pt x="2392446" y="850892"/>
                </a:cubicBezTo>
                <a:cubicBezTo>
                  <a:pt x="2389303" y="859941"/>
                  <a:pt x="2388636" y="870038"/>
                  <a:pt x="2387969" y="879753"/>
                </a:cubicBezTo>
                <a:cubicBezTo>
                  <a:pt x="2387302" y="889564"/>
                  <a:pt x="2385778" y="898898"/>
                  <a:pt x="2382540" y="908423"/>
                </a:cubicBezTo>
                <a:cubicBezTo>
                  <a:pt x="2379492" y="917567"/>
                  <a:pt x="2378731" y="927569"/>
                  <a:pt x="2378063" y="937284"/>
                </a:cubicBezTo>
                <a:cubicBezTo>
                  <a:pt x="2377396" y="947190"/>
                  <a:pt x="2376539" y="956715"/>
                  <a:pt x="2372443" y="965859"/>
                </a:cubicBezTo>
                <a:cubicBezTo>
                  <a:pt x="2368349" y="975003"/>
                  <a:pt x="2368158" y="984909"/>
                  <a:pt x="2368158" y="994815"/>
                </a:cubicBezTo>
                <a:cubicBezTo>
                  <a:pt x="2368158" y="1004721"/>
                  <a:pt x="2366919" y="1014341"/>
                  <a:pt x="2362632" y="1023390"/>
                </a:cubicBezTo>
                <a:cubicBezTo>
                  <a:pt x="2358823" y="1031486"/>
                  <a:pt x="2358441" y="1040440"/>
                  <a:pt x="2358441" y="1049203"/>
                </a:cubicBezTo>
                <a:cubicBezTo>
                  <a:pt x="2358346" y="1060633"/>
                  <a:pt x="2356441" y="1071491"/>
                  <a:pt x="2352536" y="1082445"/>
                </a:cubicBezTo>
                <a:cubicBezTo>
                  <a:pt x="2349488" y="1091018"/>
                  <a:pt x="2349013" y="1100638"/>
                  <a:pt x="2348536" y="1109782"/>
                </a:cubicBezTo>
                <a:cubicBezTo>
                  <a:pt x="2347964" y="1119688"/>
                  <a:pt x="2347107" y="1129213"/>
                  <a:pt x="2342916" y="1138357"/>
                </a:cubicBezTo>
                <a:cubicBezTo>
                  <a:pt x="2338725" y="1147406"/>
                  <a:pt x="2338629" y="1157407"/>
                  <a:pt x="2338344" y="1167218"/>
                </a:cubicBezTo>
                <a:cubicBezTo>
                  <a:pt x="2338058" y="1177600"/>
                  <a:pt x="2336439" y="1187506"/>
                  <a:pt x="2332724" y="1197412"/>
                </a:cubicBezTo>
                <a:cubicBezTo>
                  <a:pt x="2329771" y="1205413"/>
                  <a:pt x="2329104" y="1214557"/>
                  <a:pt x="2328628" y="1223225"/>
                </a:cubicBezTo>
                <a:cubicBezTo>
                  <a:pt x="2327961" y="1234083"/>
                  <a:pt x="2326723" y="1244465"/>
                  <a:pt x="2322913" y="1254943"/>
                </a:cubicBezTo>
                <a:cubicBezTo>
                  <a:pt x="2319770" y="1263420"/>
                  <a:pt x="2319389" y="1273040"/>
                  <a:pt x="2318722" y="1282280"/>
                </a:cubicBezTo>
                <a:cubicBezTo>
                  <a:pt x="2317580" y="1296758"/>
                  <a:pt x="2316817" y="1297996"/>
                  <a:pt x="2302150" y="1297996"/>
                </a:cubicBezTo>
                <a:cubicBezTo>
                  <a:pt x="2224234" y="1298091"/>
                  <a:pt x="2146224" y="1298091"/>
                  <a:pt x="2068310" y="1297996"/>
                </a:cubicBezTo>
                <a:cubicBezTo>
                  <a:pt x="2054118" y="1297996"/>
                  <a:pt x="2052213" y="1296091"/>
                  <a:pt x="2053261" y="1281613"/>
                </a:cubicBezTo>
                <a:cubicBezTo>
                  <a:pt x="2053641" y="1275993"/>
                  <a:pt x="2054403" y="1270183"/>
                  <a:pt x="2056500" y="1265039"/>
                </a:cubicBezTo>
                <a:cubicBezTo>
                  <a:pt x="2061071" y="1254276"/>
                  <a:pt x="2062500" y="1243227"/>
                  <a:pt x="2062690" y="1231797"/>
                </a:cubicBezTo>
                <a:cubicBezTo>
                  <a:pt x="2062881" y="1220939"/>
                  <a:pt x="2064595" y="1210461"/>
                  <a:pt x="2068405" y="1200079"/>
                </a:cubicBezTo>
                <a:cubicBezTo>
                  <a:pt x="2071453" y="1191506"/>
                  <a:pt x="2072120" y="1181981"/>
                  <a:pt x="2072691" y="1172742"/>
                </a:cubicBezTo>
                <a:cubicBezTo>
                  <a:pt x="2073453" y="1161884"/>
                  <a:pt x="2074692" y="1151501"/>
                  <a:pt x="2078503" y="1141024"/>
                </a:cubicBezTo>
                <a:cubicBezTo>
                  <a:pt x="2081740" y="1131975"/>
                  <a:pt x="2082026" y="1121879"/>
                  <a:pt x="2082693" y="1112068"/>
                </a:cubicBezTo>
                <a:cubicBezTo>
                  <a:pt x="2083360" y="1102257"/>
                  <a:pt x="2083837" y="1092637"/>
                  <a:pt x="2088122" y="1083398"/>
                </a:cubicBezTo>
                <a:cubicBezTo>
                  <a:pt x="2092123" y="1074825"/>
                  <a:pt x="2092409" y="1065395"/>
                  <a:pt x="2092503" y="1056061"/>
                </a:cubicBezTo>
                <a:cubicBezTo>
                  <a:pt x="2092599" y="1044631"/>
                  <a:pt x="2094408" y="1033677"/>
                  <a:pt x="2098409" y="1022819"/>
                </a:cubicBezTo>
                <a:cubicBezTo>
                  <a:pt x="2101362" y="1014818"/>
                  <a:pt x="2101838" y="1005674"/>
                  <a:pt x="2102219" y="997006"/>
                </a:cubicBezTo>
                <a:cubicBezTo>
                  <a:pt x="2102695" y="986052"/>
                  <a:pt x="2104315" y="975765"/>
                  <a:pt x="2107934" y="965288"/>
                </a:cubicBezTo>
                <a:cubicBezTo>
                  <a:pt x="2110887" y="956715"/>
                  <a:pt x="2111553" y="947095"/>
                  <a:pt x="2112030" y="937951"/>
                </a:cubicBezTo>
                <a:cubicBezTo>
                  <a:pt x="2112601" y="926997"/>
                  <a:pt x="2114411" y="916710"/>
                  <a:pt x="2117840" y="906233"/>
                </a:cubicBezTo>
                <a:cubicBezTo>
                  <a:pt x="2120888" y="897089"/>
                  <a:pt x="2121650" y="887087"/>
                  <a:pt x="2122222" y="877372"/>
                </a:cubicBezTo>
                <a:cubicBezTo>
                  <a:pt x="2122793" y="867466"/>
                  <a:pt x="2123650" y="857941"/>
                  <a:pt x="2127651" y="848702"/>
                </a:cubicBezTo>
                <a:cubicBezTo>
                  <a:pt x="2131842" y="839081"/>
                  <a:pt x="2132223" y="828604"/>
                  <a:pt x="2132223" y="818222"/>
                </a:cubicBezTo>
                <a:cubicBezTo>
                  <a:pt x="2132318" y="808316"/>
                  <a:pt x="2133366" y="798791"/>
                  <a:pt x="2137557" y="789551"/>
                </a:cubicBezTo>
                <a:cubicBezTo>
                  <a:pt x="2141748" y="780407"/>
                  <a:pt x="2142033" y="770501"/>
                  <a:pt x="2142033" y="760691"/>
                </a:cubicBezTo>
                <a:cubicBezTo>
                  <a:pt x="2142033" y="750213"/>
                  <a:pt x="2143368" y="740212"/>
                  <a:pt x="2147653" y="730496"/>
                </a:cubicBezTo>
                <a:cubicBezTo>
                  <a:pt x="2151749" y="721352"/>
                  <a:pt x="2151844" y="711351"/>
                  <a:pt x="2151844" y="701540"/>
                </a:cubicBezTo>
                <a:cubicBezTo>
                  <a:pt x="2151940" y="691063"/>
                  <a:pt x="2153941" y="681252"/>
                  <a:pt x="2157464" y="671346"/>
                </a:cubicBezTo>
                <a:cubicBezTo>
                  <a:pt x="2160321" y="663250"/>
                  <a:pt x="2161083" y="654201"/>
                  <a:pt x="2161560" y="645533"/>
                </a:cubicBezTo>
                <a:cubicBezTo>
                  <a:pt x="2162131" y="634103"/>
                  <a:pt x="2163751" y="623245"/>
                  <a:pt x="2167465" y="612291"/>
                </a:cubicBezTo>
                <a:cubicBezTo>
                  <a:pt x="2170705" y="602671"/>
                  <a:pt x="2171180" y="592098"/>
                  <a:pt x="2171847" y="581811"/>
                </a:cubicBezTo>
                <a:cubicBezTo>
                  <a:pt x="2172418" y="572477"/>
                  <a:pt x="2174037" y="563618"/>
                  <a:pt x="2176991" y="554665"/>
                </a:cubicBezTo>
                <a:cubicBezTo>
                  <a:pt x="2179943" y="545997"/>
                  <a:pt x="2180991" y="536567"/>
                  <a:pt x="2181562" y="527423"/>
                </a:cubicBezTo>
                <a:cubicBezTo>
                  <a:pt x="2182229" y="515993"/>
                  <a:pt x="2183182" y="505040"/>
                  <a:pt x="2187564" y="494181"/>
                </a:cubicBezTo>
                <a:cubicBezTo>
                  <a:pt x="2192802" y="481037"/>
                  <a:pt x="2191945" y="466844"/>
                  <a:pt x="2191660" y="452843"/>
                </a:cubicBezTo>
                <a:cubicBezTo>
                  <a:pt x="2191660" y="451890"/>
                  <a:pt x="2191469" y="450557"/>
                  <a:pt x="2190802" y="449890"/>
                </a:cubicBezTo>
                <a:cubicBezTo>
                  <a:pt x="2189468" y="448556"/>
                  <a:pt x="2187849" y="447032"/>
                  <a:pt x="2186135" y="446556"/>
                </a:cubicBezTo>
                <a:cubicBezTo>
                  <a:pt x="2184991" y="446175"/>
                  <a:pt x="2182800" y="447032"/>
                  <a:pt x="2182134" y="448080"/>
                </a:cubicBezTo>
                <a:cubicBezTo>
                  <a:pt x="2179276" y="452271"/>
                  <a:pt x="2176895" y="456938"/>
                  <a:pt x="2174037" y="461129"/>
                </a:cubicBezTo>
                <a:cubicBezTo>
                  <a:pt x="2163370" y="476846"/>
                  <a:pt x="2152321" y="492276"/>
                  <a:pt x="2141843" y="508088"/>
                </a:cubicBezTo>
                <a:cubicBezTo>
                  <a:pt x="2130794" y="524756"/>
                  <a:pt x="2120412" y="541901"/>
                  <a:pt x="2109363" y="558570"/>
                </a:cubicBezTo>
                <a:cubicBezTo>
                  <a:pt x="2098314" y="575239"/>
                  <a:pt x="2086693" y="591527"/>
                  <a:pt x="2075645" y="608195"/>
                </a:cubicBezTo>
                <a:cubicBezTo>
                  <a:pt x="2060215" y="631246"/>
                  <a:pt x="2045260" y="654487"/>
                  <a:pt x="2029829" y="677537"/>
                </a:cubicBezTo>
                <a:cubicBezTo>
                  <a:pt x="2018685" y="694111"/>
                  <a:pt x="2007161" y="710494"/>
                  <a:pt x="1995920" y="727067"/>
                </a:cubicBezTo>
                <a:cubicBezTo>
                  <a:pt x="1982680" y="746594"/>
                  <a:pt x="1969536" y="766120"/>
                  <a:pt x="1956486" y="785837"/>
                </a:cubicBezTo>
                <a:cubicBezTo>
                  <a:pt x="1947438" y="799553"/>
                  <a:pt x="1939532" y="814031"/>
                  <a:pt x="1929626" y="827080"/>
                </a:cubicBezTo>
                <a:cubicBezTo>
                  <a:pt x="1918482" y="841844"/>
                  <a:pt x="1909052" y="857750"/>
                  <a:pt x="1898479" y="872895"/>
                </a:cubicBezTo>
                <a:cubicBezTo>
                  <a:pt x="1888859" y="886802"/>
                  <a:pt x="1880191" y="901375"/>
                  <a:pt x="1870666" y="915377"/>
                </a:cubicBezTo>
                <a:cubicBezTo>
                  <a:pt x="1860094" y="931093"/>
                  <a:pt x="1848854" y="946523"/>
                  <a:pt x="1838281" y="962240"/>
                </a:cubicBezTo>
                <a:cubicBezTo>
                  <a:pt x="1829137" y="975860"/>
                  <a:pt x="1820565" y="989767"/>
                  <a:pt x="1811516" y="1003483"/>
                </a:cubicBezTo>
                <a:cubicBezTo>
                  <a:pt x="1809230" y="1006912"/>
                  <a:pt x="1806182" y="1009769"/>
                  <a:pt x="1803992" y="1013198"/>
                </a:cubicBezTo>
                <a:cubicBezTo>
                  <a:pt x="1793037" y="1029962"/>
                  <a:pt x="1782465" y="1046917"/>
                  <a:pt x="1771416" y="1063586"/>
                </a:cubicBezTo>
                <a:cubicBezTo>
                  <a:pt x="1762081" y="1077683"/>
                  <a:pt x="1752270" y="1091494"/>
                  <a:pt x="1742650" y="1105400"/>
                </a:cubicBezTo>
                <a:cubicBezTo>
                  <a:pt x="1742079" y="1106258"/>
                  <a:pt x="1741698" y="1107401"/>
                  <a:pt x="1740936" y="1107877"/>
                </a:cubicBezTo>
                <a:cubicBezTo>
                  <a:pt x="1737888" y="1109687"/>
                  <a:pt x="1734840" y="1112354"/>
                  <a:pt x="1731696" y="1112449"/>
                </a:cubicBezTo>
                <a:cubicBezTo>
                  <a:pt x="1727220" y="1112639"/>
                  <a:pt x="1726553" y="1107972"/>
                  <a:pt x="1726172" y="1104448"/>
                </a:cubicBezTo>
                <a:cubicBezTo>
                  <a:pt x="1725219" y="1097209"/>
                  <a:pt x="1723600" y="1090351"/>
                  <a:pt x="1719219" y="1084255"/>
                </a:cubicBezTo>
                <a:cubicBezTo>
                  <a:pt x="1717504" y="1081874"/>
                  <a:pt x="1716647" y="1078540"/>
                  <a:pt x="1716266" y="1075587"/>
                </a:cubicBezTo>
                <a:cubicBezTo>
                  <a:pt x="1715218" y="1068348"/>
                  <a:pt x="1713980" y="1061300"/>
                  <a:pt x="1709122" y="1055489"/>
                </a:cubicBezTo>
                <a:cubicBezTo>
                  <a:pt x="1706931" y="1041773"/>
                  <a:pt x="1699597" y="1029581"/>
                  <a:pt x="1696263" y="1016246"/>
                </a:cubicBezTo>
                <a:cubicBezTo>
                  <a:pt x="1694740" y="1010150"/>
                  <a:pt x="1693787" y="1004245"/>
                  <a:pt x="1689977" y="999006"/>
                </a:cubicBezTo>
                <a:cubicBezTo>
                  <a:pt x="1688262" y="996625"/>
                  <a:pt x="1687216" y="993386"/>
                  <a:pt x="1686738" y="990434"/>
                </a:cubicBezTo>
                <a:cubicBezTo>
                  <a:pt x="1685691" y="982718"/>
                  <a:pt x="1684358" y="975194"/>
                  <a:pt x="1679119" y="968907"/>
                </a:cubicBezTo>
                <a:cubicBezTo>
                  <a:pt x="1677880" y="967383"/>
                  <a:pt x="1677213" y="965192"/>
                  <a:pt x="1677023" y="963192"/>
                </a:cubicBezTo>
                <a:cubicBezTo>
                  <a:pt x="1676070" y="954334"/>
                  <a:pt x="1674451" y="945857"/>
                  <a:pt x="1668450" y="938713"/>
                </a:cubicBezTo>
                <a:cubicBezTo>
                  <a:pt x="1666545" y="926426"/>
                  <a:pt x="1661116" y="915377"/>
                  <a:pt x="1657116" y="903851"/>
                </a:cubicBezTo>
                <a:cubicBezTo>
                  <a:pt x="1654449" y="896136"/>
                  <a:pt x="1653591" y="887945"/>
                  <a:pt x="1648829" y="880896"/>
                </a:cubicBezTo>
                <a:cubicBezTo>
                  <a:pt x="1647210" y="878420"/>
                  <a:pt x="1646733" y="875086"/>
                  <a:pt x="1646352" y="872038"/>
                </a:cubicBezTo>
                <a:cubicBezTo>
                  <a:pt x="1645781" y="866228"/>
                  <a:pt x="1644257" y="860894"/>
                  <a:pt x="1640923" y="856131"/>
                </a:cubicBezTo>
                <a:cubicBezTo>
                  <a:pt x="1639780" y="854417"/>
                  <a:pt x="1638447" y="852607"/>
                  <a:pt x="1638161" y="850607"/>
                </a:cubicBezTo>
                <a:cubicBezTo>
                  <a:pt x="1636542" y="839748"/>
                  <a:pt x="1631874" y="830128"/>
                  <a:pt x="1628065" y="820031"/>
                </a:cubicBezTo>
                <a:cubicBezTo>
                  <a:pt x="1624826" y="811554"/>
                  <a:pt x="1623778" y="802220"/>
                  <a:pt x="1618730" y="794123"/>
                </a:cubicBezTo>
                <a:cubicBezTo>
                  <a:pt x="1616920" y="791266"/>
                  <a:pt x="1617015" y="787170"/>
                  <a:pt x="1616158" y="783646"/>
                </a:cubicBezTo>
                <a:cubicBezTo>
                  <a:pt x="1615301" y="780217"/>
                  <a:pt x="1614920" y="776216"/>
                  <a:pt x="1613016" y="773454"/>
                </a:cubicBezTo>
                <a:cubicBezTo>
                  <a:pt x="1608729" y="767263"/>
                  <a:pt x="1608157" y="760024"/>
                  <a:pt x="1605870" y="753261"/>
                </a:cubicBezTo>
                <a:cubicBezTo>
                  <a:pt x="1601585" y="740688"/>
                  <a:pt x="1597299" y="728210"/>
                  <a:pt x="1593012" y="715637"/>
                </a:cubicBezTo>
                <a:cubicBezTo>
                  <a:pt x="1590822" y="709446"/>
                  <a:pt x="1586821" y="703826"/>
                  <a:pt x="1586726" y="696968"/>
                </a:cubicBezTo>
                <a:cubicBezTo>
                  <a:pt x="1586631" y="688586"/>
                  <a:pt x="1579393" y="683348"/>
                  <a:pt x="1577868" y="675823"/>
                </a:cubicBezTo>
                <a:cubicBezTo>
                  <a:pt x="1576344" y="668298"/>
                  <a:pt x="1576439" y="660297"/>
                  <a:pt x="1571010" y="654011"/>
                </a:cubicBezTo>
                <a:cubicBezTo>
                  <a:pt x="1570724" y="653630"/>
                  <a:pt x="1570248" y="653153"/>
                  <a:pt x="1570152" y="652677"/>
                </a:cubicBezTo>
                <a:cubicBezTo>
                  <a:pt x="1567391" y="639152"/>
                  <a:pt x="1561770" y="626483"/>
                  <a:pt x="1557103" y="613625"/>
                </a:cubicBezTo>
                <a:cubicBezTo>
                  <a:pt x="1556627" y="612196"/>
                  <a:pt x="1557198" y="610386"/>
                  <a:pt x="1556532" y="609053"/>
                </a:cubicBezTo>
                <a:cubicBezTo>
                  <a:pt x="1550245" y="596670"/>
                  <a:pt x="1547483" y="583049"/>
                  <a:pt x="1542625" y="570191"/>
                </a:cubicBezTo>
                <a:cubicBezTo>
                  <a:pt x="1541863" y="568286"/>
                  <a:pt x="1540053" y="566762"/>
                  <a:pt x="1539672" y="564761"/>
                </a:cubicBezTo>
                <a:cubicBezTo>
                  <a:pt x="1537387" y="553141"/>
                  <a:pt x="1533767" y="541901"/>
                  <a:pt x="1528147" y="531424"/>
                </a:cubicBezTo>
                <a:cubicBezTo>
                  <a:pt x="1527671" y="516660"/>
                  <a:pt x="1516336" y="505135"/>
                  <a:pt x="1515765" y="490276"/>
                </a:cubicBezTo>
                <a:cubicBezTo>
                  <a:pt x="1515669" y="487514"/>
                  <a:pt x="1512907" y="484942"/>
                  <a:pt x="1511670" y="482084"/>
                </a:cubicBezTo>
                <a:cubicBezTo>
                  <a:pt x="1510241" y="478846"/>
                  <a:pt x="1508145" y="475417"/>
                  <a:pt x="1508145" y="471988"/>
                </a:cubicBezTo>
                <a:cubicBezTo>
                  <a:pt x="1507954" y="459891"/>
                  <a:pt x="1499477" y="451223"/>
                  <a:pt x="1495667" y="440746"/>
                </a:cubicBezTo>
                <a:cubicBezTo>
                  <a:pt x="1495286" y="439603"/>
                  <a:pt x="1493095" y="438269"/>
                  <a:pt x="1492047" y="438460"/>
                </a:cubicBezTo>
                <a:cubicBezTo>
                  <a:pt x="1490333" y="438841"/>
                  <a:pt x="1487856" y="440174"/>
                  <a:pt x="1487380" y="441603"/>
                </a:cubicBezTo>
                <a:cubicBezTo>
                  <a:pt x="1486142" y="445508"/>
                  <a:pt x="1485953" y="449604"/>
                  <a:pt x="1485285" y="453700"/>
                </a:cubicBezTo>
                <a:cubicBezTo>
                  <a:pt x="1484142" y="460272"/>
                  <a:pt x="1484046" y="467225"/>
                  <a:pt x="1481760" y="473321"/>
                </a:cubicBezTo>
                <a:cubicBezTo>
                  <a:pt x="1477665" y="484180"/>
                  <a:pt x="1475855" y="495229"/>
                  <a:pt x="1475855" y="506659"/>
                </a:cubicBezTo>
                <a:cubicBezTo>
                  <a:pt x="1475950" y="517136"/>
                  <a:pt x="1474617" y="527138"/>
                  <a:pt x="1470235" y="536853"/>
                </a:cubicBezTo>
                <a:cubicBezTo>
                  <a:pt x="1466139" y="545997"/>
                  <a:pt x="1466045" y="555998"/>
                  <a:pt x="1465949" y="565809"/>
                </a:cubicBezTo>
                <a:cubicBezTo>
                  <a:pt x="1465949" y="576287"/>
                  <a:pt x="1463853" y="586097"/>
                  <a:pt x="1460424" y="596003"/>
                </a:cubicBezTo>
                <a:cubicBezTo>
                  <a:pt x="1457567" y="604100"/>
                  <a:pt x="1456805" y="613148"/>
                  <a:pt x="1456329" y="621816"/>
                </a:cubicBezTo>
                <a:cubicBezTo>
                  <a:pt x="1455662" y="633722"/>
                  <a:pt x="1454043" y="645152"/>
                  <a:pt x="1450137" y="656582"/>
                </a:cubicBezTo>
                <a:cubicBezTo>
                  <a:pt x="1446994" y="665631"/>
                  <a:pt x="1446613" y="675823"/>
                  <a:pt x="1446042" y="685538"/>
                </a:cubicBezTo>
                <a:cubicBezTo>
                  <a:pt x="1445470" y="694873"/>
                  <a:pt x="1444803" y="703922"/>
                  <a:pt x="1440803" y="712685"/>
                </a:cubicBezTo>
                <a:cubicBezTo>
                  <a:pt x="1436612" y="721829"/>
                  <a:pt x="1436232" y="731735"/>
                  <a:pt x="1436136" y="741545"/>
                </a:cubicBezTo>
                <a:cubicBezTo>
                  <a:pt x="1436040" y="752499"/>
                  <a:pt x="1434802" y="763072"/>
                  <a:pt x="1430325" y="773264"/>
                </a:cubicBezTo>
                <a:cubicBezTo>
                  <a:pt x="1426230" y="782408"/>
                  <a:pt x="1426325" y="792409"/>
                  <a:pt x="1426230" y="802220"/>
                </a:cubicBezTo>
                <a:cubicBezTo>
                  <a:pt x="1426135" y="812126"/>
                  <a:pt x="1425087" y="821651"/>
                  <a:pt x="1420800" y="830795"/>
                </a:cubicBezTo>
                <a:cubicBezTo>
                  <a:pt x="1416800" y="839367"/>
                  <a:pt x="1416610" y="848892"/>
                  <a:pt x="1416514" y="858131"/>
                </a:cubicBezTo>
                <a:cubicBezTo>
                  <a:pt x="1416419" y="869561"/>
                  <a:pt x="1414704" y="880420"/>
                  <a:pt x="1410513" y="891374"/>
                </a:cubicBezTo>
                <a:cubicBezTo>
                  <a:pt x="1407465" y="899375"/>
                  <a:pt x="1407180" y="908519"/>
                  <a:pt x="1406608" y="917186"/>
                </a:cubicBezTo>
                <a:cubicBezTo>
                  <a:pt x="1405846" y="928521"/>
                  <a:pt x="1404513" y="939475"/>
                  <a:pt x="1400607" y="950429"/>
                </a:cubicBezTo>
                <a:cubicBezTo>
                  <a:pt x="1397561" y="959001"/>
                  <a:pt x="1397083" y="968621"/>
                  <a:pt x="1396512" y="977765"/>
                </a:cubicBezTo>
                <a:cubicBezTo>
                  <a:pt x="1395845" y="988148"/>
                  <a:pt x="1395178" y="998244"/>
                  <a:pt x="1390797" y="1007960"/>
                </a:cubicBezTo>
                <a:cubicBezTo>
                  <a:pt x="1386701" y="1017008"/>
                  <a:pt x="1386606" y="1027105"/>
                  <a:pt x="1386510" y="1036916"/>
                </a:cubicBezTo>
                <a:cubicBezTo>
                  <a:pt x="1386320" y="1047298"/>
                  <a:pt x="1385463" y="1057394"/>
                  <a:pt x="1380891" y="1067110"/>
                </a:cubicBezTo>
                <a:cubicBezTo>
                  <a:pt x="1376890" y="1075682"/>
                  <a:pt x="1376700" y="1085207"/>
                  <a:pt x="1376700" y="1094447"/>
                </a:cubicBezTo>
                <a:cubicBezTo>
                  <a:pt x="1376604" y="1105400"/>
                  <a:pt x="1374699" y="1115783"/>
                  <a:pt x="1370985" y="1126165"/>
                </a:cubicBezTo>
                <a:cubicBezTo>
                  <a:pt x="1368032" y="1134166"/>
                  <a:pt x="1367460" y="1143310"/>
                  <a:pt x="1367079" y="1151978"/>
                </a:cubicBezTo>
                <a:cubicBezTo>
                  <a:pt x="1366508" y="1163408"/>
                  <a:pt x="1365079" y="1174361"/>
                  <a:pt x="1360983" y="1185220"/>
                </a:cubicBezTo>
                <a:cubicBezTo>
                  <a:pt x="1358126" y="1192745"/>
                  <a:pt x="1357650" y="1201317"/>
                  <a:pt x="1357173" y="1209509"/>
                </a:cubicBezTo>
                <a:cubicBezTo>
                  <a:pt x="1356507" y="1221415"/>
                  <a:pt x="1355078" y="1232940"/>
                  <a:pt x="1350982" y="1244370"/>
                </a:cubicBezTo>
                <a:cubicBezTo>
                  <a:pt x="1348029" y="1252466"/>
                  <a:pt x="1347934" y="1261515"/>
                  <a:pt x="1346886" y="1270183"/>
                </a:cubicBezTo>
                <a:cubicBezTo>
                  <a:pt x="1346315" y="1275326"/>
                  <a:pt x="1346696" y="1280565"/>
                  <a:pt x="1346029" y="1285613"/>
                </a:cubicBezTo>
                <a:cubicBezTo>
                  <a:pt x="1345077" y="1293329"/>
                  <a:pt x="1341933" y="1296377"/>
                  <a:pt x="1334123" y="1297424"/>
                </a:cubicBezTo>
                <a:cubicBezTo>
                  <a:pt x="1330027" y="1297996"/>
                  <a:pt x="1325931" y="1297996"/>
                  <a:pt x="1321740" y="1297996"/>
                </a:cubicBezTo>
                <a:cubicBezTo>
                  <a:pt x="1247445" y="1297996"/>
                  <a:pt x="1173055" y="1297996"/>
                  <a:pt x="1098760" y="1297996"/>
                </a:cubicBezTo>
                <a:cubicBezTo>
                  <a:pt x="1098284" y="1297996"/>
                  <a:pt x="1097712" y="1297996"/>
                  <a:pt x="1097236" y="1297996"/>
                </a:cubicBezTo>
                <a:cubicBezTo>
                  <a:pt x="1084568" y="1298948"/>
                  <a:pt x="1077615" y="1295424"/>
                  <a:pt x="1083996" y="1278946"/>
                </a:cubicBezTo>
                <a:cubicBezTo>
                  <a:pt x="1089521" y="1264563"/>
                  <a:pt x="1090950" y="1250085"/>
                  <a:pt x="1091616" y="1235036"/>
                </a:cubicBezTo>
                <a:cubicBezTo>
                  <a:pt x="1091902" y="1229416"/>
                  <a:pt x="1092664" y="1223510"/>
                  <a:pt x="1094855" y="1218462"/>
                </a:cubicBezTo>
                <a:cubicBezTo>
                  <a:pt x="1099617" y="1207223"/>
                  <a:pt x="1101141" y="1195602"/>
                  <a:pt x="1101141" y="1183696"/>
                </a:cubicBezTo>
                <a:cubicBezTo>
                  <a:pt x="1101141" y="1174266"/>
                  <a:pt x="1102284" y="1165217"/>
                  <a:pt x="1106285" y="1156550"/>
                </a:cubicBezTo>
                <a:cubicBezTo>
                  <a:pt x="1110762" y="1146929"/>
                  <a:pt x="1110952" y="1136452"/>
                  <a:pt x="1110952" y="1126165"/>
                </a:cubicBezTo>
                <a:cubicBezTo>
                  <a:pt x="1111047" y="1116259"/>
                  <a:pt x="1112286" y="1106734"/>
                  <a:pt x="1116572" y="1097590"/>
                </a:cubicBezTo>
                <a:cubicBezTo>
                  <a:pt x="1120382" y="1089494"/>
                  <a:pt x="1120668" y="1080540"/>
                  <a:pt x="1120763" y="1071777"/>
                </a:cubicBezTo>
                <a:cubicBezTo>
                  <a:pt x="1120952" y="1060347"/>
                  <a:pt x="1122572" y="1049489"/>
                  <a:pt x="1126764" y="1038535"/>
                </a:cubicBezTo>
                <a:cubicBezTo>
                  <a:pt x="1129812" y="1030534"/>
                  <a:pt x="1130193" y="1021390"/>
                  <a:pt x="1130764" y="1012722"/>
                </a:cubicBezTo>
                <a:cubicBezTo>
                  <a:pt x="1131526" y="1001864"/>
                  <a:pt x="1132669" y="991386"/>
                  <a:pt x="1136670" y="981004"/>
                </a:cubicBezTo>
                <a:cubicBezTo>
                  <a:pt x="1139718" y="973003"/>
                  <a:pt x="1140289" y="963859"/>
                  <a:pt x="1140765" y="955191"/>
                </a:cubicBezTo>
                <a:cubicBezTo>
                  <a:pt x="1141432" y="944333"/>
                  <a:pt x="1142766" y="933950"/>
                  <a:pt x="1146480" y="923473"/>
                </a:cubicBezTo>
                <a:cubicBezTo>
                  <a:pt x="1149528" y="914996"/>
                  <a:pt x="1150100" y="905280"/>
                  <a:pt x="1150576" y="896136"/>
                </a:cubicBezTo>
                <a:cubicBezTo>
                  <a:pt x="1151052" y="885754"/>
                  <a:pt x="1152005" y="875657"/>
                  <a:pt x="1156482" y="866037"/>
                </a:cubicBezTo>
                <a:cubicBezTo>
                  <a:pt x="1160196" y="857941"/>
                  <a:pt x="1160482" y="848987"/>
                  <a:pt x="1160482" y="840224"/>
                </a:cubicBezTo>
                <a:cubicBezTo>
                  <a:pt x="1160482" y="829271"/>
                  <a:pt x="1162387" y="818888"/>
                  <a:pt x="1166102" y="808506"/>
                </a:cubicBezTo>
                <a:cubicBezTo>
                  <a:pt x="1169055" y="800410"/>
                  <a:pt x="1169721" y="791361"/>
                  <a:pt x="1170198" y="782693"/>
                </a:cubicBezTo>
                <a:cubicBezTo>
                  <a:pt x="1170769" y="771835"/>
                  <a:pt x="1172198" y="761357"/>
                  <a:pt x="1176008" y="750975"/>
                </a:cubicBezTo>
                <a:cubicBezTo>
                  <a:pt x="1178961" y="742974"/>
                  <a:pt x="1179627" y="733830"/>
                  <a:pt x="1180199" y="725162"/>
                </a:cubicBezTo>
                <a:cubicBezTo>
                  <a:pt x="1180866" y="713732"/>
                  <a:pt x="1182485" y="702874"/>
                  <a:pt x="1186390" y="691920"/>
                </a:cubicBezTo>
                <a:cubicBezTo>
                  <a:pt x="1189438" y="683443"/>
                  <a:pt x="1189819" y="673727"/>
                  <a:pt x="1190295" y="664488"/>
                </a:cubicBezTo>
                <a:cubicBezTo>
                  <a:pt x="1190867" y="654582"/>
                  <a:pt x="1192486" y="645248"/>
                  <a:pt x="1195725" y="635818"/>
                </a:cubicBezTo>
                <a:cubicBezTo>
                  <a:pt x="1198677" y="627245"/>
                  <a:pt x="1199630" y="617720"/>
                  <a:pt x="1200011" y="608481"/>
                </a:cubicBezTo>
                <a:cubicBezTo>
                  <a:pt x="1200582" y="597527"/>
                  <a:pt x="1202297" y="587240"/>
                  <a:pt x="1205821" y="576763"/>
                </a:cubicBezTo>
                <a:cubicBezTo>
                  <a:pt x="1208774" y="568190"/>
                  <a:pt x="1209345" y="558570"/>
                  <a:pt x="1209822" y="549426"/>
                </a:cubicBezTo>
                <a:cubicBezTo>
                  <a:pt x="1210298" y="539520"/>
                  <a:pt x="1211250" y="529995"/>
                  <a:pt x="1215441" y="520851"/>
                </a:cubicBezTo>
                <a:cubicBezTo>
                  <a:pt x="1219251" y="512755"/>
                  <a:pt x="1219537" y="503801"/>
                  <a:pt x="1219631" y="495038"/>
                </a:cubicBezTo>
                <a:cubicBezTo>
                  <a:pt x="1219728" y="483608"/>
                  <a:pt x="1221537" y="472750"/>
                  <a:pt x="1225633" y="461796"/>
                </a:cubicBezTo>
                <a:cubicBezTo>
                  <a:pt x="1228586" y="453795"/>
                  <a:pt x="1229062" y="444651"/>
                  <a:pt x="1229634" y="435983"/>
                </a:cubicBezTo>
                <a:cubicBezTo>
                  <a:pt x="1230396" y="425125"/>
                  <a:pt x="1231729" y="414743"/>
                  <a:pt x="1235539" y="404265"/>
                </a:cubicBezTo>
                <a:cubicBezTo>
                  <a:pt x="1238682" y="395788"/>
                  <a:pt x="1239159" y="386072"/>
                  <a:pt x="1239730" y="376928"/>
                </a:cubicBezTo>
                <a:cubicBezTo>
                  <a:pt x="1240397" y="366546"/>
                  <a:pt x="1240873" y="356450"/>
                  <a:pt x="1245445" y="346829"/>
                </a:cubicBezTo>
                <a:cubicBezTo>
                  <a:pt x="1249446" y="338257"/>
                  <a:pt x="1249541" y="328732"/>
                  <a:pt x="1249731" y="319493"/>
                </a:cubicBezTo>
                <a:cubicBezTo>
                  <a:pt x="1249922" y="309110"/>
                  <a:pt x="1250779" y="299014"/>
                  <a:pt x="1255351" y="289298"/>
                </a:cubicBezTo>
                <a:cubicBezTo>
                  <a:pt x="1259447" y="280726"/>
                  <a:pt x="1259447" y="271201"/>
                  <a:pt x="1259542" y="261962"/>
                </a:cubicBezTo>
                <a:cubicBezTo>
                  <a:pt x="1259637" y="251484"/>
                  <a:pt x="1261542" y="241673"/>
                  <a:pt x="1265162" y="231767"/>
                </a:cubicBezTo>
                <a:cubicBezTo>
                  <a:pt x="1268019" y="223671"/>
                  <a:pt x="1268781" y="214622"/>
                  <a:pt x="1269258" y="205955"/>
                </a:cubicBezTo>
                <a:cubicBezTo>
                  <a:pt x="1269829" y="195001"/>
                  <a:pt x="1271353" y="184714"/>
                  <a:pt x="1274973" y="174236"/>
                </a:cubicBezTo>
                <a:cubicBezTo>
                  <a:pt x="1278116" y="165188"/>
                  <a:pt x="1278783" y="155091"/>
                  <a:pt x="1279354" y="145376"/>
                </a:cubicBezTo>
                <a:cubicBezTo>
                  <a:pt x="1280021" y="135565"/>
                  <a:pt x="1280878" y="125945"/>
                  <a:pt x="1284879" y="116705"/>
                </a:cubicBezTo>
                <a:cubicBezTo>
                  <a:pt x="1289070" y="107085"/>
                  <a:pt x="1289356" y="96608"/>
                  <a:pt x="1289451" y="86225"/>
                </a:cubicBezTo>
                <a:cubicBezTo>
                  <a:pt x="1289546" y="76796"/>
                  <a:pt x="1290594" y="67842"/>
                  <a:pt x="1294689" y="59174"/>
                </a:cubicBezTo>
                <a:cubicBezTo>
                  <a:pt x="1298499" y="51078"/>
                  <a:pt x="1298881" y="42220"/>
                  <a:pt x="1299166" y="33457"/>
                </a:cubicBezTo>
                <a:cubicBezTo>
                  <a:pt x="1299452" y="27742"/>
                  <a:pt x="1299261" y="22027"/>
                  <a:pt x="1300023" y="16502"/>
                </a:cubicBezTo>
                <a:cubicBezTo>
                  <a:pt x="1301357" y="6787"/>
                  <a:pt x="1308024" y="977"/>
                  <a:pt x="1317740" y="500"/>
                </a:cubicBezTo>
                <a:close/>
                <a:moveTo>
                  <a:pt x="7695393" y="489"/>
                </a:moveTo>
                <a:cubicBezTo>
                  <a:pt x="7754853" y="525"/>
                  <a:pt x="7813980" y="1025"/>
                  <a:pt x="7820266" y="1930"/>
                </a:cubicBezTo>
                <a:cubicBezTo>
                  <a:pt x="7821123" y="4882"/>
                  <a:pt x="7822933" y="8216"/>
                  <a:pt x="7822838" y="11455"/>
                </a:cubicBezTo>
                <a:cubicBezTo>
                  <a:pt x="7822456" y="23266"/>
                  <a:pt x="7821599" y="35077"/>
                  <a:pt x="7820646" y="46888"/>
                </a:cubicBezTo>
                <a:cubicBezTo>
                  <a:pt x="7820361" y="49936"/>
                  <a:pt x="7819599" y="53079"/>
                  <a:pt x="7818265" y="55841"/>
                </a:cubicBezTo>
                <a:cubicBezTo>
                  <a:pt x="7812931" y="67366"/>
                  <a:pt x="7811788" y="79654"/>
                  <a:pt x="7811693" y="92036"/>
                </a:cubicBezTo>
                <a:cubicBezTo>
                  <a:pt x="7811598" y="100894"/>
                  <a:pt x="7810645" y="109467"/>
                  <a:pt x="7806836" y="117658"/>
                </a:cubicBezTo>
                <a:cubicBezTo>
                  <a:pt x="7802454" y="127279"/>
                  <a:pt x="7801882" y="137661"/>
                  <a:pt x="7801882" y="147948"/>
                </a:cubicBezTo>
                <a:cubicBezTo>
                  <a:pt x="7801787" y="157854"/>
                  <a:pt x="7800168" y="167188"/>
                  <a:pt x="7796644" y="176618"/>
                </a:cubicBezTo>
                <a:cubicBezTo>
                  <a:pt x="7793786" y="184143"/>
                  <a:pt x="7792834" y="192620"/>
                  <a:pt x="7792357" y="200812"/>
                </a:cubicBezTo>
                <a:cubicBezTo>
                  <a:pt x="7791691" y="213194"/>
                  <a:pt x="7791405" y="225481"/>
                  <a:pt x="7785690" y="237007"/>
                </a:cubicBezTo>
                <a:cubicBezTo>
                  <a:pt x="7783880" y="240531"/>
                  <a:pt x="7783880" y="245008"/>
                  <a:pt x="7782832" y="249008"/>
                </a:cubicBezTo>
                <a:cubicBezTo>
                  <a:pt x="7781690" y="253485"/>
                  <a:pt x="7778927" y="256247"/>
                  <a:pt x="7774165" y="256533"/>
                </a:cubicBezTo>
                <a:cubicBezTo>
                  <a:pt x="7770545" y="256723"/>
                  <a:pt x="7766926" y="256723"/>
                  <a:pt x="7763306" y="256723"/>
                </a:cubicBezTo>
                <a:cubicBezTo>
                  <a:pt x="7691107" y="256723"/>
                  <a:pt x="7618907" y="256723"/>
                  <a:pt x="7546708" y="256723"/>
                </a:cubicBezTo>
                <a:cubicBezTo>
                  <a:pt x="7542612" y="256723"/>
                  <a:pt x="7538421" y="256819"/>
                  <a:pt x="7534325" y="256438"/>
                </a:cubicBezTo>
                <a:cubicBezTo>
                  <a:pt x="7529277" y="255961"/>
                  <a:pt x="7526420" y="253390"/>
                  <a:pt x="7526229" y="248722"/>
                </a:cubicBezTo>
                <a:cubicBezTo>
                  <a:pt x="7526038" y="238912"/>
                  <a:pt x="7525086" y="228910"/>
                  <a:pt x="7529277" y="219766"/>
                </a:cubicBezTo>
                <a:cubicBezTo>
                  <a:pt x="7534611" y="208146"/>
                  <a:pt x="7536040" y="196049"/>
                  <a:pt x="7535945" y="183571"/>
                </a:cubicBezTo>
                <a:cubicBezTo>
                  <a:pt x="7535945" y="174142"/>
                  <a:pt x="7537183" y="165093"/>
                  <a:pt x="7541183" y="156520"/>
                </a:cubicBezTo>
                <a:cubicBezTo>
                  <a:pt x="7544993" y="148424"/>
                  <a:pt x="7545374" y="139566"/>
                  <a:pt x="7545660" y="130803"/>
                </a:cubicBezTo>
                <a:cubicBezTo>
                  <a:pt x="7546041" y="118897"/>
                  <a:pt x="7547565" y="107467"/>
                  <a:pt x="7551851" y="96037"/>
                </a:cubicBezTo>
                <a:cubicBezTo>
                  <a:pt x="7554995" y="87559"/>
                  <a:pt x="7555280" y="77844"/>
                  <a:pt x="7555852" y="68700"/>
                </a:cubicBezTo>
                <a:cubicBezTo>
                  <a:pt x="7556423" y="58889"/>
                  <a:pt x="7557471" y="49459"/>
                  <a:pt x="7561281" y="40125"/>
                </a:cubicBezTo>
                <a:cubicBezTo>
                  <a:pt x="7563948" y="33553"/>
                  <a:pt x="7564234" y="26123"/>
                  <a:pt x="7565472" y="18979"/>
                </a:cubicBezTo>
                <a:cubicBezTo>
                  <a:pt x="7566710" y="13455"/>
                  <a:pt x="7567568" y="7930"/>
                  <a:pt x="7568520" y="1834"/>
                </a:cubicBezTo>
                <a:cubicBezTo>
                  <a:pt x="7576140" y="882"/>
                  <a:pt x="7635933" y="453"/>
                  <a:pt x="7695393" y="489"/>
                </a:cubicBezTo>
                <a:close/>
                <a:moveTo>
                  <a:pt x="697662" y="24"/>
                </a:moveTo>
                <a:cubicBezTo>
                  <a:pt x="705853" y="24"/>
                  <a:pt x="713854" y="1548"/>
                  <a:pt x="721951" y="4120"/>
                </a:cubicBezTo>
                <a:cubicBezTo>
                  <a:pt x="730237" y="6787"/>
                  <a:pt x="739096" y="7644"/>
                  <a:pt x="747763" y="8502"/>
                </a:cubicBezTo>
                <a:cubicBezTo>
                  <a:pt x="755955" y="9359"/>
                  <a:pt x="764242" y="9359"/>
                  <a:pt x="772528" y="9549"/>
                </a:cubicBezTo>
                <a:cubicBezTo>
                  <a:pt x="781387" y="9740"/>
                  <a:pt x="789959" y="10407"/>
                  <a:pt x="798055" y="14788"/>
                </a:cubicBezTo>
                <a:cubicBezTo>
                  <a:pt x="805009" y="18503"/>
                  <a:pt x="812914" y="19170"/>
                  <a:pt x="820630" y="19265"/>
                </a:cubicBezTo>
                <a:cubicBezTo>
                  <a:pt x="827964" y="19360"/>
                  <a:pt x="835012" y="20694"/>
                  <a:pt x="841394" y="24504"/>
                </a:cubicBezTo>
                <a:cubicBezTo>
                  <a:pt x="842728" y="25266"/>
                  <a:pt x="844061" y="26218"/>
                  <a:pt x="845585" y="26504"/>
                </a:cubicBezTo>
                <a:cubicBezTo>
                  <a:pt x="853681" y="28123"/>
                  <a:pt x="862254" y="28409"/>
                  <a:pt x="869683" y="31552"/>
                </a:cubicBezTo>
                <a:cubicBezTo>
                  <a:pt x="877303" y="34695"/>
                  <a:pt x="884161" y="39363"/>
                  <a:pt x="892734" y="39648"/>
                </a:cubicBezTo>
                <a:cubicBezTo>
                  <a:pt x="893782" y="39648"/>
                  <a:pt x="894924" y="39744"/>
                  <a:pt x="895781" y="40220"/>
                </a:cubicBezTo>
                <a:cubicBezTo>
                  <a:pt x="905116" y="45744"/>
                  <a:pt x="915593" y="48411"/>
                  <a:pt x="925500" y="52412"/>
                </a:cubicBezTo>
                <a:cubicBezTo>
                  <a:pt x="938263" y="57555"/>
                  <a:pt x="950741" y="63651"/>
                  <a:pt x="962838" y="70128"/>
                </a:cubicBezTo>
                <a:cubicBezTo>
                  <a:pt x="975982" y="77177"/>
                  <a:pt x="988555" y="84987"/>
                  <a:pt x="1001414" y="92607"/>
                </a:cubicBezTo>
                <a:cubicBezTo>
                  <a:pt x="1006652" y="95751"/>
                  <a:pt x="1011987" y="98989"/>
                  <a:pt x="1016939" y="102609"/>
                </a:cubicBezTo>
                <a:cubicBezTo>
                  <a:pt x="1046466" y="124421"/>
                  <a:pt x="1073233" y="149186"/>
                  <a:pt x="1095807" y="178332"/>
                </a:cubicBezTo>
                <a:cubicBezTo>
                  <a:pt x="1100569" y="184428"/>
                  <a:pt x="1100188" y="189858"/>
                  <a:pt x="1094378" y="194430"/>
                </a:cubicBezTo>
                <a:cubicBezTo>
                  <a:pt x="1072090" y="211860"/>
                  <a:pt x="1049706" y="229101"/>
                  <a:pt x="1027417" y="246627"/>
                </a:cubicBezTo>
                <a:cubicBezTo>
                  <a:pt x="1019702" y="252627"/>
                  <a:pt x="1012557" y="259295"/>
                  <a:pt x="1004937" y="265391"/>
                </a:cubicBezTo>
                <a:cubicBezTo>
                  <a:pt x="992460" y="275392"/>
                  <a:pt x="979792" y="285012"/>
                  <a:pt x="967315" y="294918"/>
                </a:cubicBezTo>
                <a:cubicBezTo>
                  <a:pt x="948455" y="309968"/>
                  <a:pt x="929690" y="325303"/>
                  <a:pt x="910927" y="340448"/>
                </a:cubicBezTo>
                <a:cubicBezTo>
                  <a:pt x="906069" y="344353"/>
                  <a:pt x="902449" y="344163"/>
                  <a:pt x="897211" y="339591"/>
                </a:cubicBezTo>
                <a:cubicBezTo>
                  <a:pt x="886733" y="330447"/>
                  <a:pt x="876065" y="321493"/>
                  <a:pt x="866064" y="311873"/>
                </a:cubicBezTo>
                <a:cubicBezTo>
                  <a:pt x="854824" y="301014"/>
                  <a:pt x="841394" y="293490"/>
                  <a:pt x="828440" y="285298"/>
                </a:cubicBezTo>
                <a:cubicBezTo>
                  <a:pt x="818915" y="279297"/>
                  <a:pt x="809390" y="272535"/>
                  <a:pt x="798913" y="268915"/>
                </a:cubicBezTo>
                <a:cubicBezTo>
                  <a:pt x="786340" y="264629"/>
                  <a:pt x="775576" y="255390"/>
                  <a:pt x="761765" y="254628"/>
                </a:cubicBezTo>
                <a:cubicBezTo>
                  <a:pt x="760717" y="254532"/>
                  <a:pt x="759574" y="254437"/>
                  <a:pt x="758812" y="253866"/>
                </a:cubicBezTo>
                <a:cubicBezTo>
                  <a:pt x="748335" y="245865"/>
                  <a:pt x="735857" y="245579"/>
                  <a:pt x="723570" y="244055"/>
                </a:cubicBezTo>
                <a:cubicBezTo>
                  <a:pt x="721570" y="243864"/>
                  <a:pt x="719474" y="243198"/>
                  <a:pt x="717664" y="242245"/>
                </a:cubicBezTo>
                <a:cubicBezTo>
                  <a:pt x="706806" y="236340"/>
                  <a:pt x="694995" y="235482"/>
                  <a:pt x="683089" y="235482"/>
                </a:cubicBezTo>
                <a:cubicBezTo>
                  <a:pt x="662991" y="235482"/>
                  <a:pt x="642798" y="235387"/>
                  <a:pt x="622700" y="235578"/>
                </a:cubicBezTo>
                <a:cubicBezTo>
                  <a:pt x="610222" y="235673"/>
                  <a:pt x="598126" y="237006"/>
                  <a:pt x="586505" y="242531"/>
                </a:cubicBezTo>
                <a:cubicBezTo>
                  <a:pt x="582028" y="244626"/>
                  <a:pt x="576504" y="244722"/>
                  <a:pt x="571456" y="245293"/>
                </a:cubicBezTo>
                <a:cubicBezTo>
                  <a:pt x="565741" y="245960"/>
                  <a:pt x="560216" y="246817"/>
                  <a:pt x="555644" y="250722"/>
                </a:cubicBezTo>
                <a:cubicBezTo>
                  <a:pt x="554120" y="252056"/>
                  <a:pt x="552215" y="253199"/>
                  <a:pt x="550310" y="253770"/>
                </a:cubicBezTo>
                <a:cubicBezTo>
                  <a:pt x="526688" y="260533"/>
                  <a:pt x="508495" y="275011"/>
                  <a:pt x="492874" y="293394"/>
                </a:cubicBezTo>
                <a:cubicBezTo>
                  <a:pt x="484207" y="303586"/>
                  <a:pt x="476301" y="314254"/>
                  <a:pt x="474586" y="328256"/>
                </a:cubicBezTo>
                <a:cubicBezTo>
                  <a:pt x="474301" y="330256"/>
                  <a:pt x="473824" y="332542"/>
                  <a:pt x="472681" y="334066"/>
                </a:cubicBezTo>
                <a:cubicBezTo>
                  <a:pt x="466490" y="342543"/>
                  <a:pt x="468014" y="351592"/>
                  <a:pt x="469919" y="360831"/>
                </a:cubicBezTo>
                <a:cubicBezTo>
                  <a:pt x="472015" y="370928"/>
                  <a:pt x="473729" y="381024"/>
                  <a:pt x="475729" y="391121"/>
                </a:cubicBezTo>
                <a:cubicBezTo>
                  <a:pt x="476206" y="393597"/>
                  <a:pt x="476682" y="396360"/>
                  <a:pt x="478015" y="398455"/>
                </a:cubicBezTo>
                <a:cubicBezTo>
                  <a:pt x="486874" y="412266"/>
                  <a:pt x="493160" y="427697"/>
                  <a:pt x="505257" y="439413"/>
                </a:cubicBezTo>
                <a:cubicBezTo>
                  <a:pt x="515258" y="449128"/>
                  <a:pt x="525545" y="458272"/>
                  <a:pt x="537737" y="465321"/>
                </a:cubicBezTo>
                <a:cubicBezTo>
                  <a:pt x="545643" y="469988"/>
                  <a:pt x="552977" y="475512"/>
                  <a:pt x="561454" y="479513"/>
                </a:cubicBezTo>
                <a:cubicBezTo>
                  <a:pt x="573456" y="485228"/>
                  <a:pt x="584314" y="493038"/>
                  <a:pt x="597554" y="496277"/>
                </a:cubicBezTo>
                <a:cubicBezTo>
                  <a:pt x="600412" y="496944"/>
                  <a:pt x="602888" y="499325"/>
                  <a:pt x="605555" y="500658"/>
                </a:cubicBezTo>
                <a:cubicBezTo>
                  <a:pt x="608222" y="502087"/>
                  <a:pt x="610984" y="503897"/>
                  <a:pt x="613937" y="504373"/>
                </a:cubicBezTo>
                <a:cubicBezTo>
                  <a:pt x="619652" y="505421"/>
                  <a:pt x="624796" y="507231"/>
                  <a:pt x="629558" y="510660"/>
                </a:cubicBezTo>
                <a:cubicBezTo>
                  <a:pt x="632416" y="512660"/>
                  <a:pt x="636130" y="513517"/>
                  <a:pt x="639464" y="514755"/>
                </a:cubicBezTo>
                <a:cubicBezTo>
                  <a:pt x="641369" y="515422"/>
                  <a:pt x="643941" y="515041"/>
                  <a:pt x="645465" y="516089"/>
                </a:cubicBezTo>
                <a:cubicBezTo>
                  <a:pt x="655752" y="523137"/>
                  <a:pt x="668706" y="523995"/>
                  <a:pt x="679183" y="530567"/>
                </a:cubicBezTo>
                <a:cubicBezTo>
                  <a:pt x="682136" y="532472"/>
                  <a:pt x="685660" y="533805"/>
                  <a:pt x="689089" y="534567"/>
                </a:cubicBezTo>
                <a:cubicBezTo>
                  <a:pt x="694709" y="535901"/>
                  <a:pt x="700043" y="537234"/>
                  <a:pt x="704615" y="541044"/>
                </a:cubicBezTo>
                <a:cubicBezTo>
                  <a:pt x="706139" y="542378"/>
                  <a:pt x="708235" y="543426"/>
                  <a:pt x="710140" y="543711"/>
                </a:cubicBezTo>
                <a:cubicBezTo>
                  <a:pt x="717569" y="544664"/>
                  <a:pt x="724046" y="547426"/>
                  <a:pt x="729666" y="552189"/>
                </a:cubicBezTo>
                <a:cubicBezTo>
                  <a:pt x="741191" y="553808"/>
                  <a:pt x="750049" y="561714"/>
                  <a:pt x="760813" y="565333"/>
                </a:cubicBezTo>
                <a:cubicBezTo>
                  <a:pt x="769957" y="568476"/>
                  <a:pt x="778815" y="572953"/>
                  <a:pt x="787292" y="577525"/>
                </a:cubicBezTo>
                <a:cubicBezTo>
                  <a:pt x="801675" y="585336"/>
                  <a:pt x="815581" y="594099"/>
                  <a:pt x="830059" y="601909"/>
                </a:cubicBezTo>
                <a:cubicBezTo>
                  <a:pt x="849109" y="612196"/>
                  <a:pt x="866635" y="624483"/>
                  <a:pt x="883876" y="637533"/>
                </a:cubicBezTo>
                <a:cubicBezTo>
                  <a:pt x="902353" y="651630"/>
                  <a:pt x="920355" y="666203"/>
                  <a:pt x="934738" y="684586"/>
                </a:cubicBezTo>
                <a:cubicBezTo>
                  <a:pt x="948930" y="702684"/>
                  <a:pt x="964076" y="720400"/>
                  <a:pt x="972457" y="742403"/>
                </a:cubicBezTo>
                <a:cubicBezTo>
                  <a:pt x="981031" y="752499"/>
                  <a:pt x="980935" y="766501"/>
                  <a:pt x="988364" y="777169"/>
                </a:cubicBezTo>
                <a:cubicBezTo>
                  <a:pt x="990459" y="780217"/>
                  <a:pt x="989984" y="785170"/>
                  <a:pt x="990936" y="789075"/>
                </a:cubicBezTo>
                <a:cubicBezTo>
                  <a:pt x="992556" y="796029"/>
                  <a:pt x="993698" y="803268"/>
                  <a:pt x="996270" y="809935"/>
                </a:cubicBezTo>
                <a:cubicBezTo>
                  <a:pt x="999033" y="817365"/>
                  <a:pt x="1000557" y="824699"/>
                  <a:pt x="1000557" y="832605"/>
                </a:cubicBezTo>
                <a:cubicBezTo>
                  <a:pt x="1000462" y="863561"/>
                  <a:pt x="1000462" y="894517"/>
                  <a:pt x="1000462" y="925473"/>
                </a:cubicBezTo>
                <a:cubicBezTo>
                  <a:pt x="1000462" y="933855"/>
                  <a:pt x="999319" y="941952"/>
                  <a:pt x="996366" y="949762"/>
                </a:cubicBezTo>
                <a:cubicBezTo>
                  <a:pt x="992937" y="959001"/>
                  <a:pt x="990745" y="968526"/>
                  <a:pt x="990841" y="978528"/>
                </a:cubicBezTo>
                <a:cubicBezTo>
                  <a:pt x="990841" y="985386"/>
                  <a:pt x="989602" y="991863"/>
                  <a:pt x="985697" y="997673"/>
                </a:cubicBezTo>
                <a:cubicBezTo>
                  <a:pt x="984554" y="999387"/>
                  <a:pt x="983125" y="1001292"/>
                  <a:pt x="983030" y="1003197"/>
                </a:cubicBezTo>
                <a:cubicBezTo>
                  <a:pt x="982459" y="1016913"/>
                  <a:pt x="974838" y="1028439"/>
                  <a:pt x="971028" y="1041107"/>
                </a:cubicBezTo>
                <a:cubicBezTo>
                  <a:pt x="970458" y="1043107"/>
                  <a:pt x="969982" y="1045107"/>
                  <a:pt x="969029" y="1046917"/>
                </a:cubicBezTo>
                <a:cubicBezTo>
                  <a:pt x="962647" y="1059681"/>
                  <a:pt x="957122" y="1073111"/>
                  <a:pt x="949312" y="1085112"/>
                </a:cubicBezTo>
                <a:cubicBezTo>
                  <a:pt x="940740" y="1098447"/>
                  <a:pt x="932643" y="1112163"/>
                  <a:pt x="922261" y="1124355"/>
                </a:cubicBezTo>
                <a:cubicBezTo>
                  <a:pt x="909593" y="1139214"/>
                  <a:pt x="898068" y="1155216"/>
                  <a:pt x="882923" y="1167885"/>
                </a:cubicBezTo>
                <a:cubicBezTo>
                  <a:pt x="865588" y="1182267"/>
                  <a:pt x="849109" y="1197888"/>
                  <a:pt x="829202" y="1209223"/>
                </a:cubicBezTo>
                <a:cubicBezTo>
                  <a:pt x="815391" y="1217034"/>
                  <a:pt x="802532" y="1226559"/>
                  <a:pt x="788816" y="1234464"/>
                </a:cubicBezTo>
                <a:cubicBezTo>
                  <a:pt x="782720" y="1237989"/>
                  <a:pt x="775767" y="1239989"/>
                  <a:pt x="769385" y="1243418"/>
                </a:cubicBezTo>
                <a:cubicBezTo>
                  <a:pt x="758622" y="1249228"/>
                  <a:pt x="746620" y="1252467"/>
                  <a:pt x="735286" y="1257134"/>
                </a:cubicBezTo>
                <a:cubicBezTo>
                  <a:pt x="722998" y="1262182"/>
                  <a:pt x="710806" y="1267516"/>
                  <a:pt x="697471" y="1269135"/>
                </a:cubicBezTo>
                <a:cubicBezTo>
                  <a:pt x="689280" y="1275517"/>
                  <a:pt x="679564" y="1276279"/>
                  <a:pt x="669658" y="1277041"/>
                </a:cubicBezTo>
                <a:cubicBezTo>
                  <a:pt x="665182" y="1277327"/>
                  <a:pt x="660419" y="1278660"/>
                  <a:pt x="656419" y="1280756"/>
                </a:cubicBezTo>
                <a:cubicBezTo>
                  <a:pt x="649370" y="1284566"/>
                  <a:pt x="642036" y="1286185"/>
                  <a:pt x="634130" y="1286185"/>
                </a:cubicBezTo>
                <a:cubicBezTo>
                  <a:pt x="621176" y="1286280"/>
                  <a:pt x="608508" y="1288471"/>
                  <a:pt x="596125" y="1292662"/>
                </a:cubicBezTo>
                <a:cubicBezTo>
                  <a:pt x="589934" y="1294758"/>
                  <a:pt x="582981" y="1295615"/>
                  <a:pt x="576409" y="1295805"/>
                </a:cubicBezTo>
                <a:cubicBezTo>
                  <a:pt x="545929" y="1296948"/>
                  <a:pt x="515449" y="1297520"/>
                  <a:pt x="481730" y="1298282"/>
                </a:cubicBezTo>
                <a:cubicBezTo>
                  <a:pt x="454108" y="1297615"/>
                  <a:pt x="423151" y="1296948"/>
                  <a:pt x="392195" y="1295996"/>
                </a:cubicBezTo>
                <a:cubicBezTo>
                  <a:pt x="386099" y="1295805"/>
                  <a:pt x="379717" y="1294948"/>
                  <a:pt x="374002" y="1292853"/>
                </a:cubicBezTo>
                <a:cubicBezTo>
                  <a:pt x="362668" y="1288757"/>
                  <a:pt x="351047" y="1286852"/>
                  <a:pt x="339141" y="1286566"/>
                </a:cubicBezTo>
                <a:cubicBezTo>
                  <a:pt x="330759" y="1286376"/>
                  <a:pt x="322948" y="1284756"/>
                  <a:pt x="315233" y="1281137"/>
                </a:cubicBezTo>
                <a:cubicBezTo>
                  <a:pt x="309804" y="1278565"/>
                  <a:pt x="303422" y="1277232"/>
                  <a:pt x="297326" y="1277041"/>
                </a:cubicBezTo>
                <a:cubicBezTo>
                  <a:pt x="287611" y="1276660"/>
                  <a:pt x="279705" y="1272088"/>
                  <a:pt x="271132" y="1268659"/>
                </a:cubicBezTo>
                <a:cubicBezTo>
                  <a:pt x="262655" y="1265325"/>
                  <a:pt x="252368" y="1267802"/>
                  <a:pt x="244939" y="1260658"/>
                </a:cubicBezTo>
                <a:cubicBezTo>
                  <a:pt x="243891" y="1259610"/>
                  <a:pt x="242272" y="1258848"/>
                  <a:pt x="240843" y="1258658"/>
                </a:cubicBezTo>
                <a:cubicBezTo>
                  <a:pt x="230461" y="1257420"/>
                  <a:pt x="221602" y="1251990"/>
                  <a:pt x="212077" y="1248466"/>
                </a:cubicBezTo>
                <a:cubicBezTo>
                  <a:pt x="198647" y="1243418"/>
                  <a:pt x="185884" y="1237227"/>
                  <a:pt x="173215" y="1230559"/>
                </a:cubicBezTo>
                <a:cubicBezTo>
                  <a:pt x="164167" y="1225797"/>
                  <a:pt x="154546" y="1221987"/>
                  <a:pt x="145688" y="1216938"/>
                </a:cubicBezTo>
                <a:cubicBezTo>
                  <a:pt x="135020" y="1210842"/>
                  <a:pt x="124828" y="1203984"/>
                  <a:pt x="114541" y="1197412"/>
                </a:cubicBezTo>
                <a:cubicBezTo>
                  <a:pt x="92443" y="1183125"/>
                  <a:pt x="72060" y="1166646"/>
                  <a:pt x="53391" y="1148168"/>
                </a:cubicBezTo>
                <a:cubicBezTo>
                  <a:pt x="36532" y="1131499"/>
                  <a:pt x="19958" y="1114640"/>
                  <a:pt x="6528" y="1094923"/>
                </a:cubicBezTo>
                <a:cubicBezTo>
                  <a:pt x="4528" y="1091970"/>
                  <a:pt x="2718" y="1088827"/>
                  <a:pt x="1384" y="1085493"/>
                </a:cubicBezTo>
                <a:cubicBezTo>
                  <a:pt x="-1187" y="1079112"/>
                  <a:pt x="-425" y="1074063"/>
                  <a:pt x="5766" y="1069301"/>
                </a:cubicBezTo>
                <a:cubicBezTo>
                  <a:pt x="21292" y="1057395"/>
                  <a:pt x="36246" y="1044822"/>
                  <a:pt x="51486" y="1032534"/>
                </a:cubicBezTo>
                <a:cubicBezTo>
                  <a:pt x="75108" y="1013484"/>
                  <a:pt x="98635" y="994339"/>
                  <a:pt x="122257" y="975384"/>
                </a:cubicBezTo>
                <a:cubicBezTo>
                  <a:pt x="131496" y="967955"/>
                  <a:pt x="141116" y="961097"/>
                  <a:pt x="150451" y="953763"/>
                </a:cubicBezTo>
                <a:cubicBezTo>
                  <a:pt x="161309" y="945190"/>
                  <a:pt x="171977" y="936237"/>
                  <a:pt x="182931" y="927664"/>
                </a:cubicBezTo>
                <a:cubicBezTo>
                  <a:pt x="193123" y="919663"/>
                  <a:pt x="193694" y="919758"/>
                  <a:pt x="203124" y="929664"/>
                </a:cubicBezTo>
                <a:cubicBezTo>
                  <a:pt x="206362" y="932998"/>
                  <a:pt x="209410" y="936522"/>
                  <a:pt x="212554" y="939856"/>
                </a:cubicBezTo>
                <a:cubicBezTo>
                  <a:pt x="230365" y="958620"/>
                  <a:pt x="251606" y="973575"/>
                  <a:pt x="273037" y="987481"/>
                </a:cubicBezTo>
                <a:cubicBezTo>
                  <a:pt x="287896" y="997101"/>
                  <a:pt x="303136" y="1006912"/>
                  <a:pt x="320281" y="1012532"/>
                </a:cubicBezTo>
                <a:cubicBezTo>
                  <a:pt x="329330" y="1020723"/>
                  <a:pt x="342570" y="1020152"/>
                  <a:pt x="352000" y="1027772"/>
                </a:cubicBezTo>
                <a:cubicBezTo>
                  <a:pt x="353905" y="1029296"/>
                  <a:pt x="356762" y="1029963"/>
                  <a:pt x="359239" y="1030248"/>
                </a:cubicBezTo>
                <a:cubicBezTo>
                  <a:pt x="367049" y="1031296"/>
                  <a:pt x="374098" y="1033868"/>
                  <a:pt x="380956" y="1037868"/>
                </a:cubicBezTo>
                <a:cubicBezTo>
                  <a:pt x="384766" y="1040059"/>
                  <a:pt x="389909" y="1039964"/>
                  <a:pt x="394386" y="1040916"/>
                </a:cubicBezTo>
                <a:cubicBezTo>
                  <a:pt x="399339" y="1042059"/>
                  <a:pt x="404863" y="1042250"/>
                  <a:pt x="409150" y="1044631"/>
                </a:cubicBezTo>
                <a:cubicBezTo>
                  <a:pt x="417246" y="1048822"/>
                  <a:pt x="425533" y="1050727"/>
                  <a:pt x="434486" y="1050632"/>
                </a:cubicBezTo>
                <a:cubicBezTo>
                  <a:pt x="445916" y="1050632"/>
                  <a:pt x="456965" y="1052346"/>
                  <a:pt x="468109" y="1055204"/>
                </a:cubicBezTo>
                <a:cubicBezTo>
                  <a:pt x="486493" y="1059966"/>
                  <a:pt x="505066" y="1057776"/>
                  <a:pt x="523354" y="1054251"/>
                </a:cubicBezTo>
                <a:cubicBezTo>
                  <a:pt x="533546" y="1052251"/>
                  <a:pt x="543643" y="1050632"/>
                  <a:pt x="554025" y="1050727"/>
                </a:cubicBezTo>
                <a:cubicBezTo>
                  <a:pt x="563931" y="1050822"/>
                  <a:pt x="573646" y="1049870"/>
                  <a:pt x="582314" y="1044441"/>
                </a:cubicBezTo>
                <a:cubicBezTo>
                  <a:pt x="583648" y="1043679"/>
                  <a:pt x="585076" y="1042726"/>
                  <a:pt x="586505" y="1042536"/>
                </a:cubicBezTo>
                <a:cubicBezTo>
                  <a:pt x="598507" y="1041393"/>
                  <a:pt x="608984" y="1036440"/>
                  <a:pt x="619843" y="1031487"/>
                </a:cubicBezTo>
                <a:cubicBezTo>
                  <a:pt x="647656" y="1018818"/>
                  <a:pt x="671468" y="1002150"/>
                  <a:pt x="686708" y="974622"/>
                </a:cubicBezTo>
                <a:cubicBezTo>
                  <a:pt x="691185" y="966431"/>
                  <a:pt x="696328" y="958906"/>
                  <a:pt x="696614" y="949191"/>
                </a:cubicBezTo>
                <a:cubicBezTo>
                  <a:pt x="696614" y="947667"/>
                  <a:pt x="696900" y="945952"/>
                  <a:pt x="697757" y="944714"/>
                </a:cubicBezTo>
                <a:cubicBezTo>
                  <a:pt x="704329" y="934522"/>
                  <a:pt x="702329" y="924045"/>
                  <a:pt x="699281" y="913377"/>
                </a:cubicBezTo>
                <a:cubicBezTo>
                  <a:pt x="698043" y="908900"/>
                  <a:pt x="696328" y="904233"/>
                  <a:pt x="696519" y="899756"/>
                </a:cubicBezTo>
                <a:cubicBezTo>
                  <a:pt x="697376" y="885754"/>
                  <a:pt x="689280" y="874896"/>
                  <a:pt x="683184" y="864132"/>
                </a:cubicBezTo>
                <a:cubicBezTo>
                  <a:pt x="676707" y="852702"/>
                  <a:pt x="666610" y="843177"/>
                  <a:pt x="656990" y="833843"/>
                </a:cubicBezTo>
                <a:cubicBezTo>
                  <a:pt x="643750" y="820889"/>
                  <a:pt x="627272" y="812126"/>
                  <a:pt x="611651" y="802315"/>
                </a:cubicBezTo>
                <a:cubicBezTo>
                  <a:pt x="600412" y="800315"/>
                  <a:pt x="592315" y="790314"/>
                  <a:pt x="580504" y="789552"/>
                </a:cubicBezTo>
                <a:cubicBezTo>
                  <a:pt x="570694" y="780408"/>
                  <a:pt x="556025" y="781836"/>
                  <a:pt x="545643" y="773835"/>
                </a:cubicBezTo>
                <a:cubicBezTo>
                  <a:pt x="543738" y="772311"/>
                  <a:pt x="540880" y="771645"/>
                  <a:pt x="538404" y="771454"/>
                </a:cubicBezTo>
                <a:cubicBezTo>
                  <a:pt x="532022" y="770883"/>
                  <a:pt x="526498" y="768787"/>
                  <a:pt x="521259" y="765072"/>
                </a:cubicBezTo>
                <a:cubicBezTo>
                  <a:pt x="518401" y="763072"/>
                  <a:pt x="514687" y="761929"/>
                  <a:pt x="511162" y="761453"/>
                </a:cubicBezTo>
                <a:cubicBezTo>
                  <a:pt x="504400" y="760500"/>
                  <a:pt x="498113" y="758786"/>
                  <a:pt x="492589" y="754404"/>
                </a:cubicBezTo>
                <a:cubicBezTo>
                  <a:pt x="491065" y="753166"/>
                  <a:pt x="488874" y="752499"/>
                  <a:pt x="486874" y="752118"/>
                </a:cubicBezTo>
                <a:cubicBezTo>
                  <a:pt x="478682" y="750594"/>
                  <a:pt x="470681" y="749070"/>
                  <a:pt x="463918" y="743736"/>
                </a:cubicBezTo>
                <a:cubicBezTo>
                  <a:pt x="462013" y="742308"/>
                  <a:pt x="459156" y="741831"/>
                  <a:pt x="456584" y="741546"/>
                </a:cubicBezTo>
                <a:cubicBezTo>
                  <a:pt x="450869" y="740784"/>
                  <a:pt x="446011" y="738117"/>
                  <a:pt x="440773" y="735735"/>
                </a:cubicBezTo>
                <a:cubicBezTo>
                  <a:pt x="429724" y="730592"/>
                  <a:pt x="417817" y="727353"/>
                  <a:pt x="406959" y="721638"/>
                </a:cubicBezTo>
                <a:cubicBezTo>
                  <a:pt x="403339" y="719733"/>
                  <a:pt x="399529" y="718305"/>
                  <a:pt x="395910" y="716590"/>
                </a:cubicBezTo>
                <a:cubicBezTo>
                  <a:pt x="393624" y="715447"/>
                  <a:pt x="391624" y="713733"/>
                  <a:pt x="389242" y="712780"/>
                </a:cubicBezTo>
                <a:cubicBezTo>
                  <a:pt x="376860" y="707827"/>
                  <a:pt x="365811" y="700588"/>
                  <a:pt x="354095" y="694492"/>
                </a:cubicBezTo>
                <a:cubicBezTo>
                  <a:pt x="340760" y="687634"/>
                  <a:pt x="328759" y="678871"/>
                  <a:pt x="316090" y="671156"/>
                </a:cubicBezTo>
                <a:cubicBezTo>
                  <a:pt x="305232" y="664488"/>
                  <a:pt x="295612" y="655630"/>
                  <a:pt x="285515" y="647724"/>
                </a:cubicBezTo>
                <a:cubicBezTo>
                  <a:pt x="264655" y="631437"/>
                  <a:pt x="246844" y="612291"/>
                  <a:pt x="230365" y="591622"/>
                </a:cubicBezTo>
                <a:cubicBezTo>
                  <a:pt x="219697" y="578287"/>
                  <a:pt x="211982" y="563238"/>
                  <a:pt x="202076" y="549522"/>
                </a:cubicBezTo>
                <a:cubicBezTo>
                  <a:pt x="199409" y="537996"/>
                  <a:pt x="189598" y="529233"/>
                  <a:pt x="188836" y="516946"/>
                </a:cubicBezTo>
                <a:cubicBezTo>
                  <a:pt x="181883" y="505707"/>
                  <a:pt x="178930" y="493419"/>
                  <a:pt x="178073" y="480370"/>
                </a:cubicBezTo>
                <a:cubicBezTo>
                  <a:pt x="177978" y="479322"/>
                  <a:pt x="177692" y="478275"/>
                  <a:pt x="177216" y="477417"/>
                </a:cubicBezTo>
                <a:cubicBezTo>
                  <a:pt x="169215" y="464940"/>
                  <a:pt x="169977" y="450843"/>
                  <a:pt x="169977" y="436936"/>
                </a:cubicBezTo>
                <a:cubicBezTo>
                  <a:pt x="169977" y="414743"/>
                  <a:pt x="169977" y="392550"/>
                  <a:pt x="170453" y="370356"/>
                </a:cubicBezTo>
                <a:cubicBezTo>
                  <a:pt x="170644" y="363784"/>
                  <a:pt x="171691" y="356831"/>
                  <a:pt x="174073" y="350735"/>
                </a:cubicBezTo>
                <a:cubicBezTo>
                  <a:pt x="177692" y="341400"/>
                  <a:pt x="179692" y="331971"/>
                  <a:pt x="179883" y="322065"/>
                </a:cubicBezTo>
                <a:cubicBezTo>
                  <a:pt x="179978" y="315207"/>
                  <a:pt x="180931" y="308730"/>
                  <a:pt x="185217" y="303015"/>
                </a:cubicBezTo>
                <a:cubicBezTo>
                  <a:pt x="186169" y="301776"/>
                  <a:pt x="187122" y="300348"/>
                  <a:pt x="187312" y="298919"/>
                </a:cubicBezTo>
                <a:cubicBezTo>
                  <a:pt x="188932" y="286632"/>
                  <a:pt x="194361" y="275583"/>
                  <a:pt x="198552" y="264057"/>
                </a:cubicBezTo>
                <a:cubicBezTo>
                  <a:pt x="203314" y="250913"/>
                  <a:pt x="209410" y="238816"/>
                  <a:pt x="216078" y="226719"/>
                </a:cubicBezTo>
                <a:cubicBezTo>
                  <a:pt x="219316" y="220909"/>
                  <a:pt x="222555" y="215004"/>
                  <a:pt x="225793" y="209289"/>
                </a:cubicBezTo>
                <a:cubicBezTo>
                  <a:pt x="247606" y="171284"/>
                  <a:pt x="277609" y="140232"/>
                  <a:pt x="310661" y="112229"/>
                </a:cubicBezTo>
                <a:cubicBezTo>
                  <a:pt x="326187" y="98989"/>
                  <a:pt x="342951" y="86797"/>
                  <a:pt x="361620" y="77748"/>
                </a:cubicBezTo>
                <a:cubicBezTo>
                  <a:pt x="369240" y="69652"/>
                  <a:pt x="381241" y="68985"/>
                  <a:pt x="389147" y="61270"/>
                </a:cubicBezTo>
                <a:cubicBezTo>
                  <a:pt x="400482" y="59365"/>
                  <a:pt x="408483" y="49745"/>
                  <a:pt x="420103" y="48316"/>
                </a:cubicBezTo>
                <a:cubicBezTo>
                  <a:pt x="422961" y="47935"/>
                  <a:pt x="425533" y="45649"/>
                  <a:pt x="428295" y="44316"/>
                </a:cubicBezTo>
                <a:cubicBezTo>
                  <a:pt x="431533" y="42792"/>
                  <a:pt x="434677" y="40696"/>
                  <a:pt x="438106" y="40125"/>
                </a:cubicBezTo>
                <a:cubicBezTo>
                  <a:pt x="445821" y="38696"/>
                  <a:pt x="452965" y="36696"/>
                  <a:pt x="459632" y="32314"/>
                </a:cubicBezTo>
                <a:cubicBezTo>
                  <a:pt x="463252" y="29933"/>
                  <a:pt x="468490" y="29742"/>
                  <a:pt x="472967" y="29266"/>
                </a:cubicBezTo>
                <a:cubicBezTo>
                  <a:pt x="479158" y="28504"/>
                  <a:pt x="485254" y="27456"/>
                  <a:pt x="490588" y="24027"/>
                </a:cubicBezTo>
                <a:cubicBezTo>
                  <a:pt x="496018" y="20598"/>
                  <a:pt x="501923" y="19455"/>
                  <a:pt x="508305" y="19360"/>
                </a:cubicBezTo>
                <a:cubicBezTo>
                  <a:pt x="518211" y="19265"/>
                  <a:pt x="527545" y="17550"/>
                  <a:pt x="536785" y="13264"/>
                </a:cubicBezTo>
                <a:cubicBezTo>
                  <a:pt x="542214" y="10788"/>
                  <a:pt x="548691" y="10311"/>
                  <a:pt x="554787" y="9835"/>
                </a:cubicBezTo>
                <a:cubicBezTo>
                  <a:pt x="566122" y="8978"/>
                  <a:pt x="577456" y="9073"/>
                  <a:pt x="588791" y="8216"/>
                </a:cubicBezTo>
                <a:cubicBezTo>
                  <a:pt x="598030" y="7549"/>
                  <a:pt x="607174" y="6597"/>
                  <a:pt x="615937" y="2787"/>
                </a:cubicBezTo>
                <a:cubicBezTo>
                  <a:pt x="620033" y="977"/>
                  <a:pt x="624986" y="596"/>
                  <a:pt x="629558" y="501"/>
                </a:cubicBezTo>
                <a:cubicBezTo>
                  <a:pt x="652228" y="120"/>
                  <a:pt x="674992" y="-71"/>
                  <a:pt x="697662" y="24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D04284F-1DB2-4DCB-8761-0F29BDBA4634}"/>
              </a:ext>
            </a:extLst>
          </p:cNvPr>
          <p:cNvSpPr/>
          <p:nvPr/>
        </p:nvSpPr>
        <p:spPr>
          <a:xfrm>
            <a:off x="985617" y="4296681"/>
            <a:ext cx="1080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890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3765F2AA-B0D3-4B46-AC9D-EB62E6C6A748}"/>
              </a:ext>
            </a:extLst>
          </p:cNvPr>
          <p:cNvSpPr/>
          <p:nvPr/>
        </p:nvSpPr>
        <p:spPr>
          <a:xfrm rot="5400000">
            <a:off x="8377481" y="2467065"/>
            <a:ext cx="1454415" cy="5488827"/>
          </a:xfrm>
          <a:prstGeom prst="roundRect">
            <a:avLst>
              <a:gd name="adj" fmla="val 9159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A07DB73-7D9C-4B2E-861A-E2B9AAF4CE12}"/>
              </a:ext>
            </a:extLst>
          </p:cNvPr>
          <p:cNvSpPr/>
          <p:nvPr/>
        </p:nvSpPr>
        <p:spPr>
          <a:xfrm>
            <a:off x="145889" y="5382152"/>
            <a:ext cx="2407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详细价格请咨询销售人员</a:t>
            </a:r>
            <a:endParaRPr lang="en-US" altLang="zh-CN" sz="105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FDDCD49B-F467-406F-A709-F6B82D45B813}"/>
              </a:ext>
            </a:extLst>
          </p:cNvPr>
          <p:cNvSpPr/>
          <p:nvPr/>
        </p:nvSpPr>
        <p:spPr>
          <a:xfrm rot="5400000">
            <a:off x="8501651" y="-404225"/>
            <a:ext cx="1206074" cy="5488827"/>
          </a:xfrm>
          <a:prstGeom prst="roundRect">
            <a:avLst>
              <a:gd name="adj" fmla="val 9159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FE3C2D91-3598-4A8D-B433-A4DA49BFA0F5}"/>
              </a:ext>
            </a:extLst>
          </p:cNvPr>
          <p:cNvSpPr/>
          <p:nvPr/>
        </p:nvSpPr>
        <p:spPr>
          <a:xfrm rot="5400000">
            <a:off x="8501652" y="971463"/>
            <a:ext cx="1206074" cy="5488827"/>
          </a:xfrm>
          <a:prstGeom prst="roundRect">
            <a:avLst>
              <a:gd name="adj" fmla="val 9159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B5D5E036-A55B-49D2-B798-13E674012382}"/>
              </a:ext>
            </a:extLst>
          </p:cNvPr>
          <p:cNvSpPr/>
          <p:nvPr/>
        </p:nvSpPr>
        <p:spPr>
          <a:xfrm>
            <a:off x="-3396820" y="-1030534"/>
            <a:ext cx="9492820" cy="9492820"/>
          </a:xfrm>
          <a:prstGeom prst="ellipse">
            <a:avLst/>
          </a:prstGeom>
          <a:noFill/>
          <a:ln w="6350">
            <a:gradFill flip="none" rotWithShape="1">
              <a:gsLst>
                <a:gs pos="92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524A581C-6B35-4772-A05A-7796E2485D3C}"/>
              </a:ext>
            </a:extLst>
          </p:cNvPr>
          <p:cNvGrpSpPr/>
          <p:nvPr/>
        </p:nvGrpSpPr>
        <p:grpSpPr>
          <a:xfrm>
            <a:off x="-469470" y="1896816"/>
            <a:ext cx="3638120" cy="3638120"/>
            <a:chOff x="-367870" y="1983975"/>
            <a:chExt cx="3434920" cy="3434920"/>
          </a:xfrm>
        </p:grpSpPr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EF0D8902-FBA9-4E8F-A050-941EC151B2DE}"/>
                </a:ext>
              </a:extLst>
            </p:cNvPr>
            <p:cNvSpPr/>
            <p:nvPr/>
          </p:nvSpPr>
          <p:spPr>
            <a:xfrm>
              <a:off x="-367870" y="1983975"/>
              <a:ext cx="3434920" cy="3434920"/>
            </a:xfrm>
            <a:prstGeom prst="ellipse">
              <a:avLst/>
            </a:prstGeom>
            <a:solidFill>
              <a:schemeClr val="accent1">
                <a:alpha val="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D8878E74-F23C-4BB9-86EA-545F93E76866}"/>
                </a:ext>
              </a:extLst>
            </p:cNvPr>
            <p:cNvSpPr/>
            <p:nvPr/>
          </p:nvSpPr>
          <p:spPr>
            <a:xfrm>
              <a:off x="-117090" y="2234755"/>
              <a:ext cx="2933360" cy="2933360"/>
            </a:xfrm>
            <a:prstGeom prst="ellipse">
              <a:avLst/>
            </a:prstGeom>
            <a:solidFill>
              <a:schemeClr val="accent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B68175AA-E3F0-48CC-890E-2E4391460F5E}"/>
                </a:ext>
              </a:extLst>
            </p:cNvPr>
            <p:cNvSpPr/>
            <p:nvPr/>
          </p:nvSpPr>
          <p:spPr>
            <a:xfrm>
              <a:off x="133688" y="2485533"/>
              <a:ext cx="2431803" cy="2431803"/>
            </a:xfrm>
            <a:prstGeom prst="ellipse">
              <a:avLst/>
            </a:prstGeom>
            <a:solidFill>
              <a:schemeClr val="accent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6" name="椭圆 45">
            <a:extLst>
              <a:ext uri="{FF2B5EF4-FFF2-40B4-BE49-F238E27FC236}">
                <a16:creationId xmlns:a16="http://schemas.microsoft.com/office/drawing/2014/main" id="{6627521A-F23D-4C30-BA5E-A9C0F01B50BF}"/>
              </a:ext>
            </a:extLst>
          </p:cNvPr>
          <p:cNvSpPr/>
          <p:nvPr/>
        </p:nvSpPr>
        <p:spPr>
          <a:xfrm>
            <a:off x="6716069" y="3391282"/>
            <a:ext cx="648000" cy="649188"/>
          </a:xfrm>
          <a:prstGeom prst="ellipse">
            <a:avLst/>
          </a:prstGeom>
          <a:solidFill>
            <a:schemeClr val="accent3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hangingPunct="0"/>
            <a:endParaRPr lang="zh-CN" altLang="en-US" sz="3000" dirty="0">
              <a:solidFill>
                <a:srgbClr val="000000"/>
              </a:solidFill>
              <a:latin typeface="微软雅黑" panose="020B0503020204020204" pitchFamily="34" charset="-122"/>
              <a:sym typeface="Helvetica Neue Medium"/>
            </a:endParaRPr>
          </a:p>
        </p:txBody>
      </p: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FF00C935-BD10-4606-8229-BF2F6219F4ED}"/>
              </a:ext>
            </a:extLst>
          </p:cNvPr>
          <p:cNvGrpSpPr/>
          <p:nvPr/>
        </p:nvGrpSpPr>
        <p:grpSpPr>
          <a:xfrm>
            <a:off x="6898506" y="3545357"/>
            <a:ext cx="283126" cy="341038"/>
            <a:chOff x="6343114" y="3161496"/>
            <a:chExt cx="379952" cy="457670"/>
          </a:xfrm>
        </p:grpSpPr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B19E05DD-C128-4E59-8496-B1555A14A1B7}"/>
                </a:ext>
              </a:extLst>
            </p:cNvPr>
            <p:cNvSpPr/>
            <p:nvPr/>
          </p:nvSpPr>
          <p:spPr>
            <a:xfrm>
              <a:off x="6343114" y="3161496"/>
              <a:ext cx="379952" cy="336776"/>
            </a:xfrm>
            <a:custGeom>
              <a:avLst/>
              <a:gdLst>
                <a:gd name="connsiteX0" fmla="*/ 280647 w 379952"/>
                <a:gd name="connsiteY0" fmla="*/ 306553 h 336776"/>
                <a:gd name="connsiteX1" fmla="*/ 315188 w 379952"/>
                <a:gd name="connsiteY1" fmla="*/ 336776 h 336776"/>
                <a:gd name="connsiteX2" fmla="*/ 336776 w 379952"/>
                <a:gd name="connsiteY2" fmla="*/ 315188 h 336776"/>
                <a:gd name="connsiteX3" fmla="*/ 306553 w 379952"/>
                <a:gd name="connsiteY3" fmla="*/ 280647 h 336776"/>
                <a:gd name="connsiteX4" fmla="*/ 332459 w 379952"/>
                <a:gd name="connsiteY4" fmla="*/ 215882 h 336776"/>
                <a:gd name="connsiteX5" fmla="*/ 379953 w 379952"/>
                <a:gd name="connsiteY5" fmla="*/ 207247 h 336776"/>
                <a:gd name="connsiteX6" fmla="*/ 379953 w 379952"/>
                <a:gd name="connsiteY6" fmla="*/ 177023 h 336776"/>
                <a:gd name="connsiteX7" fmla="*/ 336776 w 379952"/>
                <a:gd name="connsiteY7" fmla="*/ 168388 h 336776"/>
                <a:gd name="connsiteX8" fmla="*/ 306553 w 379952"/>
                <a:gd name="connsiteY8" fmla="*/ 103623 h 336776"/>
                <a:gd name="connsiteX9" fmla="*/ 336776 w 379952"/>
                <a:gd name="connsiteY9" fmla="*/ 64765 h 336776"/>
                <a:gd name="connsiteX10" fmla="*/ 315188 w 379952"/>
                <a:gd name="connsiteY10" fmla="*/ 43176 h 336776"/>
                <a:gd name="connsiteX11" fmla="*/ 280647 w 379952"/>
                <a:gd name="connsiteY11" fmla="*/ 73400 h 336776"/>
                <a:gd name="connsiteX12" fmla="*/ 211565 w 379952"/>
                <a:gd name="connsiteY12" fmla="*/ 47494 h 336776"/>
                <a:gd name="connsiteX13" fmla="*/ 207247 w 379952"/>
                <a:gd name="connsiteY13" fmla="*/ 0 h 336776"/>
                <a:gd name="connsiteX14" fmla="*/ 177023 w 379952"/>
                <a:gd name="connsiteY14" fmla="*/ 0 h 336776"/>
                <a:gd name="connsiteX15" fmla="*/ 168388 w 379952"/>
                <a:gd name="connsiteY15" fmla="*/ 47494 h 336776"/>
                <a:gd name="connsiteX16" fmla="*/ 103623 w 379952"/>
                <a:gd name="connsiteY16" fmla="*/ 73400 h 336776"/>
                <a:gd name="connsiteX17" fmla="*/ 64765 w 379952"/>
                <a:gd name="connsiteY17" fmla="*/ 43176 h 336776"/>
                <a:gd name="connsiteX18" fmla="*/ 43176 w 379952"/>
                <a:gd name="connsiteY18" fmla="*/ 64765 h 336776"/>
                <a:gd name="connsiteX19" fmla="*/ 73400 w 379952"/>
                <a:gd name="connsiteY19" fmla="*/ 103623 h 336776"/>
                <a:gd name="connsiteX20" fmla="*/ 47494 w 379952"/>
                <a:gd name="connsiteY20" fmla="*/ 168388 h 336776"/>
                <a:gd name="connsiteX21" fmla="*/ 0 w 379952"/>
                <a:gd name="connsiteY21" fmla="*/ 177023 h 336776"/>
                <a:gd name="connsiteX22" fmla="*/ 0 w 379952"/>
                <a:gd name="connsiteY22" fmla="*/ 207247 h 336776"/>
                <a:gd name="connsiteX23" fmla="*/ 47494 w 379952"/>
                <a:gd name="connsiteY23" fmla="*/ 211565 h 336776"/>
                <a:gd name="connsiteX24" fmla="*/ 73400 w 379952"/>
                <a:gd name="connsiteY24" fmla="*/ 276329 h 336776"/>
                <a:gd name="connsiteX25" fmla="*/ 43176 w 379952"/>
                <a:gd name="connsiteY25" fmla="*/ 315188 h 336776"/>
                <a:gd name="connsiteX26" fmla="*/ 64765 w 379952"/>
                <a:gd name="connsiteY26" fmla="*/ 336776 h 336776"/>
                <a:gd name="connsiteX27" fmla="*/ 99306 w 379952"/>
                <a:gd name="connsiteY27" fmla="*/ 306553 h 33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952" h="336776">
                  <a:moveTo>
                    <a:pt x="280647" y="306553"/>
                  </a:moveTo>
                  <a:lnTo>
                    <a:pt x="315188" y="336776"/>
                  </a:lnTo>
                  <a:lnTo>
                    <a:pt x="336776" y="315188"/>
                  </a:lnTo>
                  <a:lnTo>
                    <a:pt x="306553" y="280647"/>
                  </a:lnTo>
                  <a:cubicBezTo>
                    <a:pt x="319506" y="263376"/>
                    <a:pt x="332459" y="237471"/>
                    <a:pt x="332459" y="215882"/>
                  </a:cubicBezTo>
                  <a:lnTo>
                    <a:pt x="379953" y="207247"/>
                  </a:lnTo>
                  <a:lnTo>
                    <a:pt x="379953" y="177023"/>
                  </a:lnTo>
                  <a:lnTo>
                    <a:pt x="336776" y="168388"/>
                  </a:lnTo>
                  <a:cubicBezTo>
                    <a:pt x="332459" y="146800"/>
                    <a:pt x="323823" y="120894"/>
                    <a:pt x="306553" y="103623"/>
                  </a:cubicBezTo>
                  <a:lnTo>
                    <a:pt x="336776" y="64765"/>
                  </a:lnTo>
                  <a:lnTo>
                    <a:pt x="315188" y="43176"/>
                  </a:lnTo>
                  <a:lnTo>
                    <a:pt x="280647" y="73400"/>
                  </a:lnTo>
                  <a:cubicBezTo>
                    <a:pt x="259059" y="60447"/>
                    <a:pt x="237470" y="51812"/>
                    <a:pt x="211565" y="47494"/>
                  </a:cubicBezTo>
                  <a:lnTo>
                    <a:pt x="207247" y="0"/>
                  </a:lnTo>
                  <a:lnTo>
                    <a:pt x="177023" y="0"/>
                  </a:lnTo>
                  <a:lnTo>
                    <a:pt x="168388" y="47494"/>
                  </a:lnTo>
                  <a:cubicBezTo>
                    <a:pt x="146800" y="51812"/>
                    <a:pt x="120894" y="60447"/>
                    <a:pt x="103623" y="73400"/>
                  </a:cubicBezTo>
                  <a:lnTo>
                    <a:pt x="64765" y="43176"/>
                  </a:lnTo>
                  <a:lnTo>
                    <a:pt x="43176" y="64765"/>
                  </a:lnTo>
                  <a:lnTo>
                    <a:pt x="73400" y="103623"/>
                  </a:lnTo>
                  <a:cubicBezTo>
                    <a:pt x="60447" y="120894"/>
                    <a:pt x="51812" y="146800"/>
                    <a:pt x="47494" y="168388"/>
                  </a:cubicBezTo>
                  <a:lnTo>
                    <a:pt x="0" y="177023"/>
                  </a:lnTo>
                  <a:lnTo>
                    <a:pt x="0" y="207247"/>
                  </a:lnTo>
                  <a:lnTo>
                    <a:pt x="47494" y="211565"/>
                  </a:lnTo>
                  <a:cubicBezTo>
                    <a:pt x="51812" y="237471"/>
                    <a:pt x="60447" y="259059"/>
                    <a:pt x="73400" y="276329"/>
                  </a:cubicBezTo>
                  <a:lnTo>
                    <a:pt x="43176" y="315188"/>
                  </a:lnTo>
                  <a:lnTo>
                    <a:pt x="64765" y="336776"/>
                  </a:lnTo>
                  <a:lnTo>
                    <a:pt x="99306" y="306553"/>
                  </a:ln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28EB9602-EE68-4603-91A9-3173884A3DF9}"/>
                </a:ext>
              </a:extLst>
            </p:cNvPr>
            <p:cNvSpPr/>
            <p:nvPr/>
          </p:nvSpPr>
          <p:spPr>
            <a:xfrm>
              <a:off x="6416514" y="3234896"/>
              <a:ext cx="233152" cy="233152"/>
            </a:xfrm>
            <a:custGeom>
              <a:avLst/>
              <a:gdLst>
                <a:gd name="connsiteX0" fmla="*/ 233153 w 233152"/>
                <a:gd name="connsiteY0" fmla="*/ 116576 h 233152"/>
                <a:gd name="connsiteX1" fmla="*/ 116576 w 233152"/>
                <a:gd name="connsiteY1" fmla="*/ 233153 h 233152"/>
                <a:gd name="connsiteX2" fmla="*/ 0 w 233152"/>
                <a:gd name="connsiteY2" fmla="*/ 116576 h 233152"/>
                <a:gd name="connsiteX3" fmla="*/ 116576 w 233152"/>
                <a:gd name="connsiteY3" fmla="*/ 0 h 233152"/>
                <a:gd name="connsiteX4" fmla="*/ 233153 w 233152"/>
                <a:gd name="connsiteY4" fmla="*/ 116576 h 23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152" h="233152">
                  <a:moveTo>
                    <a:pt x="233153" y="116576"/>
                  </a:moveTo>
                  <a:cubicBezTo>
                    <a:pt x="233153" y="180960"/>
                    <a:pt x="180960" y="233153"/>
                    <a:pt x="116576" y="233153"/>
                  </a:cubicBezTo>
                  <a:cubicBezTo>
                    <a:pt x="52193" y="233153"/>
                    <a:pt x="0" y="180960"/>
                    <a:pt x="0" y="116576"/>
                  </a:cubicBezTo>
                  <a:cubicBezTo>
                    <a:pt x="0" y="52193"/>
                    <a:pt x="52193" y="0"/>
                    <a:pt x="116576" y="0"/>
                  </a:cubicBezTo>
                  <a:cubicBezTo>
                    <a:pt x="180960" y="0"/>
                    <a:pt x="233153" y="52193"/>
                    <a:pt x="233153" y="116576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CE5DAAEE-2EE6-4A36-8EB9-BA4EDB2DB6C9}"/>
                </a:ext>
              </a:extLst>
            </p:cNvPr>
            <p:cNvSpPr/>
            <p:nvPr/>
          </p:nvSpPr>
          <p:spPr>
            <a:xfrm>
              <a:off x="6451055" y="3269437"/>
              <a:ext cx="164070" cy="164070"/>
            </a:xfrm>
            <a:custGeom>
              <a:avLst/>
              <a:gdLst>
                <a:gd name="connsiteX0" fmla="*/ 164071 w 164070"/>
                <a:gd name="connsiteY0" fmla="*/ 82035 h 164070"/>
                <a:gd name="connsiteX1" fmla="*/ 82035 w 164070"/>
                <a:gd name="connsiteY1" fmla="*/ 164071 h 164070"/>
                <a:gd name="connsiteX2" fmla="*/ 0 w 164070"/>
                <a:gd name="connsiteY2" fmla="*/ 82035 h 164070"/>
                <a:gd name="connsiteX3" fmla="*/ 82035 w 164070"/>
                <a:gd name="connsiteY3" fmla="*/ 0 h 164070"/>
                <a:gd name="connsiteX4" fmla="*/ 164071 w 164070"/>
                <a:gd name="connsiteY4" fmla="*/ 82035 h 16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70" h="164070">
                  <a:moveTo>
                    <a:pt x="164071" y="82035"/>
                  </a:moveTo>
                  <a:cubicBezTo>
                    <a:pt x="164071" y="127342"/>
                    <a:pt x="127342" y="164071"/>
                    <a:pt x="82035" y="164071"/>
                  </a:cubicBezTo>
                  <a:cubicBezTo>
                    <a:pt x="36728" y="164071"/>
                    <a:pt x="0" y="127342"/>
                    <a:pt x="0" y="82035"/>
                  </a:cubicBezTo>
                  <a:cubicBezTo>
                    <a:pt x="0" y="36728"/>
                    <a:pt x="36728" y="0"/>
                    <a:pt x="82035" y="0"/>
                  </a:cubicBezTo>
                  <a:cubicBezTo>
                    <a:pt x="127342" y="0"/>
                    <a:pt x="164071" y="36728"/>
                    <a:pt x="164071" y="82035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92B3FA26-DC88-4B19-A784-BE6D86872F08}"/>
                </a:ext>
              </a:extLst>
            </p:cNvPr>
            <p:cNvGrpSpPr/>
            <p:nvPr/>
          </p:nvGrpSpPr>
          <p:grpSpPr>
            <a:xfrm>
              <a:off x="6364702" y="3191720"/>
              <a:ext cx="336776" cy="427446"/>
              <a:chOff x="6364702" y="3191720"/>
              <a:chExt cx="336776" cy="427446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68CA917-D32F-4459-B92C-D0E22D6A5940}"/>
                  </a:ext>
                </a:extLst>
              </p:cNvPr>
              <p:cNvSpPr/>
              <p:nvPr/>
            </p:nvSpPr>
            <p:spPr>
              <a:xfrm>
                <a:off x="6364702" y="3286708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3FD0155F-CAF0-430A-BFB3-F302CD65C0BE}"/>
                  </a:ext>
                </a:extLst>
              </p:cNvPr>
              <p:cNvSpPr/>
              <p:nvPr/>
            </p:nvSpPr>
            <p:spPr>
              <a:xfrm>
                <a:off x="6688526" y="3286708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9A9C1F0-1668-4709-9C07-E96ABE5F16C4}"/>
                  </a:ext>
                </a:extLst>
              </p:cNvPr>
              <p:cNvSpPr/>
              <p:nvPr/>
            </p:nvSpPr>
            <p:spPr>
              <a:xfrm>
                <a:off x="6364702" y="3420555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F1B07F99-6684-4845-867F-88BE5EEF503B}"/>
                  </a:ext>
                </a:extLst>
              </p:cNvPr>
              <p:cNvSpPr/>
              <p:nvPr/>
            </p:nvSpPr>
            <p:spPr>
              <a:xfrm>
                <a:off x="6688526" y="3420555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DB81671-74B9-4529-83B4-2CB1D608CABD}"/>
                  </a:ext>
                </a:extLst>
              </p:cNvPr>
              <p:cNvSpPr/>
              <p:nvPr/>
            </p:nvSpPr>
            <p:spPr>
              <a:xfrm>
                <a:off x="6459691" y="3191720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3066435-DE3E-4B52-A955-F1C759B586CA}"/>
                  </a:ext>
                </a:extLst>
              </p:cNvPr>
              <p:cNvSpPr/>
              <p:nvPr/>
            </p:nvSpPr>
            <p:spPr>
              <a:xfrm>
                <a:off x="6593538" y="3191720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FFF70A72-02B0-4C91-B92D-EB260BF35FFA}"/>
                  </a:ext>
                </a:extLst>
              </p:cNvPr>
              <p:cNvSpPr/>
              <p:nvPr/>
            </p:nvSpPr>
            <p:spPr>
              <a:xfrm>
                <a:off x="6459691" y="3515543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02B71248-B874-4B2F-BE33-80ED913295B1}"/>
                  </a:ext>
                </a:extLst>
              </p:cNvPr>
              <p:cNvSpPr/>
              <p:nvPr/>
            </p:nvSpPr>
            <p:spPr>
              <a:xfrm>
                <a:off x="6593538" y="351554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628DF20E-4EDE-48C1-A998-28FE1AFD971D}"/>
                  </a:ext>
                </a:extLst>
              </p:cNvPr>
              <p:cNvSpPr/>
              <p:nvPr/>
            </p:nvSpPr>
            <p:spPr>
              <a:xfrm>
                <a:off x="6507185" y="3468049"/>
                <a:ext cx="60447" cy="151117"/>
              </a:xfrm>
              <a:custGeom>
                <a:avLst/>
                <a:gdLst>
                  <a:gd name="connsiteX0" fmla="*/ 0 w 60447"/>
                  <a:gd name="connsiteY0" fmla="*/ 0 h 151117"/>
                  <a:gd name="connsiteX1" fmla="*/ 0 w 60447"/>
                  <a:gd name="connsiteY1" fmla="*/ 120894 h 151117"/>
                  <a:gd name="connsiteX2" fmla="*/ 8635 w 60447"/>
                  <a:gd name="connsiteY2" fmla="*/ 142482 h 151117"/>
                  <a:gd name="connsiteX3" fmla="*/ 30224 w 60447"/>
                  <a:gd name="connsiteY3" fmla="*/ 151118 h 151117"/>
                  <a:gd name="connsiteX4" fmla="*/ 51812 w 60447"/>
                  <a:gd name="connsiteY4" fmla="*/ 142482 h 151117"/>
                  <a:gd name="connsiteX5" fmla="*/ 60447 w 60447"/>
                  <a:gd name="connsiteY5" fmla="*/ 120894 h 151117"/>
                  <a:gd name="connsiteX6" fmla="*/ 60447 w 60447"/>
                  <a:gd name="connsiteY6" fmla="*/ 0 h 15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447" h="151117">
                    <a:moveTo>
                      <a:pt x="0" y="0"/>
                    </a:moveTo>
                    <a:lnTo>
                      <a:pt x="0" y="120894"/>
                    </a:lnTo>
                    <a:cubicBezTo>
                      <a:pt x="0" y="129529"/>
                      <a:pt x="4318" y="133847"/>
                      <a:pt x="8635" y="142482"/>
                    </a:cubicBezTo>
                    <a:cubicBezTo>
                      <a:pt x="12953" y="146800"/>
                      <a:pt x="21588" y="151118"/>
                      <a:pt x="30224" y="151118"/>
                    </a:cubicBezTo>
                    <a:cubicBezTo>
                      <a:pt x="38859" y="151118"/>
                      <a:pt x="43176" y="146800"/>
                      <a:pt x="51812" y="142482"/>
                    </a:cubicBezTo>
                    <a:cubicBezTo>
                      <a:pt x="56129" y="138165"/>
                      <a:pt x="60447" y="129529"/>
                      <a:pt x="60447" y="120894"/>
                    </a:cubicBezTo>
                    <a:lnTo>
                      <a:pt x="60447" y="0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E9FF4FC2-AAEF-42CB-9837-8D7DBD99BC5E}"/>
                  </a:ext>
                </a:extLst>
              </p:cNvPr>
              <p:cNvSpPr/>
              <p:nvPr/>
            </p:nvSpPr>
            <p:spPr>
              <a:xfrm>
                <a:off x="6533091" y="3468049"/>
                <a:ext cx="43176" cy="51811"/>
              </a:xfrm>
              <a:custGeom>
                <a:avLst/>
                <a:gdLst>
                  <a:gd name="connsiteX0" fmla="*/ 0 w 43176"/>
                  <a:gd name="connsiteY0" fmla="*/ 0 h 51811"/>
                  <a:gd name="connsiteX1" fmla="*/ 0 w 43176"/>
                  <a:gd name="connsiteY1" fmla="*/ 51812 h 51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3176" h="51811">
                    <a:moveTo>
                      <a:pt x="0" y="0"/>
                    </a:moveTo>
                    <a:lnTo>
                      <a:pt x="0" y="51812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17F1B2C-B858-4747-9482-2EB3A300F6CB}"/>
                  </a:ext>
                </a:extLst>
              </p:cNvPr>
              <p:cNvSpPr/>
              <p:nvPr/>
            </p:nvSpPr>
            <p:spPr>
              <a:xfrm>
                <a:off x="6498549" y="335147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0F358E4C-CA88-4FE4-9296-E3FE28AF4D02}"/>
                  </a:ext>
                </a:extLst>
              </p:cNvPr>
              <p:cNvSpPr/>
              <p:nvPr/>
            </p:nvSpPr>
            <p:spPr>
              <a:xfrm>
                <a:off x="6528773" y="3351473"/>
                <a:ext cx="12952" cy="43176"/>
              </a:xfrm>
              <a:custGeom>
                <a:avLst/>
                <a:gdLst>
                  <a:gd name="connsiteX0" fmla="*/ 0 w 12952"/>
                  <a:gd name="connsiteY0" fmla="*/ 0 h 43176"/>
                  <a:gd name="connsiteX1" fmla="*/ 12953 w 12952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2" h="43176">
                    <a:moveTo>
                      <a:pt x="0" y="0"/>
                    </a:moveTo>
                    <a:lnTo>
                      <a:pt x="1295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3468655-8C8A-46DE-9F34-CC2C33FB008E}"/>
                  </a:ext>
                </a:extLst>
              </p:cNvPr>
              <p:cNvSpPr/>
              <p:nvPr/>
            </p:nvSpPr>
            <p:spPr>
              <a:xfrm>
                <a:off x="6554679" y="3351473"/>
                <a:ext cx="17270" cy="43176"/>
              </a:xfrm>
              <a:custGeom>
                <a:avLst/>
                <a:gdLst>
                  <a:gd name="connsiteX0" fmla="*/ 0 w 17270"/>
                  <a:gd name="connsiteY0" fmla="*/ 0 h 43176"/>
                  <a:gd name="connsiteX1" fmla="*/ 17271 w 17270"/>
                  <a:gd name="connsiteY1" fmla="*/ 0 h 4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270" h="43176">
                    <a:moveTo>
                      <a:pt x="0" y="0"/>
                    </a:moveTo>
                    <a:lnTo>
                      <a:pt x="17271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65" name="椭圆 64">
            <a:extLst>
              <a:ext uri="{FF2B5EF4-FFF2-40B4-BE49-F238E27FC236}">
                <a16:creationId xmlns:a16="http://schemas.microsoft.com/office/drawing/2014/main" id="{598C08B6-381F-4306-9998-A46107786F18}"/>
              </a:ext>
            </a:extLst>
          </p:cNvPr>
          <p:cNvSpPr/>
          <p:nvPr/>
        </p:nvSpPr>
        <p:spPr>
          <a:xfrm>
            <a:off x="6716069" y="4886884"/>
            <a:ext cx="648000" cy="649188"/>
          </a:xfrm>
          <a:prstGeom prst="ellipse">
            <a:avLst/>
          </a:prstGeom>
          <a:solidFill>
            <a:schemeClr val="accent2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A9162FAA-A83E-40A5-AAB2-837286047942}"/>
              </a:ext>
            </a:extLst>
          </p:cNvPr>
          <p:cNvGrpSpPr/>
          <p:nvPr/>
        </p:nvGrpSpPr>
        <p:grpSpPr>
          <a:xfrm>
            <a:off x="6923775" y="5083309"/>
            <a:ext cx="232589" cy="256338"/>
            <a:chOff x="6368635" y="4970455"/>
            <a:chExt cx="312131" cy="344003"/>
          </a:xfrm>
        </p:grpSpPr>
        <p:grpSp>
          <p:nvGrpSpPr>
            <p:cNvPr id="67" name="图形 21">
              <a:extLst>
                <a:ext uri="{FF2B5EF4-FFF2-40B4-BE49-F238E27FC236}">
                  <a16:creationId xmlns:a16="http://schemas.microsoft.com/office/drawing/2014/main" id="{862D3433-C973-44B9-93FC-318BB4654F88}"/>
                </a:ext>
              </a:extLst>
            </p:cNvPr>
            <p:cNvGrpSpPr/>
            <p:nvPr/>
          </p:nvGrpSpPr>
          <p:grpSpPr>
            <a:xfrm>
              <a:off x="6613641" y="5114068"/>
              <a:ext cx="33562" cy="56777"/>
              <a:chOff x="6613641" y="5114068"/>
              <a:chExt cx="33562" cy="56777"/>
            </a:xfrm>
          </p:grpSpPr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F6A8872-053B-497B-94C3-37850D08E851}"/>
                  </a:ext>
                </a:extLst>
              </p:cNvPr>
              <p:cNvSpPr/>
              <p:nvPr/>
            </p:nvSpPr>
            <p:spPr>
              <a:xfrm>
                <a:off x="6613641" y="5114068"/>
                <a:ext cx="33562" cy="13359"/>
              </a:xfrm>
              <a:custGeom>
                <a:avLst/>
                <a:gdLst>
                  <a:gd name="connsiteX0" fmla="*/ 0 w 33562"/>
                  <a:gd name="connsiteY0" fmla="*/ 0 h 13359"/>
                  <a:gd name="connsiteX1" fmla="*/ 0 w 33562"/>
                  <a:gd name="connsiteY1" fmla="*/ 13359 h 1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3359">
                    <a:moveTo>
                      <a:pt x="0" y="0"/>
                    </a:moveTo>
                    <a:lnTo>
                      <a:pt x="0" y="13359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C4F992DD-F316-4086-A255-20EFF686539B}"/>
                  </a:ext>
                </a:extLst>
              </p:cNvPr>
              <p:cNvSpPr/>
              <p:nvPr/>
            </p:nvSpPr>
            <p:spPr>
              <a:xfrm>
                <a:off x="6613641" y="5137447"/>
                <a:ext cx="33562" cy="10019"/>
              </a:xfrm>
              <a:custGeom>
                <a:avLst/>
                <a:gdLst>
                  <a:gd name="connsiteX0" fmla="*/ 0 w 33562"/>
                  <a:gd name="connsiteY0" fmla="*/ 0 h 10019"/>
                  <a:gd name="connsiteX1" fmla="*/ 0 w 33562"/>
                  <a:gd name="connsiteY1" fmla="*/ 10020 h 1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0019">
                    <a:moveTo>
                      <a:pt x="0" y="0"/>
                    </a:moveTo>
                    <a:lnTo>
                      <a:pt x="0" y="1002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C39CBB26-1107-43EC-97C4-F46E53AC6894}"/>
                  </a:ext>
                </a:extLst>
              </p:cNvPr>
              <p:cNvSpPr/>
              <p:nvPr/>
            </p:nvSpPr>
            <p:spPr>
              <a:xfrm>
                <a:off x="6613641" y="5160826"/>
                <a:ext cx="33562" cy="10019"/>
              </a:xfrm>
              <a:custGeom>
                <a:avLst/>
                <a:gdLst>
                  <a:gd name="connsiteX0" fmla="*/ 0 w 33562"/>
                  <a:gd name="connsiteY0" fmla="*/ 0 h 10019"/>
                  <a:gd name="connsiteX1" fmla="*/ 0 w 33562"/>
                  <a:gd name="connsiteY1" fmla="*/ 10020 h 1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62" h="10019">
                    <a:moveTo>
                      <a:pt x="0" y="0"/>
                    </a:moveTo>
                    <a:lnTo>
                      <a:pt x="0" y="1002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BA5E4B8C-8160-44BB-9C7F-EE3E0F07BAF1}"/>
                </a:ext>
              </a:extLst>
            </p:cNvPr>
            <p:cNvSpPr/>
            <p:nvPr/>
          </p:nvSpPr>
          <p:spPr>
            <a:xfrm>
              <a:off x="6408910" y="5057291"/>
              <a:ext cx="83906" cy="166991"/>
            </a:xfrm>
            <a:custGeom>
              <a:avLst/>
              <a:gdLst>
                <a:gd name="connsiteX0" fmla="*/ 83906 w 83906"/>
                <a:gd name="connsiteY0" fmla="*/ 166992 h 166991"/>
                <a:gd name="connsiteX1" fmla="*/ 0 w 83906"/>
                <a:gd name="connsiteY1" fmla="*/ 83496 h 166991"/>
                <a:gd name="connsiteX2" fmla="*/ 83906 w 83906"/>
                <a:gd name="connsiteY2" fmla="*/ 0 h 16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06" h="166991">
                  <a:moveTo>
                    <a:pt x="83906" y="166992"/>
                  </a:moveTo>
                  <a:cubicBezTo>
                    <a:pt x="36919" y="166992"/>
                    <a:pt x="0" y="130254"/>
                    <a:pt x="0" y="83496"/>
                  </a:cubicBezTo>
                  <a:cubicBezTo>
                    <a:pt x="0" y="36738"/>
                    <a:pt x="36919" y="0"/>
                    <a:pt x="83906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0BB86F5-4B17-456F-B4FC-287B19B11909}"/>
                </a:ext>
              </a:extLst>
            </p:cNvPr>
            <p:cNvSpPr/>
            <p:nvPr/>
          </p:nvSpPr>
          <p:spPr>
            <a:xfrm>
              <a:off x="6432404" y="5084010"/>
              <a:ext cx="120824" cy="120234"/>
            </a:xfrm>
            <a:custGeom>
              <a:avLst/>
              <a:gdLst>
                <a:gd name="connsiteX0" fmla="*/ 120825 w 120824"/>
                <a:gd name="connsiteY0" fmla="*/ 60117 h 120234"/>
                <a:gd name="connsiteX1" fmla="*/ 60413 w 120824"/>
                <a:gd name="connsiteY1" fmla="*/ 120234 h 120234"/>
                <a:gd name="connsiteX2" fmla="*/ 0 w 120824"/>
                <a:gd name="connsiteY2" fmla="*/ 60117 h 120234"/>
                <a:gd name="connsiteX3" fmla="*/ 60413 w 120824"/>
                <a:gd name="connsiteY3" fmla="*/ 0 h 120234"/>
                <a:gd name="connsiteX4" fmla="*/ 120825 w 120824"/>
                <a:gd name="connsiteY4" fmla="*/ 60117 h 120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824" h="120234">
                  <a:moveTo>
                    <a:pt x="120825" y="60117"/>
                  </a:moveTo>
                  <a:cubicBezTo>
                    <a:pt x="120825" y="93319"/>
                    <a:pt x="93777" y="120234"/>
                    <a:pt x="60413" y="120234"/>
                  </a:cubicBezTo>
                  <a:cubicBezTo>
                    <a:pt x="27048" y="120234"/>
                    <a:pt x="0" y="93319"/>
                    <a:pt x="0" y="60117"/>
                  </a:cubicBezTo>
                  <a:cubicBezTo>
                    <a:pt x="0" y="26915"/>
                    <a:pt x="27048" y="0"/>
                    <a:pt x="60413" y="0"/>
                  </a:cubicBezTo>
                  <a:cubicBezTo>
                    <a:pt x="93777" y="0"/>
                    <a:pt x="120825" y="26915"/>
                    <a:pt x="120825" y="60117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E97BAF5-092E-48AD-AA28-FA9EA3A03EA4}"/>
                </a:ext>
              </a:extLst>
            </p:cNvPr>
            <p:cNvSpPr/>
            <p:nvPr/>
          </p:nvSpPr>
          <p:spPr>
            <a:xfrm>
              <a:off x="6509597" y="5070650"/>
              <a:ext cx="130893" cy="60117"/>
            </a:xfrm>
            <a:custGeom>
              <a:avLst/>
              <a:gdLst>
                <a:gd name="connsiteX0" fmla="*/ 130894 w 130893"/>
                <a:gd name="connsiteY0" fmla="*/ 0 h 60117"/>
                <a:gd name="connsiteX1" fmla="*/ 0 w 130893"/>
                <a:gd name="connsiteY1" fmla="*/ 60117 h 6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893" h="60117">
                  <a:moveTo>
                    <a:pt x="130894" y="0"/>
                  </a:moveTo>
                  <a:lnTo>
                    <a:pt x="0" y="60117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FF97C5ED-4C1B-47CC-ABD3-F958CFB66D53}"/>
                </a:ext>
              </a:extLst>
            </p:cNvPr>
            <p:cNvSpPr/>
            <p:nvPr/>
          </p:nvSpPr>
          <p:spPr>
            <a:xfrm>
              <a:off x="6509597" y="5154146"/>
              <a:ext cx="130893" cy="60117"/>
            </a:xfrm>
            <a:custGeom>
              <a:avLst/>
              <a:gdLst>
                <a:gd name="connsiteX0" fmla="*/ 130894 w 130893"/>
                <a:gd name="connsiteY0" fmla="*/ 60117 h 60117"/>
                <a:gd name="connsiteX1" fmla="*/ 0 w 130893"/>
                <a:gd name="connsiteY1" fmla="*/ 0 h 6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893" h="60117">
                  <a:moveTo>
                    <a:pt x="130894" y="60117"/>
                  </a:moveTo>
                  <a:lnTo>
                    <a:pt x="0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19F12979-3DA5-4D81-A40A-D8D86AD1F4C5}"/>
                </a:ext>
              </a:extLst>
            </p:cNvPr>
            <p:cNvSpPr/>
            <p:nvPr/>
          </p:nvSpPr>
          <p:spPr>
            <a:xfrm>
              <a:off x="6633779" y="5037252"/>
              <a:ext cx="46987" cy="46757"/>
            </a:xfrm>
            <a:custGeom>
              <a:avLst/>
              <a:gdLst>
                <a:gd name="connsiteX0" fmla="*/ 46987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7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7" y="23379"/>
                  </a:moveTo>
                  <a:cubicBezTo>
                    <a:pt x="46987" y="36291"/>
                    <a:pt x="36469" y="46758"/>
                    <a:pt x="23494" y="46758"/>
                  </a:cubicBezTo>
                  <a:cubicBezTo>
                    <a:pt x="10518" y="46758"/>
                    <a:pt x="0" y="36291"/>
                    <a:pt x="0" y="23379"/>
                  </a:cubicBezTo>
                  <a:cubicBezTo>
                    <a:pt x="0" y="10467"/>
                    <a:pt x="10518" y="0"/>
                    <a:pt x="23494" y="0"/>
                  </a:cubicBezTo>
                  <a:cubicBezTo>
                    <a:pt x="36469" y="0"/>
                    <a:pt x="46987" y="10467"/>
                    <a:pt x="46987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57E8A0B-80EA-4F29-8556-7D785ADC70FE}"/>
                </a:ext>
              </a:extLst>
            </p:cNvPr>
            <p:cNvSpPr/>
            <p:nvPr/>
          </p:nvSpPr>
          <p:spPr>
            <a:xfrm>
              <a:off x="6469322" y="5120748"/>
              <a:ext cx="46987" cy="46757"/>
            </a:xfrm>
            <a:custGeom>
              <a:avLst/>
              <a:gdLst>
                <a:gd name="connsiteX0" fmla="*/ 46988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8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8" y="23379"/>
                  </a:moveTo>
                  <a:cubicBezTo>
                    <a:pt x="46988" y="36291"/>
                    <a:pt x="36469" y="46758"/>
                    <a:pt x="23494" y="46758"/>
                  </a:cubicBezTo>
                  <a:cubicBezTo>
                    <a:pt x="10519" y="46758"/>
                    <a:pt x="0" y="36291"/>
                    <a:pt x="0" y="23379"/>
                  </a:cubicBezTo>
                  <a:cubicBezTo>
                    <a:pt x="0" y="10467"/>
                    <a:pt x="10519" y="0"/>
                    <a:pt x="23494" y="0"/>
                  </a:cubicBezTo>
                  <a:cubicBezTo>
                    <a:pt x="36469" y="0"/>
                    <a:pt x="46988" y="10467"/>
                    <a:pt x="46988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6375E0B7-2676-46AC-A57E-8A7A7CE617AA}"/>
                </a:ext>
              </a:extLst>
            </p:cNvPr>
            <p:cNvSpPr/>
            <p:nvPr/>
          </p:nvSpPr>
          <p:spPr>
            <a:xfrm>
              <a:off x="6633779" y="5200904"/>
              <a:ext cx="46987" cy="46757"/>
            </a:xfrm>
            <a:custGeom>
              <a:avLst/>
              <a:gdLst>
                <a:gd name="connsiteX0" fmla="*/ 46987 w 46987"/>
                <a:gd name="connsiteY0" fmla="*/ 23379 h 46757"/>
                <a:gd name="connsiteX1" fmla="*/ 23494 w 46987"/>
                <a:gd name="connsiteY1" fmla="*/ 46758 h 46757"/>
                <a:gd name="connsiteX2" fmla="*/ 0 w 46987"/>
                <a:gd name="connsiteY2" fmla="*/ 23379 h 46757"/>
                <a:gd name="connsiteX3" fmla="*/ 23494 w 46987"/>
                <a:gd name="connsiteY3" fmla="*/ 0 h 46757"/>
                <a:gd name="connsiteX4" fmla="*/ 46987 w 46987"/>
                <a:gd name="connsiteY4" fmla="*/ 23379 h 4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87" h="46757">
                  <a:moveTo>
                    <a:pt x="46987" y="23379"/>
                  </a:moveTo>
                  <a:cubicBezTo>
                    <a:pt x="46987" y="36291"/>
                    <a:pt x="36469" y="46758"/>
                    <a:pt x="23494" y="46758"/>
                  </a:cubicBezTo>
                  <a:cubicBezTo>
                    <a:pt x="10518" y="46758"/>
                    <a:pt x="0" y="36291"/>
                    <a:pt x="0" y="23379"/>
                  </a:cubicBezTo>
                  <a:cubicBezTo>
                    <a:pt x="0" y="10467"/>
                    <a:pt x="10518" y="0"/>
                    <a:pt x="23494" y="0"/>
                  </a:cubicBezTo>
                  <a:cubicBezTo>
                    <a:pt x="36469" y="0"/>
                    <a:pt x="46987" y="10467"/>
                    <a:pt x="46987" y="23379"/>
                  </a:cubicBez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5F44AE17-FE3C-43BC-A221-9CFA803BE5F8}"/>
                </a:ext>
              </a:extLst>
            </p:cNvPr>
            <p:cNvSpPr/>
            <p:nvPr/>
          </p:nvSpPr>
          <p:spPr>
            <a:xfrm>
              <a:off x="6653916" y="5060631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ED7A91A2-91E0-4C92-B2F5-33D7278326A8}"/>
                </a:ext>
              </a:extLst>
            </p:cNvPr>
            <p:cNvSpPr/>
            <p:nvPr/>
          </p:nvSpPr>
          <p:spPr>
            <a:xfrm>
              <a:off x="6653916" y="5224283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215BCE32-7B96-4A48-904B-BAEF0533684C}"/>
                </a:ext>
              </a:extLst>
            </p:cNvPr>
            <p:cNvSpPr/>
            <p:nvPr/>
          </p:nvSpPr>
          <p:spPr>
            <a:xfrm>
              <a:off x="6486104" y="5144127"/>
              <a:ext cx="10068" cy="33398"/>
            </a:xfrm>
            <a:custGeom>
              <a:avLst/>
              <a:gdLst>
                <a:gd name="connsiteX0" fmla="*/ 0 w 10068"/>
                <a:gd name="connsiteY0" fmla="*/ 0 h 33398"/>
                <a:gd name="connsiteX1" fmla="*/ 10069 w 10068"/>
                <a:gd name="connsiteY1" fmla="*/ 0 h 33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68" h="33398">
                  <a:moveTo>
                    <a:pt x="0" y="0"/>
                  </a:moveTo>
                  <a:lnTo>
                    <a:pt x="10069" y="0"/>
                  </a:lnTo>
                </a:path>
              </a:pathLst>
            </a:custGeom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8" name="图形 21">
              <a:extLst>
                <a:ext uri="{FF2B5EF4-FFF2-40B4-BE49-F238E27FC236}">
                  <a16:creationId xmlns:a16="http://schemas.microsoft.com/office/drawing/2014/main" id="{E66B9BE7-14DF-4C59-9996-EF427F2332B1}"/>
                </a:ext>
              </a:extLst>
            </p:cNvPr>
            <p:cNvGrpSpPr/>
            <p:nvPr/>
          </p:nvGrpSpPr>
          <p:grpSpPr>
            <a:xfrm>
              <a:off x="6385416" y="4993834"/>
              <a:ext cx="57056" cy="33398"/>
              <a:chOff x="6385416" y="4993834"/>
              <a:chExt cx="57056" cy="33398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E2CE361A-8D99-485D-B36F-913FE06708EB}"/>
                  </a:ext>
                </a:extLst>
              </p:cNvPr>
              <p:cNvSpPr/>
              <p:nvPr/>
            </p:nvSpPr>
            <p:spPr>
              <a:xfrm>
                <a:off x="6385416" y="4993834"/>
                <a:ext cx="13425" cy="33398"/>
              </a:xfrm>
              <a:custGeom>
                <a:avLst/>
                <a:gdLst>
                  <a:gd name="connsiteX0" fmla="*/ 0 w 13425"/>
                  <a:gd name="connsiteY0" fmla="*/ 0 h 33398"/>
                  <a:gd name="connsiteX1" fmla="*/ 13425 w 1342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5" h="33398">
                    <a:moveTo>
                      <a:pt x="0" y="0"/>
                    </a:moveTo>
                    <a:lnTo>
                      <a:pt x="1342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42471351-F355-4DFD-93CC-DDE7955498F8}"/>
                  </a:ext>
                </a:extLst>
              </p:cNvPr>
              <p:cNvSpPr/>
              <p:nvPr/>
            </p:nvSpPr>
            <p:spPr>
              <a:xfrm>
                <a:off x="6408910" y="4993834"/>
                <a:ext cx="10068" cy="33398"/>
              </a:xfrm>
              <a:custGeom>
                <a:avLst/>
                <a:gdLst>
                  <a:gd name="connsiteX0" fmla="*/ 0 w 10068"/>
                  <a:gd name="connsiteY0" fmla="*/ 0 h 33398"/>
                  <a:gd name="connsiteX1" fmla="*/ 10069 w 10068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68" h="33398">
                    <a:moveTo>
                      <a:pt x="0" y="0"/>
                    </a:moveTo>
                    <a:lnTo>
                      <a:pt x="10069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777D26AF-8F1A-41AF-B21E-575C6DDA8CD1}"/>
                  </a:ext>
                </a:extLst>
              </p:cNvPr>
              <p:cNvSpPr/>
              <p:nvPr/>
            </p:nvSpPr>
            <p:spPr>
              <a:xfrm>
                <a:off x="6429047" y="4993834"/>
                <a:ext cx="13424" cy="33398"/>
              </a:xfrm>
              <a:custGeom>
                <a:avLst/>
                <a:gdLst>
                  <a:gd name="connsiteX0" fmla="*/ 0 w 13424"/>
                  <a:gd name="connsiteY0" fmla="*/ 0 h 33398"/>
                  <a:gd name="connsiteX1" fmla="*/ 13425 w 13424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24" h="33398">
                    <a:moveTo>
                      <a:pt x="0" y="0"/>
                    </a:moveTo>
                    <a:lnTo>
                      <a:pt x="1342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21">
              <a:extLst>
                <a:ext uri="{FF2B5EF4-FFF2-40B4-BE49-F238E27FC236}">
                  <a16:creationId xmlns:a16="http://schemas.microsoft.com/office/drawing/2014/main" id="{64831902-FE1D-4088-81DB-62EBC2A4BD0A}"/>
                </a:ext>
              </a:extLst>
            </p:cNvPr>
            <p:cNvGrpSpPr/>
            <p:nvPr/>
          </p:nvGrpSpPr>
          <p:grpSpPr>
            <a:xfrm>
              <a:off x="6368635" y="4970455"/>
              <a:ext cx="245006" cy="344003"/>
              <a:chOff x="6368635" y="4970455"/>
              <a:chExt cx="245006" cy="344003"/>
            </a:xfrm>
            <a:noFill/>
          </p:grpSpPr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0E717B3E-B9A6-4755-AE87-ECD1FA3978A9}"/>
                  </a:ext>
                </a:extLst>
              </p:cNvPr>
              <p:cNvSpPr/>
              <p:nvPr/>
            </p:nvSpPr>
            <p:spPr>
              <a:xfrm>
                <a:off x="6368635" y="4970455"/>
                <a:ext cx="245006" cy="344003"/>
              </a:xfrm>
              <a:custGeom>
                <a:avLst/>
                <a:gdLst>
                  <a:gd name="connsiteX0" fmla="*/ 245006 w 245006"/>
                  <a:gd name="connsiteY0" fmla="*/ 83496 h 344003"/>
                  <a:gd name="connsiteX1" fmla="*/ 245006 w 245006"/>
                  <a:gd name="connsiteY1" fmla="*/ 43418 h 344003"/>
                  <a:gd name="connsiteX2" fmla="*/ 201375 w 245006"/>
                  <a:gd name="connsiteY2" fmla="*/ 0 h 344003"/>
                  <a:gd name="connsiteX3" fmla="*/ 0 w 245006"/>
                  <a:gd name="connsiteY3" fmla="*/ 0 h 344003"/>
                  <a:gd name="connsiteX4" fmla="*/ 0 w 245006"/>
                  <a:gd name="connsiteY4" fmla="*/ 344003 h 344003"/>
                  <a:gd name="connsiteX5" fmla="*/ 245006 w 245006"/>
                  <a:gd name="connsiteY5" fmla="*/ 344003 h 344003"/>
                  <a:gd name="connsiteX6" fmla="*/ 245006 w 245006"/>
                  <a:gd name="connsiteY6" fmla="*/ 260507 h 344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006" h="344003">
                    <a:moveTo>
                      <a:pt x="245006" y="83496"/>
                    </a:moveTo>
                    <a:lnTo>
                      <a:pt x="245006" y="43418"/>
                    </a:lnTo>
                    <a:lnTo>
                      <a:pt x="201375" y="0"/>
                    </a:lnTo>
                    <a:lnTo>
                      <a:pt x="0" y="0"/>
                    </a:lnTo>
                    <a:lnTo>
                      <a:pt x="0" y="344003"/>
                    </a:lnTo>
                    <a:lnTo>
                      <a:pt x="245006" y="344003"/>
                    </a:lnTo>
                    <a:lnTo>
                      <a:pt x="245006" y="260507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48F755CB-4555-4B9B-A60E-AA7643446705}"/>
                  </a:ext>
                </a:extLst>
              </p:cNvPr>
              <p:cNvSpPr/>
              <p:nvPr/>
            </p:nvSpPr>
            <p:spPr>
              <a:xfrm>
                <a:off x="6570010" y="4970455"/>
                <a:ext cx="43631" cy="43417"/>
              </a:xfrm>
              <a:custGeom>
                <a:avLst/>
                <a:gdLst>
                  <a:gd name="connsiteX0" fmla="*/ 0 w 43631"/>
                  <a:gd name="connsiteY0" fmla="*/ 0 h 43417"/>
                  <a:gd name="connsiteX1" fmla="*/ 0 w 43631"/>
                  <a:gd name="connsiteY1" fmla="*/ 43418 h 43417"/>
                  <a:gd name="connsiteX2" fmla="*/ 43631 w 43631"/>
                  <a:gd name="connsiteY2" fmla="*/ 43418 h 43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631" h="43417">
                    <a:moveTo>
                      <a:pt x="0" y="0"/>
                    </a:moveTo>
                    <a:lnTo>
                      <a:pt x="0" y="43418"/>
                    </a:lnTo>
                    <a:lnTo>
                      <a:pt x="43631" y="43418"/>
                    </a:ln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21">
              <a:extLst>
                <a:ext uri="{FF2B5EF4-FFF2-40B4-BE49-F238E27FC236}">
                  <a16:creationId xmlns:a16="http://schemas.microsoft.com/office/drawing/2014/main" id="{DD4838FA-948C-4EE6-B4B7-F61674DD5F4B}"/>
                </a:ext>
              </a:extLst>
            </p:cNvPr>
            <p:cNvGrpSpPr/>
            <p:nvPr/>
          </p:nvGrpSpPr>
          <p:grpSpPr>
            <a:xfrm>
              <a:off x="6385416" y="5013873"/>
              <a:ext cx="211443" cy="23378"/>
              <a:chOff x="6385416" y="5013873"/>
              <a:chExt cx="211443" cy="23378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0FEA0EBF-BCE7-466C-B901-14FFC669D316}"/>
                  </a:ext>
                </a:extLst>
              </p:cNvPr>
              <p:cNvSpPr/>
              <p:nvPr/>
            </p:nvSpPr>
            <p:spPr>
              <a:xfrm>
                <a:off x="6385416" y="5013873"/>
                <a:ext cx="167812" cy="33398"/>
              </a:xfrm>
              <a:custGeom>
                <a:avLst/>
                <a:gdLst>
                  <a:gd name="connsiteX0" fmla="*/ 0 w 167812"/>
                  <a:gd name="connsiteY0" fmla="*/ 0 h 33398"/>
                  <a:gd name="connsiteX1" fmla="*/ 167813 w 167812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812" h="33398">
                    <a:moveTo>
                      <a:pt x="0" y="0"/>
                    </a:moveTo>
                    <a:lnTo>
                      <a:pt x="16781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B2D715FE-5C6D-4C44-B479-1748CFCB0FB2}"/>
                  </a:ext>
                </a:extLst>
              </p:cNvPr>
              <p:cNvSpPr/>
              <p:nvPr/>
            </p:nvSpPr>
            <p:spPr>
              <a:xfrm>
                <a:off x="6385416" y="5037252"/>
                <a:ext cx="60412" cy="33398"/>
              </a:xfrm>
              <a:custGeom>
                <a:avLst/>
                <a:gdLst>
                  <a:gd name="connsiteX0" fmla="*/ 0 w 60412"/>
                  <a:gd name="connsiteY0" fmla="*/ 0 h 33398"/>
                  <a:gd name="connsiteX1" fmla="*/ 60413 w 60412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0412" h="33398">
                    <a:moveTo>
                      <a:pt x="0" y="0"/>
                    </a:moveTo>
                    <a:lnTo>
                      <a:pt x="60413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517AA20B-BD6A-4C3D-9D93-0EA309B4DB40}"/>
                  </a:ext>
                </a:extLst>
              </p:cNvPr>
              <p:cNvSpPr/>
              <p:nvPr/>
            </p:nvSpPr>
            <p:spPr>
              <a:xfrm>
                <a:off x="6459254" y="5037252"/>
                <a:ext cx="137606" cy="33398"/>
              </a:xfrm>
              <a:custGeom>
                <a:avLst/>
                <a:gdLst>
                  <a:gd name="connsiteX0" fmla="*/ 0 w 137606"/>
                  <a:gd name="connsiteY0" fmla="*/ 0 h 33398"/>
                  <a:gd name="connsiteX1" fmla="*/ 137606 w 137606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606" h="33398">
                    <a:moveTo>
                      <a:pt x="0" y="0"/>
                    </a:moveTo>
                    <a:lnTo>
                      <a:pt x="137606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1" name="图形 21">
              <a:extLst>
                <a:ext uri="{FF2B5EF4-FFF2-40B4-BE49-F238E27FC236}">
                  <a16:creationId xmlns:a16="http://schemas.microsoft.com/office/drawing/2014/main" id="{3C2B9DA8-EFE1-4B72-A1E8-7545F4B97A36}"/>
                </a:ext>
              </a:extLst>
            </p:cNvPr>
            <p:cNvGrpSpPr/>
            <p:nvPr/>
          </p:nvGrpSpPr>
          <p:grpSpPr>
            <a:xfrm>
              <a:off x="6385416" y="5247662"/>
              <a:ext cx="211443" cy="43417"/>
              <a:chOff x="6385416" y="5247662"/>
              <a:chExt cx="211443" cy="43417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E94E13C8-F1CE-4F72-8B01-BE437A549B24}"/>
                  </a:ext>
                </a:extLst>
              </p:cNvPr>
              <p:cNvSpPr/>
              <p:nvPr/>
            </p:nvSpPr>
            <p:spPr>
              <a:xfrm>
                <a:off x="6385416" y="5247662"/>
                <a:ext cx="211443" cy="33398"/>
              </a:xfrm>
              <a:custGeom>
                <a:avLst/>
                <a:gdLst>
                  <a:gd name="connsiteX0" fmla="*/ 0 w 211443"/>
                  <a:gd name="connsiteY0" fmla="*/ 0 h 33398"/>
                  <a:gd name="connsiteX1" fmla="*/ 211444 w 211443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443" h="33398">
                    <a:moveTo>
                      <a:pt x="0" y="0"/>
                    </a:moveTo>
                    <a:lnTo>
                      <a:pt x="211444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F1704807-1C6F-474D-A4C1-2DB56D3404DB}"/>
                  </a:ext>
                </a:extLst>
              </p:cNvPr>
              <p:cNvSpPr/>
              <p:nvPr/>
            </p:nvSpPr>
            <p:spPr>
              <a:xfrm>
                <a:off x="6385416" y="5271041"/>
                <a:ext cx="40275" cy="33398"/>
              </a:xfrm>
              <a:custGeom>
                <a:avLst/>
                <a:gdLst>
                  <a:gd name="connsiteX0" fmla="*/ 0 w 40275"/>
                  <a:gd name="connsiteY0" fmla="*/ 0 h 33398"/>
                  <a:gd name="connsiteX1" fmla="*/ 40275 w 4027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75" h="33398">
                    <a:moveTo>
                      <a:pt x="0" y="0"/>
                    </a:moveTo>
                    <a:lnTo>
                      <a:pt x="4027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1DF0A0E4-4110-47D0-B54F-3CA9776B43B5}"/>
                  </a:ext>
                </a:extLst>
              </p:cNvPr>
              <p:cNvSpPr/>
              <p:nvPr/>
            </p:nvSpPr>
            <p:spPr>
              <a:xfrm>
                <a:off x="6435760" y="5271041"/>
                <a:ext cx="161100" cy="33398"/>
              </a:xfrm>
              <a:custGeom>
                <a:avLst/>
                <a:gdLst>
                  <a:gd name="connsiteX0" fmla="*/ 0 w 161100"/>
                  <a:gd name="connsiteY0" fmla="*/ 0 h 33398"/>
                  <a:gd name="connsiteX1" fmla="*/ 161100 w 161100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100" h="33398">
                    <a:moveTo>
                      <a:pt x="0" y="0"/>
                    </a:moveTo>
                    <a:lnTo>
                      <a:pt x="161100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8AC4B7CC-3EDA-4696-A5DB-D0D8B669C4FE}"/>
                  </a:ext>
                </a:extLst>
              </p:cNvPr>
              <p:cNvSpPr/>
              <p:nvPr/>
            </p:nvSpPr>
            <p:spPr>
              <a:xfrm>
                <a:off x="6385416" y="5291080"/>
                <a:ext cx="93975" cy="33398"/>
              </a:xfrm>
              <a:custGeom>
                <a:avLst/>
                <a:gdLst>
                  <a:gd name="connsiteX0" fmla="*/ 0 w 93975"/>
                  <a:gd name="connsiteY0" fmla="*/ 0 h 33398"/>
                  <a:gd name="connsiteX1" fmla="*/ 93975 w 93975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3975" h="33398">
                    <a:moveTo>
                      <a:pt x="0" y="0"/>
                    </a:moveTo>
                    <a:lnTo>
                      <a:pt x="93975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2372FADF-71B2-4C40-9FB0-45CDB3B0332B}"/>
                  </a:ext>
                </a:extLst>
              </p:cNvPr>
              <p:cNvSpPr/>
              <p:nvPr/>
            </p:nvSpPr>
            <p:spPr>
              <a:xfrm>
                <a:off x="6492816" y="5291080"/>
                <a:ext cx="36918" cy="33398"/>
              </a:xfrm>
              <a:custGeom>
                <a:avLst/>
                <a:gdLst>
                  <a:gd name="connsiteX0" fmla="*/ 0 w 36918"/>
                  <a:gd name="connsiteY0" fmla="*/ 0 h 33398"/>
                  <a:gd name="connsiteX1" fmla="*/ 36919 w 36918"/>
                  <a:gd name="connsiteY1" fmla="*/ 0 h 33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918" h="33398">
                    <a:moveTo>
                      <a:pt x="0" y="0"/>
                    </a:moveTo>
                    <a:lnTo>
                      <a:pt x="36919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8" name="矩形 19">
            <a:extLst>
              <a:ext uri="{FF2B5EF4-FFF2-40B4-BE49-F238E27FC236}">
                <a16:creationId xmlns:a16="http://schemas.microsoft.com/office/drawing/2014/main" id="{A1E469B4-984E-455D-88F6-350EEF04ED4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77398" y="3643308"/>
            <a:ext cx="4317042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iPhone 6s CPU 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上平均运行时间 </a:t>
            </a:r>
            <a:r>
              <a:rPr lang="en-US" altLang="zh-CN" sz="1400" kern="0" dirty="0">
                <a:solidFill>
                  <a:schemeClr val="accent3"/>
                </a:solidFill>
                <a:latin typeface="+mn-ea"/>
                <a:sym typeface="+mn-ea"/>
              </a:rPr>
              <a:t>242ms</a:t>
            </a: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骁龙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845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手机，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CPU 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运行时间 </a:t>
            </a:r>
            <a:r>
              <a:rPr lang="en-US" altLang="zh-CN" sz="1400" kern="0" dirty="0">
                <a:solidFill>
                  <a:schemeClr val="accent3"/>
                </a:solidFill>
                <a:latin typeface="+mn-ea"/>
                <a:sym typeface="+mn-ea"/>
              </a:rPr>
              <a:t>234ms</a:t>
            </a:r>
          </a:p>
        </p:txBody>
      </p:sp>
      <p:sp>
        <p:nvSpPr>
          <p:cNvPr id="99" name="矩形 19">
            <a:extLst>
              <a:ext uri="{FF2B5EF4-FFF2-40B4-BE49-F238E27FC236}">
                <a16:creationId xmlns:a16="http://schemas.microsoft.com/office/drawing/2014/main" id="{50AAFA2F-10B6-497C-8003-960B24C304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77398" y="3132031"/>
            <a:ext cx="2323099" cy="415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3"/>
                </a:solidFill>
                <a:latin typeface="+mj-ea"/>
                <a:ea typeface="+mj-ea"/>
                <a:sym typeface="+mn-ea"/>
              </a:rPr>
              <a:t>性能强大</a:t>
            </a:r>
            <a:endParaRPr lang="en-US" altLang="zh-CN" b="1" kern="0" dirty="0">
              <a:solidFill>
                <a:schemeClr val="accent3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100" name="矩形 19">
            <a:extLst>
              <a:ext uri="{FF2B5EF4-FFF2-40B4-BE49-F238E27FC236}">
                <a16:creationId xmlns:a16="http://schemas.microsoft.com/office/drawing/2014/main" id="{88D16D16-2F12-4F2E-B975-469F1AD46A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677398" y="5001575"/>
            <a:ext cx="4214407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实时字符识别，支持通用及特定复杂场景</a:t>
            </a: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有文档识别及校验功能</a:t>
            </a: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支持文档增强功能</a:t>
            </a:r>
          </a:p>
        </p:txBody>
      </p:sp>
      <p:sp>
        <p:nvSpPr>
          <p:cNvPr id="101" name="矩形 19">
            <a:extLst>
              <a:ext uri="{FF2B5EF4-FFF2-40B4-BE49-F238E27FC236}">
                <a16:creationId xmlns:a16="http://schemas.microsoft.com/office/drawing/2014/main" id="{01AB6190-F704-43E6-8E60-20E607316CF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677398" y="4490298"/>
            <a:ext cx="1730708" cy="415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2"/>
                </a:solidFill>
                <a:latin typeface="+mj-ea"/>
                <a:ea typeface="+mj-ea"/>
                <a:sym typeface="+mn-ea"/>
              </a:rPr>
              <a:t>功能多样</a:t>
            </a:r>
            <a:endParaRPr lang="en-US" altLang="zh-CN" b="1" kern="0" dirty="0">
              <a:solidFill>
                <a:schemeClr val="accent2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102" name="矩形 19">
            <a:extLst>
              <a:ext uri="{FF2B5EF4-FFF2-40B4-BE49-F238E27FC236}">
                <a16:creationId xmlns:a16="http://schemas.microsoft.com/office/drawing/2014/main" id="{4EB44D7C-17D9-4194-BE23-ED42223B970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677398" y="2273980"/>
            <a:ext cx="3709235" cy="5386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 anchorCtr="0">
            <a:spAutoFit/>
          </a:bodyPr>
          <a:lstStyle/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支持多种系统环境，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Linux/windows</a:t>
            </a:r>
            <a:endParaRPr lang="zh-CN" altLang="en-US" sz="1400" kern="0" dirty="0">
              <a:solidFill>
                <a:prstClr val="black"/>
              </a:solidFill>
              <a:latin typeface="+mn-ea"/>
              <a:sym typeface="+mn-ea"/>
            </a:endParaRPr>
          </a:p>
          <a:p>
            <a:pPr marL="180975" indent="-180975" defTabSz="413385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移动端 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Android/</a:t>
            </a:r>
            <a:r>
              <a:rPr lang="en-US" altLang="zh-CN" sz="1400" kern="0" dirty="0" err="1">
                <a:solidFill>
                  <a:prstClr val="black"/>
                </a:solidFill>
                <a:latin typeface="+mn-ea"/>
                <a:sym typeface="+mn-ea"/>
              </a:rPr>
              <a:t>ios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 </a:t>
            </a:r>
            <a:r>
              <a:rPr lang="zh-CN" altLang="en-US" sz="1400" kern="0" dirty="0">
                <a:solidFill>
                  <a:prstClr val="black"/>
                </a:solidFill>
                <a:latin typeface="+mn-ea"/>
                <a:sym typeface="+mn-ea"/>
              </a:rPr>
              <a:t>的 </a:t>
            </a:r>
            <a:r>
              <a:rPr lang="en-US" altLang="zh-CN" sz="1400" kern="0" dirty="0">
                <a:solidFill>
                  <a:prstClr val="black"/>
                </a:solidFill>
                <a:latin typeface="+mn-ea"/>
                <a:sym typeface="+mn-ea"/>
              </a:rPr>
              <a:t>SDK </a:t>
            </a:r>
          </a:p>
        </p:txBody>
      </p:sp>
      <p:sp>
        <p:nvSpPr>
          <p:cNvPr id="103" name="矩形 19">
            <a:extLst>
              <a:ext uri="{FF2B5EF4-FFF2-40B4-BE49-F238E27FC236}">
                <a16:creationId xmlns:a16="http://schemas.microsoft.com/office/drawing/2014/main" id="{85A3CB33-6E7F-4B78-B2FD-CA9FF9664E6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677398" y="1762703"/>
            <a:ext cx="2799349" cy="415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b="1" kern="0" dirty="0">
                <a:solidFill>
                  <a:schemeClr val="accent1"/>
                </a:solidFill>
                <a:latin typeface="+mj-ea"/>
                <a:ea typeface="+mj-ea"/>
                <a:sym typeface="+mn-ea"/>
              </a:rPr>
              <a:t>运行环境</a:t>
            </a:r>
            <a:endParaRPr lang="en-US" altLang="zh-CN" b="1" kern="0" dirty="0">
              <a:solidFill>
                <a:schemeClr val="accent1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104" name="椭圆 103">
            <a:extLst>
              <a:ext uri="{FF2B5EF4-FFF2-40B4-BE49-F238E27FC236}">
                <a16:creationId xmlns:a16="http://schemas.microsoft.com/office/drawing/2014/main" id="{5D4BC230-6AE5-4DBB-8EB6-9E894E90EB8F}"/>
              </a:ext>
            </a:extLst>
          </p:cNvPr>
          <p:cNvSpPr/>
          <p:nvPr/>
        </p:nvSpPr>
        <p:spPr>
          <a:xfrm>
            <a:off x="6716069" y="2015594"/>
            <a:ext cx="648000" cy="649188"/>
          </a:xfrm>
          <a:prstGeom prst="ellipse">
            <a:avLst/>
          </a:prstGeom>
          <a:solidFill>
            <a:schemeClr val="accent1"/>
          </a:solidFill>
          <a:ln w="6350" cap="flat">
            <a:noFill/>
            <a:prstDash val="solid"/>
            <a:round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hangingPunct="0"/>
            <a:endParaRPr lang="zh-CN" altLang="en-US" sz="3000" dirty="0">
              <a:solidFill>
                <a:srgbClr val="000000"/>
              </a:solidFill>
              <a:latin typeface="微软雅黑" panose="020B0503020204020204" pitchFamily="34" charset="-122"/>
              <a:sym typeface="Helvetica Neue Medium"/>
            </a:endParaRPr>
          </a:p>
        </p:txBody>
      </p:sp>
      <p:pic>
        <p:nvPicPr>
          <p:cNvPr id="105" name="图形 104">
            <a:extLst>
              <a:ext uri="{FF2B5EF4-FFF2-40B4-BE49-F238E27FC236}">
                <a16:creationId xmlns:a16="http://schemas.microsoft.com/office/drawing/2014/main" id="{C687CBA9-A042-44A1-8785-CC0F22ACF4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02650" y="2180704"/>
            <a:ext cx="274838" cy="318968"/>
          </a:xfrm>
          <a:prstGeom prst="rect">
            <a:avLst/>
          </a:prstGeom>
        </p:spPr>
      </p:pic>
      <p:sp>
        <p:nvSpPr>
          <p:cNvPr id="109" name="标题 1">
            <a:extLst>
              <a:ext uri="{FF2B5EF4-FFF2-40B4-BE49-F238E27FC236}">
                <a16:creationId xmlns:a16="http://schemas.microsoft.com/office/drawing/2014/main" id="{CD5A73DD-44A5-484F-BDCC-8E69032E0469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Option A</a:t>
            </a:r>
            <a:r>
              <a:rPr lang="zh-CN" altLang="en-US" dirty="0"/>
              <a:t>：</a:t>
            </a:r>
            <a:r>
              <a:rPr lang="en-US" altLang="zh-CN" dirty="0" err="1"/>
              <a:t>SMore</a:t>
            </a:r>
            <a:r>
              <a:rPr lang="en-US" altLang="zh-CN" dirty="0"/>
              <a:t> OCR</a:t>
            </a:r>
            <a:r>
              <a:rPr lang="zh-CN" altLang="en-US" dirty="0"/>
              <a:t> </a:t>
            </a:r>
            <a:r>
              <a:rPr lang="en-US" altLang="zh-CN" dirty="0"/>
              <a:t>SDK </a:t>
            </a:r>
            <a:r>
              <a:rPr lang="zh-CN" altLang="en-US" dirty="0"/>
              <a:t>包</a:t>
            </a:r>
          </a:p>
        </p:txBody>
      </p:sp>
      <p:grpSp>
        <p:nvGrpSpPr>
          <p:cNvPr id="110" name="组合 109">
            <a:extLst>
              <a:ext uri="{FF2B5EF4-FFF2-40B4-BE49-F238E27FC236}">
                <a16:creationId xmlns:a16="http://schemas.microsoft.com/office/drawing/2014/main" id="{B64534C5-D291-40FE-9C4E-D700394054BF}"/>
              </a:ext>
            </a:extLst>
          </p:cNvPr>
          <p:cNvGrpSpPr/>
          <p:nvPr/>
        </p:nvGrpSpPr>
        <p:grpSpPr>
          <a:xfrm>
            <a:off x="649840" y="1995960"/>
            <a:ext cx="1940960" cy="2675833"/>
            <a:chOff x="649840" y="2345469"/>
            <a:chExt cx="1676963" cy="2311883"/>
          </a:xfrm>
        </p:grpSpPr>
        <p:pic>
          <p:nvPicPr>
            <p:cNvPr id="111" name="图片 110" descr="屏幕上有字&#10;&#10;描述已自动生成">
              <a:extLst>
                <a:ext uri="{FF2B5EF4-FFF2-40B4-BE49-F238E27FC236}">
                  <a16:creationId xmlns:a16="http://schemas.microsoft.com/office/drawing/2014/main" id="{7C3AB978-4B60-435D-86F1-43B6C4D88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49840" y="2345469"/>
              <a:ext cx="1676963" cy="2311883"/>
            </a:xfrm>
            <a:custGeom>
              <a:avLst/>
              <a:gdLst>
                <a:gd name="connsiteX0" fmla="*/ 0 w 1676963"/>
                <a:gd name="connsiteY0" fmla="*/ 0 h 2311883"/>
                <a:gd name="connsiteX1" fmla="*/ 1676963 w 1676963"/>
                <a:gd name="connsiteY1" fmla="*/ 0 h 2311883"/>
                <a:gd name="connsiteX2" fmla="*/ 1676963 w 1676963"/>
                <a:gd name="connsiteY2" fmla="*/ 2080639 h 2311883"/>
                <a:gd name="connsiteX3" fmla="*/ 223285 w 1676963"/>
                <a:gd name="connsiteY3" fmla="*/ 2277331 h 2311883"/>
                <a:gd name="connsiteX4" fmla="*/ 139261 w 1676963"/>
                <a:gd name="connsiteY4" fmla="*/ 2311883 h 2311883"/>
                <a:gd name="connsiteX5" fmla="*/ 0 w 1676963"/>
                <a:gd name="connsiteY5" fmla="*/ 2311883 h 231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6963" h="2311883">
                  <a:moveTo>
                    <a:pt x="0" y="0"/>
                  </a:moveTo>
                  <a:lnTo>
                    <a:pt x="1676963" y="0"/>
                  </a:lnTo>
                  <a:lnTo>
                    <a:pt x="1676963" y="2080639"/>
                  </a:lnTo>
                  <a:lnTo>
                    <a:pt x="223285" y="2277331"/>
                  </a:lnTo>
                  <a:lnTo>
                    <a:pt x="139261" y="2311883"/>
                  </a:lnTo>
                  <a:lnTo>
                    <a:pt x="0" y="2311883"/>
                  </a:lnTo>
                  <a:close/>
                </a:path>
              </a:pathLst>
            </a:cu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2" name="文本框 111">
              <a:extLst>
                <a:ext uri="{FF2B5EF4-FFF2-40B4-BE49-F238E27FC236}">
                  <a16:creationId xmlns:a16="http://schemas.microsoft.com/office/drawing/2014/main" id="{5F9EAA1E-D891-4F71-BE7D-0C2F6B70A6F5}"/>
                </a:ext>
              </a:extLst>
            </p:cNvPr>
            <p:cNvSpPr txBox="1"/>
            <p:nvPr/>
          </p:nvSpPr>
          <p:spPr>
            <a:xfrm>
              <a:off x="983532" y="3543923"/>
              <a:ext cx="1260978" cy="587065"/>
            </a:xfrm>
            <a:prstGeom prst="rect">
              <a:avLst/>
            </a:prstGeom>
            <a:solidFill>
              <a:srgbClr val="212F35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rtlCol="0">
              <a:noAutofit/>
              <a:scene3d>
                <a:camera prst="perspectiveFront" fov="7200000">
                  <a:rot lat="600000" lon="20399993" rev="0"/>
                </a:camera>
                <a:lightRig rig="threePt" dir="t"/>
              </a:scene3d>
              <a:sp3d extrusionH="12700" prstMaterial="matte">
                <a:extrusionClr>
                  <a:schemeClr val="tx1"/>
                </a:extrusionClr>
              </a:sp3d>
            </a:bodyPr>
            <a:lstStyle/>
            <a:p>
              <a:r>
                <a:rPr lang="en-US" altLang="zh-CN" dirty="0" err="1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More</a:t>
              </a:r>
              <a:r>
                <a:rPr lang="en-US" altLang="zh-CN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 OCR</a:t>
              </a:r>
            </a:p>
            <a:p>
              <a:r>
                <a:rPr lang="en-US" altLang="zh-CN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DK</a:t>
              </a:r>
            </a:p>
          </p:txBody>
        </p:sp>
      </p:grp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9DA0BE31-5E2D-45AB-925A-9DA0D5F0B943}"/>
              </a:ext>
            </a:extLst>
          </p:cNvPr>
          <p:cNvGrpSpPr/>
          <p:nvPr/>
        </p:nvGrpSpPr>
        <p:grpSpPr>
          <a:xfrm>
            <a:off x="3671798" y="2105018"/>
            <a:ext cx="900202" cy="510866"/>
            <a:chOff x="3549535" y="2244666"/>
            <a:chExt cx="1054240" cy="598282"/>
          </a:xfrm>
        </p:grpSpPr>
        <p:grpSp>
          <p:nvGrpSpPr>
            <p:cNvPr id="160" name="组合 159">
              <a:extLst>
                <a:ext uri="{FF2B5EF4-FFF2-40B4-BE49-F238E27FC236}">
                  <a16:creationId xmlns:a16="http://schemas.microsoft.com/office/drawing/2014/main" id="{B6234C05-DC12-42A9-9EA3-2D3D8F8529C4}"/>
                </a:ext>
              </a:extLst>
            </p:cNvPr>
            <p:cNvGrpSpPr/>
            <p:nvPr/>
          </p:nvGrpSpPr>
          <p:grpSpPr>
            <a:xfrm>
              <a:off x="3915086" y="2244666"/>
              <a:ext cx="323139" cy="322960"/>
              <a:chOff x="3339495" y="2244666"/>
              <a:chExt cx="323139" cy="322960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F49DA3DF-1369-491D-BE92-C2A1294C47DF}"/>
                  </a:ext>
                </a:extLst>
              </p:cNvPr>
              <p:cNvSpPr/>
              <p:nvPr/>
            </p:nvSpPr>
            <p:spPr>
              <a:xfrm>
                <a:off x="3482888" y="2244666"/>
                <a:ext cx="179746" cy="158452"/>
              </a:xfrm>
              <a:custGeom>
                <a:avLst/>
                <a:gdLst>
                  <a:gd name="connsiteX0" fmla="*/ 0 w 1060236"/>
                  <a:gd name="connsiteY0" fmla="*/ 934641 h 934640"/>
                  <a:gd name="connsiteX1" fmla="*/ 1060237 w 1060236"/>
                  <a:gd name="connsiteY1" fmla="*/ 934641 h 934640"/>
                  <a:gd name="connsiteX2" fmla="*/ 1060237 w 1060236"/>
                  <a:gd name="connsiteY2" fmla="*/ 0 h 934640"/>
                  <a:gd name="connsiteX3" fmla="*/ 0 w 1060236"/>
                  <a:gd name="connsiteY3" fmla="*/ 148828 h 934640"/>
                  <a:gd name="connsiteX4" fmla="*/ 0 w 1060236"/>
                  <a:gd name="connsiteY4" fmla="*/ 934641 h 934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36" h="934640">
                    <a:moveTo>
                      <a:pt x="0" y="934641"/>
                    </a:moveTo>
                    <a:lnTo>
                      <a:pt x="1060237" y="934641"/>
                    </a:lnTo>
                    <a:lnTo>
                      <a:pt x="1060237" y="0"/>
                    </a:lnTo>
                    <a:lnTo>
                      <a:pt x="0" y="148828"/>
                    </a:lnTo>
                    <a:lnTo>
                      <a:pt x="0" y="934641"/>
                    </a:lnTo>
                    <a:close/>
                  </a:path>
                </a:pathLst>
              </a:custGeom>
              <a:solidFill>
                <a:srgbClr val="66CC00"/>
              </a:solidFill>
              <a:ln w="1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66980C6A-E371-45E2-AAB3-75DA1C378415}"/>
                  </a:ext>
                </a:extLst>
              </p:cNvPr>
              <p:cNvSpPr/>
              <p:nvPr/>
            </p:nvSpPr>
            <p:spPr>
              <a:xfrm>
                <a:off x="3339495" y="2409174"/>
                <a:ext cx="138344" cy="132212"/>
              </a:xfrm>
              <a:custGeom>
                <a:avLst/>
                <a:gdLst>
                  <a:gd name="connsiteX0" fmla="*/ 0 w 816025"/>
                  <a:gd name="connsiteY0" fmla="*/ 666750 h 779859"/>
                  <a:gd name="connsiteX1" fmla="*/ 816025 w 816025"/>
                  <a:gd name="connsiteY1" fmla="*/ 779859 h 779859"/>
                  <a:gd name="connsiteX2" fmla="*/ 816025 w 816025"/>
                  <a:gd name="connsiteY2" fmla="*/ 0 h 779859"/>
                  <a:gd name="connsiteX3" fmla="*/ 0 w 816025"/>
                  <a:gd name="connsiteY3" fmla="*/ 0 h 779859"/>
                  <a:gd name="connsiteX4" fmla="*/ 0 w 816025"/>
                  <a:gd name="connsiteY4" fmla="*/ 666750 h 779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6025" h="779859">
                    <a:moveTo>
                      <a:pt x="0" y="666750"/>
                    </a:moveTo>
                    <a:lnTo>
                      <a:pt x="816025" y="779859"/>
                    </a:lnTo>
                    <a:lnTo>
                      <a:pt x="816025" y="0"/>
                    </a:lnTo>
                    <a:lnTo>
                      <a:pt x="0" y="0"/>
                    </a:lnTo>
                    <a:lnTo>
                      <a:pt x="0" y="666750"/>
                    </a:lnTo>
                    <a:close/>
                  </a:path>
                </a:pathLst>
              </a:custGeom>
              <a:solidFill>
                <a:srgbClr val="0099FF"/>
              </a:solidFill>
              <a:ln w="1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489F892-5771-4304-A40E-9FBF2FAE23B8}"/>
                  </a:ext>
                </a:extLst>
              </p:cNvPr>
              <p:cNvSpPr/>
              <p:nvPr/>
            </p:nvSpPr>
            <p:spPr>
              <a:xfrm>
                <a:off x="3339495" y="2270906"/>
                <a:ext cx="138344" cy="132212"/>
              </a:xfrm>
              <a:custGeom>
                <a:avLst/>
                <a:gdLst>
                  <a:gd name="connsiteX0" fmla="*/ 0 w 816025"/>
                  <a:gd name="connsiteY0" fmla="*/ 779859 h 779859"/>
                  <a:gd name="connsiteX1" fmla="*/ 816025 w 816025"/>
                  <a:gd name="connsiteY1" fmla="*/ 779859 h 779859"/>
                  <a:gd name="connsiteX2" fmla="*/ 816025 w 816025"/>
                  <a:gd name="connsiteY2" fmla="*/ 0 h 779859"/>
                  <a:gd name="connsiteX3" fmla="*/ 0 w 816025"/>
                  <a:gd name="connsiteY3" fmla="*/ 113109 h 779859"/>
                  <a:gd name="connsiteX4" fmla="*/ 0 w 816025"/>
                  <a:gd name="connsiteY4" fmla="*/ 779859 h 779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6025" h="779859">
                    <a:moveTo>
                      <a:pt x="0" y="779859"/>
                    </a:moveTo>
                    <a:lnTo>
                      <a:pt x="816025" y="779859"/>
                    </a:lnTo>
                    <a:lnTo>
                      <a:pt x="816025" y="0"/>
                    </a:lnTo>
                    <a:lnTo>
                      <a:pt x="0" y="113109"/>
                    </a:lnTo>
                    <a:lnTo>
                      <a:pt x="0" y="779859"/>
                    </a:lnTo>
                    <a:close/>
                  </a:path>
                </a:pathLst>
              </a:custGeom>
              <a:solidFill>
                <a:srgbClr val="FF6633"/>
              </a:solidFill>
              <a:ln w="1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1A7031A-220B-41AB-B101-4DFC8F4ADB54}"/>
                  </a:ext>
                </a:extLst>
              </p:cNvPr>
              <p:cNvSpPr/>
              <p:nvPr/>
            </p:nvSpPr>
            <p:spPr>
              <a:xfrm>
                <a:off x="3482888" y="2409174"/>
                <a:ext cx="179746" cy="158452"/>
              </a:xfrm>
              <a:custGeom>
                <a:avLst/>
                <a:gdLst>
                  <a:gd name="connsiteX0" fmla="*/ 0 w 1060236"/>
                  <a:gd name="connsiteY0" fmla="*/ 785813 h 934640"/>
                  <a:gd name="connsiteX1" fmla="*/ 1060237 w 1060236"/>
                  <a:gd name="connsiteY1" fmla="*/ 934641 h 934640"/>
                  <a:gd name="connsiteX2" fmla="*/ 1060237 w 1060236"/>
                  <a:gd name="connsiteY2" fmla="*/ 0 h 934640"/>
                  <a:gd name="connsiteX3" fmla="*/ 0 w 1060236"/>
                  <a:gd name="connsiteY3" fmla="*/ 0 h 934640"/>
                  <a:gd name="connsiteX4" fmla="*/ 0 w 1060236"/>
                  <a:gd name="connsiteY4" fmla="*/ 785813 h 934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236" h="934640">
                    <a:moveTo>
                      <a:pt x="0" y="785813"/>
                    </a:moveTo>
                    <a:lnTo>
                      <a:pt x="1060237" y="934641"/>
                    </a:lnTo>
                    <a:lnTo>
                      <a:pt x="1060237" y="0"/>
                    </a:lnTo>
                    <a:lnTo>
                      <a:pt x="0" y="0"/>
                    </a:lnTo>
                    <a:lnTo>
                      <a:pt x="0" y="785813"/>
                    </a:lnTo>
                    <a:close/>
                  </a:path>
                </a:pathLst>
              </a:custGeom>
              <a:solidFill>
                <a:srgbClr val="FFCC00"/>
              </a:solidFill>
              <a:ln w="18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FE9782E2-184E-4073-80D2-291E952BBF7C}"/>
                </a:ext>
              </a:extLst>
            </p:cNvPr>
            <p:cNvSpPr/>
            <p:nvPr/>
          </p:nvSpPr>
          <p:spPr>
            <a:xfrm>
              <a:off x="3549535" y="2633912"/>
              <a:ext cx="1054240" cy="209036"/>
            </a:xfrm>
            <a:custGeom>
              <a:avLst/>
              <a:gdLst>
                <a:gd name="connsiteX0" fmla="*/ 3139017 w 6218468"/>
                <a:gd name="connsiteY0" fmla="*/ 488156 h 1233014"/>
                <a:gd name="connsiteX1" fmla="*/ 2948412 w 6218468"/>
                <a:gd name="connsiteY1" fmla="*/ 577453 h 1233014"/>
                <a:gd name="connsiteX2" fmla="*/ 2876936 w 6218468"/>
                <a:gd name="connsiteY2" fmla="*/ 821531 h 1233014"/>
                <a:gd name="connsiteX3" fmla="*/ 2942456 w 6218468"/>
                <a:gd name="connsiteY3" fmla="*/ 1041797 h 1233014"/>
                <a:gd name="connsiteX4" fmla="*/ 3121147 w 6218468"/>
                <a:gd name="connsiteY4" fmla="*/ 1125141 h 1233014"/>
                <a:gd name="connsiteX5" fmla="*/ 3299839 w 6218468"/>
                <a:gd name="connsiteY5" fmla="*/ 1047750 h 1233014"/>
                <a:gd name="connsiteX6" fmla="*/ 3371315 w 6218468"/>
                <a:gd name="connsiteY6" fmla="*/ 839391 h 1233014"/>
                <a:gd name="connsiteX7" fmla="*/ 3371315 w 6218468"/>
                <a:gd name="connsiteY7" fmla="*/ 720328 h 1233014"/>
                <a:gd name="connsiteX8" fmla="*/ 3156290 w 6218468"/>
                <a:gd name="connsiteY8" fmla="*/ 488156 h 1233014"/>
                <a:gd name="connsiteX9" fmla="*/ 4080125 w 6218468"/>
                <a:gd name="connsiteY9" fmla="*/ 476250 h 1233014"/>
                <a:gd name="connsiteX10" fmla="*/ 3877608 w 6218468"/>
                <a:gd name="connsiteY10" fmla="*/ 559594 h 1233014"/>
                <a:gd name="connsiteX11" fmla="*/ 3806132 w 6218468"/>
                <a:gd name="connsiteY11" fmla="*/ 797719 h 1233014"/>
                <a:gd name="connsiteX12" fmla="*/ 3877608 w 6218468"/>
                <a:gd name="connsiteY12" fmla="*/ 1029891 h 1233014"/>
                <a:gd name="connsiteX13" fmla="*/ 4074169 w 6218468"/>
                <a:gd name="connsiteY13" fmla="*/ 1113234 h 1233014"/>
                <a:gd name="connsiteX14" fmla="*/ 4270730 w 6218468"/>
                <a:gd name="connsiteY14" fmla="*/ 1029891 h 1233014"/>
                <a:gd name="connsiteX15" fmla="*/ 4342206 w 6218468"/>
                <a:gd name="connsiteY15" fmla="*/ 797719 h 1233014"/>
                <a:gd name="connsiteX16" fmla="*/ 4276686 w 6218468"/>
                <a:gd name="connsiteY16" fmla="*/ 559594 h 1233014"/>
                <a:gd name="connsiteX17" fmla="*/ 4080125 w 6218468"/>
                <a:gd name="connsiteY17" fmla="*/ 476250 h 1233014"/>
                <a:gd name="connsiteX18" fmla="*/ 4520898 w 6218468"/>
                <a:gd name="connsiteY18" fmla="*/ 392906 h 1233014"/>
                <a:gd name="connsiteX19" fmla="*/ 4657895 w 6218468"/>
                <a:gd name="connsiteY19" fmla="*/ 392906 h 1233014"/>
                <a:gd name="connsiteX20" fmla="*/ 4836587 w 6218468"/>
                <a:gd name="connsiteY20" fmla="*/ 1053703 h 1233014"/>
                <a:gd name="connsiteX21" fmla="*/ 4842543 w 6218468"/>
                <a:gd name="connsiteY21" fmla="*/ 1053703 h 1233014"/>
                <a:gd name="connsiteX22" fmla="*/ 5045060 w 6218468"/>
                <a:gd name="connsiteY22" fmla="*/ 392906 h 1233014"/>
                <a:gd name="connsiteX23" fmla="*/ 5164188 w 6218468"/>
                <a:gd name="connsiteY23" fmla="*/ 392906 h 1233014"/>
                <a:gd name="connsiteX24" fmla="*/ 5348835 w 6218468"/>
                <a:gd name="connsiteY24" fmla="*/ 1053703 h 1233014"/>
                <a:gd name="connsiteX25" fmla="*/ 5354792 w 6218468"/>
                <a:gd name="connsiteY25" fmla="*/ 1053703 h 1233014"/>
                <a:gd name="connsiteX26" fmla="*/ 5527527 w 6218468"/>
                <a:gd name="connsiteY26" fmla="*/ 392906 h 1233014"/>
                <a:gd name="connsiteX27" fmla="*/ 5664524 w 6218468"/>
                <a:gd name="connsiteY27" fmla="*/ 392906 h 1233014"/>
                <a:gd name="connsiteX28" fmla="*/ 5420313 w 6218468"/>
                <a:gd name="connsiteY28" fmla="*/ 1208484 h 1233014"/>
                <a:gd name="connsiteX29" fmla="*/ 5283316 w 6218468"/>
                <a:gd name="connsiteY29" fmla="*/ 1208484 h 1233014"/>
                <a:gd name="connsiteX30" fmla="*/ 5098667 w 6218468"/>
                <a:gd name="connsiteY30" fmla="*/ 571500 h 1233014"/>
                <a:gd name="connsiteX31" fmla="*/ 5092711 w 6218468"/>
                <a:gd name="connsiteY31" fmla="*/ 571500 h 1233014"/>
                <a:gd name="connsiteX32" fmla="*/ 4896151 w 6218468"/>
                <a:gd name="connsiteY32" fmla="*/ 1208484 h 1233014"/>
                <a:gd name="connsiteX33" fmla="*/ 4765110 w 6218468"/>
                <a:gd name="connsiteY33" fmla="*/ 1208484 h 1233014"/>
                <a:gd name="connsiteX34" fmla="*/ 1596312 w 6218468"/>
                <a:gd name="connsiteY34" fmla="*/ 392906 h 1233014"/>
                <a:gd name="connsiteX35" fmla="*/ 1727352 w 6218468"/>
                <a:gd name="connsiteY35" fmla="*/ 392906 h 1233014"/>
                <a:gd name="connsiteX36" fmla="*/ 1727352 w 6218468"/>
                <a:gd name="connsiteY36" fmla="*/ 1208484 h 1233014"/>
                <a:gd name="connsiteX37" fmla="*/ 1596312 w 6218468"/>
                <a:gd name="connsiteY37" fmla="*/ 1208484 h 1233014"/>
                <a:gd name="connsiteX38" fmla="*/ 4080125 w 6218468"/>
                <a:gd name="connsiteY38" fmla="*/ 375047 h 1233014"/>
                <a:gd name="connsiteX39" fmla="*/ 4366032 w 6218468"/>
                <a:gd name="connsiteY39" fmla="*/ 488156 h 1233014"/>
                <a:gd name="connsiteX40" fmla="*/ 4473247 w 6218468"/>
                <a:gd name="connsiteY40" fmla="*/ 797719 h 1233014"/>
                <a:gd name="connsiteX41" fmla="*/ 4360076 w 6218468"/>
                <a:gd name="connsiteY41" fmla="*/ 1113234 h 1233014"/>
                <a:gd name="connsiteX42" fmla="*/ 4062256 w 6218468"/>
                <a:gd name="connsiteY42" fmla="*/ 1232297 h 1233014"/>
                <a:gd name="connsiteX43" fmla="*/ 3770393 w 6218468"/>
                <a:gd name="connsiteY43" fmla="*/ 1119188 h 1233014"/>
                <a:gd name="connsiteX44" fmla="*/ 3663178 w 6218468"/>
                <a:gd name="connsiteY44" fmla="*/ 815578 h 1233014"/>
                <a:gd name="connsiteX45" fmla="*/ 3776350 w 6218468"/>
                <a:gd name="connsiteY45" fmla="*/ 494109 h 1233014"/>
                <a:gd name="connsiteX46" fmla="*/ 4080125 w 6218468"/>
                <a:gd name="connsiteY46" fmla="*/ 375047 h 1233014"/>
                <a:gd name="connsiteX47" fmla="*/ 2322991 w 6218468"/>
                <a:gd name="connsiteY47" fmla="*/ 375047 h 1233014"/>
                <a:gd name="connsiteX48" fmla="*/ 2525508 w 6218468"/>
                <a:gd name="connsiteY48" fmla="*/ 464344 h 1233014"/>
                <a:gd name="connsiteX49" fmla="*/ 2596985 w 6218468"/>
                <a:gd name="connsiteY49" fmla="*/ 714375 h 1233014"/>
                <a:gd name="connsiteX50" fmla="*/ 2596985 w 6218468"/>
                <a:gd name="connsiteY50" fmla="*/ 1208485 h 1233014"/>
                <a:gd name="connsiteX51" fmla="*/ 2465944 w 6218468"/>
                <a:gd name="connsiteY51" fmla="*/ 1208485 h 1233014"/>
                <a:gd name="connsiteX52" fmla="*/ 2465944 w 6218468"/>
                <a:gd name="connsiteY52" fmla="*/ 744141 h 1233014"/>
                <a:gd name="connsiteX53" fmla="*/ 2275340 w 6218468"/>
                <a:gd name="connsiteY53" fmla="*/ 482203 h 1233014"/>
                <a:gd name="connsiteX54" fmla="*/ 2114518 w 6218468"/>
                <a:gd name="connsiteY54" fmla="*/ 553641 h 1233014"/>
                <a:gd name="connsiteX55" fmla="*/ 2048997 w 6218468"/>
                <a:gd name="connsiteY55" fmla="*/ 738188 h 1233014"/>
                <a:gd name="connsiteX56" fmla="*/ 2048997 w 6218468"/>
                <a:gd name="connsiteY56" fmla="*/ 1202531 h 1233014"/>
                <a:gd name="connsiteX57" fmla="*/ 1917957 w 6218468"/>
                <a:gd name="connsiteY57" fmla="*/ 1202531 h 1233014"/>
                <a:gd name="connsiteX58" fmla="*/ 1917957 w 6218468"/>
                <a:gd name="connsiteY58" fmla="*/ 392906 h 1233014"/>
                <a:gd name="connsiteX59" fmla="*/ 2048997 w 6218468"/>
                <a:gd name="connsiteY59" fmla="*/ 392906 h 1233014"/>
                <a:gd name="connsiteX60" fmla="*/ 2048997 w 6218468"/>
                <a:gd name="connsiteY60" fmla="*/ 529828 h 1233014"/>
                <a:gd name="connsiteX61" fmla="*/ 2054954 w 6218468"/>
                <a:gd name="connsiteY61" fmla="*/ 529828 h 1233014"/>
                <a:gd name="connsiteX62" fmla="*/ 2322991 w 6218468"/>
                <a:gd name="connsiteY62" fmla="*/ 375047 h 1233014"/>
                <a:gd name="connsiteX63" fmla="*/ 6009995 w 6218468"/>
                <a:gd name="connsiteY63" fmla="*/ 369094 h 1233014"/>
                <a:gd name="connsiteX64" fmla="*/ 6182730 w 6218468"/>
                <a:gd name="connsiteY64" fmla="*/ 404813 h 1233014"/>
                <a:gd name="connsiteX65" fmla="*/ 6182730 w 6218468"/>
                <a:gd name="connsiteY65" fmla="*/ 535782 h 1233014"/>
                <a:gd name="connsiteX66" fmla="*/ 5998082 w 6218468"/>
                <a:gd name="connsiteY66" fmla="*/ 476251 h 1233014"/>
                <a:gd name="connsiteX67" fmla="*/ 5890867 w 6218468"/>
                <a:gd name="connsiteY67" fmla="*/ 506016 h 1233014"/>
                <a:gd name="connsiteX68" fmla="*/ 5849173 w 6218468"/>
                <a:gd name="connsiteY68" fmla="*/ 589360 h 1233014"/>
                <a:gd name="connsiteX69" fmla="*/ 5878955 w 6218468"/>
                <a:gd name="connsiteY69" fmla="*/ 672704 h 1233014"/>
                <a:gd name="connsiteX70" fmla="*/ 6004038 w 6218468"/>
                <a:gd name="connsiteY70" fmla="*/ 744141 h 1233014"/>
                <a:gd name="connsiteX71" fmla="*/ 6164861 w 6218468"/>
                <a:gd name="connsiteY71" fmla="*/ 845344 h 1233014"/>
                <a:gd name="connsiteX72" fmla="*/ 6218468 w 6218468"/>
                <a:gd name="connsiteY72" fmla="*/ 988219 h 1233014"/>
                <a:gd name="connsiteX73" fmla="*/ 6135079 w 6218468"/>
                <a:gd name="connsiteY73" fmla="*/ 1160860 h 1233014"/>
                <a:gd name="connsiteX74" fmla="*/ 5920649 w 6218468"/>
                <a:gd name="connsiteY74" fmla="*/ 1226344 h 1233014"/>
                <a:gd name="connsiteX75" fmla="*/ 5718132 w 6218468"/>
                <a:gd name="connsiteY75" fmla="*/ 1178719 h 1233014"/>
                <a:gd name="connsiteX76" fmla="*/ 5718132 w 6218468"/>
                <a:gd name="connsiteY76" fmla="*/ 1035844 h 1233014"/>
                <a:gd name="connsiteX77" fmla="*/ 5932562 w 6218468"/>
                <a:gd name="connsiteY77" fmla="*/ 1113235 h 1233014"/>
                <a:gd name="connsiteX78" fmla="*/ 6087428 w 6218468"/>
                <a:gd name="connsiteY78" fmla="*/ 1000126 h 1233014"/>
                <a:gd name="connsiteX79" fmla="*/ 6057646 w 6218468"/>
                <a:gd name="connsiteY79" fmla="*/ 922735 h 1233014"/>
                <a:gd name="connsiteX80" fmla="*/ 5920649 w 6218468"/>
                <a:gd name="connsiteY80" fmla="*/ 845344 h 1233014"/>
                <a:gd name="connsiteX81" fmla="*/ 5765783 w 6218468"/>
                <a:gd name="connsiteY81" fmla="*/ 744141 h 1233014"/>
                <a:gd name="connsiteX82" fmla="*/ 5718132 w 6218468"/>
                <a:gd name="connsiteY82" fmla="*/ 601266 h 1233014"/>
                <a:gd name="connsiteX83" fmla="*/ 5801521 w 6218468"/>
                <a:gd name="connsiteY83" fmla="*/ 434579 h 1233014"/>
                <a:gd name="connsiteX84" fmla="*/ 6009995 w 6218468"/>
                <a:gd name="connsiteY84" fmla="*/ 369094 h 1233014"/>
                <a:gd name="connsiteX85" fmla="*/ 0 w 6218468"/>
                <a:gd name="connsiteY85" fmla="*/ 65485 h 1233014"/>
                <a:gd name="connsiteX86" fmla="*/ 142953 w 6218468"/>
                <a:gd name="connsiteY86" fmla="*/ 65485 h 1233014"/>
                <a:gd name="connsiteX87" fmla="*/ 405035 w 6218468"/>
                <a:gd name="connsiteY87" fmla="*/ 1017985 h 1233014"/>
                <a:gd name="connsiteX88" fmla="*/ 410991 w 6218468"/>
                <a:gd name="connsiteY88" fmla="*/ 1017985 h 1233014"/>
                <a:gd name="connsiteX89" fmla="*/ 684985 w 6218468"/>
                <a:gd name="connsiteY89" fmla="*/ 65485 h 1233014"/>
                <a:gd name="connsiteX90" fmla="*/ 816025 w 6218468"/>
                <a:gd name="connsiteY90" fmla="*/ 65485 h 1233014"/>
                <a:gd name="connsiteX91" fmla="*/ 1078106 w 6218468"/>
                <a:gd name="connsiteY91" fmla="*/ 1023938 h 1233014"/>
                <a:gd name="connsiteX92" fmla="*/ 1084063 w 6218468"/>
                <a:gd name="connsiteY92" fmla="*/ 1023938 h 1233014"/>
                <a:gd name="connsiteX93" fmla="*/ 1340187 w 6218468"/>
                <a:gd name="connsiteY93" fmla="*/ 65485 h 1233014"/>
                <a:gd name="connsiteX94" fmla="*/ 1483141 w 6218468"/>
                <a:gd name="connsiteY94" fmla="*/ 65485 h 1233014"/>
                <a:gd name="connsiteX95" fmla="*/ 1161496 w 6218468"/>
                <a:gd name="connsiteY95" fmla="*/ 1208485 h 1233014"/>
                <a:gd name="connsiteX96" fmla="*/ 1000673 w 6218468"/>
                <a:gd name="connsiteY96" fmla="*/ 1208485 h 1233014"/>
                <a:gd name="connsiteX97" fmla="*/ 744548 w 6218468"/>
                <a:gd name="connsiteY97" fmla="*/ 303610 h 1233014"/>
                <a:gd name="connsiteX98" fmla="*/ 488424 w 6218468"/>
                <a:gd name="connsiteY98" fmla="*/ 1208485 h 1233014"/>
                <a:gd name="connsiteX99" fmla="*/ 333558 w 6218468"/>
                <a:gd name="connsiteY99" fmla="*/ 1208485 h 1233014"/>
                <a:gd name="connsiteX100" fmla="*/ 1658259 w 6218468"/>
                <a:gd name="connsiteY100" fmla="*/ 41672 h 1233014"/>
                <a:gd name="connsiteX101" fmla="*/ 1661832 w 6218468"/>
                <a:gd name="connsiteY101" fmla="*/ 41672 h 1233014"/>
                <a:gd name="connsiteX102" fmla="*/ 1721396 w 6218468"/>
                <a:gd name="connsiteY102" fmla="*/ 65485 h 1233014"/>
                <a:gd name="connsiteX103" fmla="*/ 1745222 w 6218468"/>
                <a:gd name="connsiteY103" fmla="*/ 125016 h 1233014"/>
                <a:gd name="connsiteX104" fmla="*/ 1721396 w 6218468"/>
                <a:gd name="connsiteY104" fmla="*/ 184547 h 1233014"/>
                <a:gd name="connsiteX105" fmla="*/ 1602268 w 6218468"/>
                <a:gd name="connsiteY105" fmla="*/ 184547 h 1233014"/>
                <a:gd name="connsiteX106" fmla="*/ 1578443 w 6218468"/>
                <a:gd name="connsiteY106" fmla="*/ 125016 h 1233014"/>
                <a:gd name="connsiteX107" fmla="*/ 1578443 w 6218468"/>
                <a:gd name="connsiteY107" fmla="*/ 124977 h 1233014"/>
                <a:gd name="connsiteX108" fmla="*/ 1658259 w 6218468"/>
                <a:gd name="connsiteY108" fmla="*/ 41672 h 1233014"/>
                <a:gd name="connsiteX109" fmla="*/ 3371315 w 6218468"/>
                <a:gd name="connsiteY109" fmla="*/ 0 h 1233014"/>
                <a:gd name="connsiteX110" fmla="*/ 3502356 w 6218468"/>
                <a:gd name="connsiteY110" fmla="*/ 0 h 1233014"/>
                <a:gd name="connsiteX111" fmla="*/ 3502356 w 6218468"/>
                <a:gd name="connsiteY111" fmla="*/ 1208484 h 1233014"/>
                <a:gd name="connsiteX112" fmla="*/ 3371315 w 6218468"/>
                <a:gd name="connsiteY112" fmla="*/ 1208484 h 1233014"/>
                <a:gd name="connsiteX113" fmla="*/ 3371315 w 6218468"/>
                <a:gd name="connsiteY113" fmla="*/ 1071563 h 1233014"/>
                <a:gd name="connsiteX114" fmla="*/ 3365359 w 6218468"/>
                <a:gd name="connsiteY114" fmla="*/ 1071563 h 1233014"/>
                <a:gd name="connsiteX115" fmla="*/ 2912674 w 6218468"/>
                <a:gd name="connsiteY115" fmla="*/ 1184672 h 1233014"/>
                <a:gd name="connsiteX116" fmla="*/ 2835241 w 6218468"/>
                <a:gd name="connsiteY116" fmla="*/ 1119188 h 1233014"/>
                <a:gd name="connsiteX117" fmla="*/ 2745895 w 6218468"/>
                <a:gd name="connsiteY117" fmla="*/ 821531 h 1233014"/>
                <a:gd name="connsiteX118" fmla="*/ 2847154 w 6218468"/>
                <a:gd name="connsiteY118" fmla="*/ 494109 h 1233014"/>
                <a:gd name="connsiteX119" fmla="*/ 3121147 w 6218468"/>
                <a:gd name="connsiteY119" fmla="*/ 369094 h 1233014"/>
                <a:gd name="connsiteX120" fmla="*/ 3365359 w 6218468"/>
                <a:gd name="connsiteY120" fmla="*/ 500062 h 1233014"/>
                <a:gd name="connsiteX121" fmla="*/ 3371315 w 6218468"/>
                <a:gd name="connsiteY121" fmla="*/ 500062 h 123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218468" h="1233014">
                  <a:moveTo>
                    <a:pt x="3139017" y="488156"/>
                  </a:moveTo>
                  <a:cubicBezTo>
                    <a:pt x="3065213" y="487447"/>
                    <a:pt x="2995077" y="520303"/>
                    <a:pt x="2948412" y="577453"/>
                  </a:cubicBezTo>
                  <a:cubicBezTo>
                    <a:pt x="2898211" y="648662"/>
                    <a:pt x="2873082" y="734508"/>
                    <a:pt x="2876936" y="821531"/>
                  </a:cubicBezTo>
                  <a:cubicBezTo>
                    <a:pt x="2870942" y="900507"/>
                    <a:pt x="2894265" y="978924"/>
                    <a:pt x="2942456" y="1041797"/>
                  </a:cubicBezTo>
                  <a:cubicBezTo>
                    <a:pt x="2985919" y="1095701"/>
                    <a:pt x="3051886" y="1126473"/>
                    <a:pt x="3121147" y="1125141"/>
                  </a:cubicBezTo>
                  <a:cubicBezTo>
                    <a:pt x="3188510" y="1123548"/>
                    <a:pt x="3252616" y="1095790"/>
                    <a:pt x="3299839" y="1047750"/>
                  </a:cubicBezTo>
                  <a:cubicBezTo>
                    <a:pt x="3345033" y="987556"/>
                    <a:pt x="3370050" y="914634"/>
                    <a:pt x="3371315" y="839391"/>
                  </a:cubicBezTo>
                  <a:lnTo>
                    <a:pt x="3371315" y="720328"/>
                  </a:lnTo>
                  <a:cubicBezTo>
                    <a:pt x="3376006" y="596898"/>
                    <a:pt x="3279773" y="492995"/>
                    <a:pt x="3156290" y="488156"/>
                  </a:cubicBezTo>
                  <a:close/>
                  <a:moveTo>
                    <a:pt x="4080125" y="476250"/>
                  </a:moveTo>
                  <a:cubicBezTo>
                    <a:pt x="4003697" y="473238"/>
                    <a:pt x="3929745" y="503670"/>
                    <a:pt x="3877608" y="559594"/>
                  </a:cubicBezTo>
                  <a:cubicBezTo>
                    <a:pt x="3824820" y="627238"/>
                    <a:pt x="3799319" y="712202"/>
                    <a:pt x="3806132" y="797719"/>
                  </a:cubicBezTo>
                  <a:cubicBezTo>
                    <a:pt x="3802092" y="881079"/>
                    <a:pt x="3827370" y="963223"/>
                    <a:pt x="3877608" y="1029891"/>
                  </a:cubicBezTo>
                  <a:cubicBezTo>
                    <a:pt x="3929578" y="1082479"/>
                    <a:pt x="4000217" y="1112433"/>
                    <a:pt x="4074169" y="1113234"/>
                  </a:cubicBezTo>
                  <a:cubicBezTo>
                    <a:pt x="4149368" y="1119182"/>
                    <a:pt x="4222744" y="1088069"/>
                    <a:pt x="4270730" y="1029891"/>
                  </a:cubicBezTo>
                  <a:cubicBezTo>
                    <a:pt x="4318381" y="961934"/>
                    <a:pt x="4343397" y="880694"/>
                    <a:pt x="4342206" y="797719"/>
                  </a:cubicBezTo>
                  <a:cubicBezTo>
                    <a:pt x="4347511" y="713264"/>
                    <a:pt x="4324449" y="629457"/>
                    <a:pt x="4276686" y="559594"/>
                  </a:cubicBezTo>
                  <a:cubicBezTo>
                    <a:pt x="4227992" y="502382"/>
                    <a:pt x="4155139" y="471491"/>
                    <a:pt x="4080125" y="476250"/>
                  </a:cubicBezTo>
                  <a:close/>
                  <a:moveTo>
                    <a:pt x="4520898" y="392906"/>
                  </a:moveTo>
                  <a:lnTo>
                    <a:pt x="4657895" y="392906"/>
                  </a:lnTo>
                  <a:lnTo>
                    <a:pt x="4836587" y="1053703"/>
                  </a:lnTo>
                  <a:lnTo>
                    <a:pt x="4842543" y="1053703"/>
                  </a:lnTo>
                  <a:lnTo>
                    <a:pt x="5045060" y="392906"/>
                  </a:lnTo>
                  <a:lnTo>
                    <a:pt x="5164188" y="392906"/>
                  </a:lnTo>
                  <a:lnTo>
                    <a:pt x="5348835" y="1053703"/>
                  </a:lnTo>
                  <a:lnTo>
                    <a:pt x="5354792" y="1053703"/>
                  </a:lnTo>
                  <a:lnTo>
                    <a:pt x="5527527" y="392906"/>
                  </a:lnTo>
                  <a:lnTo>
                    <a:pt x="5664524" y="392906"/>
                  </a:lnTo>
                  <a:lnTo>
                    <a:pt x="5420313" y="1208484"/>
                  </a:lnTo>
                  <a:lnTo>
                    <a:pt x="5283316" y="1208484"/>
                  </a:lnTo>
                  <a:lnTo>
                    <a:pt x="5098667" y="571500"/>
                  </a:lnTo>
                  <a:lnTo>
                    <a:pt x="5092711" y="571500"/>
                  </a:lnTo>
                  <a:lnTo>
                    <a:pt x="4896151" y="1208484"/>
                  </a:lnTo>
                  <a:lnTo>
                    <a:pt x="4765110" y="1208484"/>
                  </a:lnTo>
                  <a:close/>
                  <a:moveTo>
                    <a:pt x="1596312" y="392906"/>
                  </a:moveTo>
                  <a:lnTo>
                    <a:pt x="1727352" y="392906"/>
                  </a:lnTo>
                  <a:lnTo>
                    <a:pt x="1727352" y="1208484"/>
                  </a:lnTo>
                  <a:lnTo>
                    <a:pt x="1596312" y="1208484"/>
                  </a:lnTo>
                  <a:close/>
                  <a:moveTo>
                    <a:pt x="4080125" y="375047"/>
                  </a:moveTo>
                  <a:cubicBezTo>
                    <a:pt x="4187471" y="368684"/>
                    <a:pt x="4292136" y="410090"/>
                    <a:pt x="4366032" y="488156"/>
                  </a:cubicBezTo>
                  <a:cubicBezTo>
                    <a:pt x="4442553" y="572389"/>
                    <a:pt x="4481288" y="684230"/>
                    <a:pt x="4473247" y="797719"/>
                  </a:cubicBezTo>
                  <a:cubicBezTo>
                    <a:pt x="4477453" y="913513"/>
                    <a:pt x="4436931" y="1026484"/>
                    <a:pt x="4360076" y="1113234"/>
                  </a:cubicBezTo>
                  <a:cubicBezTo>
                    <a:pt x="4283685" y="1195536"/>
                    <a:pt x="4174367" y="1239236"/>
                    <a:pt x="4062256" y="1232297"/>
                  </a:cubicBezTo>
                  <a:cubicBezTo>
                    <a:pt x="3953310" y="1237712"/>
                    <a:pt x="3847212" y="1196591"/>
                    <a:pt x="3770393" y="1119188"/>
                  </a:cubicBezTo>
                  <a:cubicBezTo>
                    <a:pt x="3696925" y="1035531"/>
                    <a:pt x="3658525" y="926796"/>
                    <a:pt x="3663178" y="815578"/>
                  </a:cubicBezTo>
                  <a:cubicBezTo>
                    <a:pt x="3657799" y="697812"/>
                    <a:pt x="3698358" y="582558"/>
                    <a:pt x="3776350" y="494109"/>
                  </a:cubicBezTo>
                  <a:cubicBezTo>
                    <a:pt x="3855700" y="412512"/>
                    <a:pt x="3966433" y="369114"/>
                    <a:pt x="4080125" y="375047"/>
                  </a:cubicBezTo>
                  <a:close/>
                  <a:moveTo>
                    <a:pt x="2322991" y="375047"/>
                  </a:moveTo>
                  <a:cubicBezTo>
                    <a:pt x="2401075" y="369764"/>
                    <a:pt x="2476778" y="403142"/>
                    <a:pt x="2525508" y="464344"/>
                  </a:cubicBezTo>
                  <a:cubicBezTo>
                    <a:pt x="2578408" y="536501"/>
                    <a:pt x="2603760" y="625179"/>
                    <a:pt x="2596985" y="714375"/>
                  </a:cubicBezTo>
                  <a:lnTo>
                    <a:pt x="2596985" y="1208485"/>
                  </a:lnTo>
                  <a:lnTo>
                    <a:pt x="2465944" y="1208485"/>
                  </a:lnTo>
                  <a:lnTo>
                    <a:pt x="2465944" y="744141"/>
                  </a:lnTo>
                  <a:cubicBezTo>
                    <a:pt x="2465944" y="571500"/>
                    <a:pt x="2400424" y="482203"/>
                    <a:pt x="2275340" y="482203"/>
                  </a:cubicBezTo>
                  <a:cubicBezTo>
                    <a:pt x="2213915" y="481608"/>
                    <a:pt x="2155245" y="507670"/>
                    <a:pt x="2114518" y="553641"/>
                  </a:cubicBezTo>
                  <a:cubicBezTo>
                    <a:pt x="2072674" y="606125"/>
                    <a:pt x="2049612" y="671088"/>
                    <a:pt x="2048997" y="738188"/>
                  </a:cubicBezTo>
                  <a:lnTo>
                    <a:pt x="2048997" y="1202531"/>
                  </a:lnTo>
                  <a:lnTo>
                    <a:pt x="1917957" y="1202531"/>
                  </a:lnTo>
                  <a:lnTo>
                    <a:pt x="1917957" y="392906"/>
                  </a:lnTo>
                  <a:lnTo>
                    <a:pt x="2048997" y="392906"/>
                  </a:lnTo>
                  <a:lnTo>
                    <a:pt x="2048997" y="529828"/>
                  </a:lnTo>
                  <a:lnTo>
                    <a:pt x="2054954" y="529828"/>
                  </a:lnTo>
                  <a:cubicBezTo>
                    <a:pt x="2105751" y="429738"/>
                    <a:pt x="2210862" y="369038"/>
                    <a:pt x="2322991" y="375047"/>
                  </a:cubicBezTo>
                  <a:close/>
                  <a:moveTo>
                    <a:pt x="6009995" y="369094"/>
                  </a:moveTo>
                  <a:cubicBezTo>
                    <a:pt x="6069429" y="368927"/>
                    <a:pt x="6128247" y="381090"/>
                    <a:pt x="6182730" y="404813"/>
                  </a:cubicBezTo>
                  <a:lnTo>
                    <a:pt x="6182730" y="535782"/>
                  </a:lnTo>
                  <a:cubicBezTo>
                    <a:pt x="6129551" y="495896"/>
                    <a:pt x="6064552" y="474939"/>
                    <a:pt x="5998082" y="476251"/>
                  </a:cubicBezTo>
                  <a:cubicBezTo>
                    <a:pt x="5960501" y="477575"/>
                    <a:pt x="5923757" y="487775"/>
                    <a:pt x="5890867" y="506016"/>
                  </a:cubicBezTo>
                  <a:cubicBezTo>
                    <a:pt x="5864622" y="525691"/>
                    <a:pt x="5849173" y="556569"/>
                    <a:pt x="5849173" y="589360"/>
                  </a:cubicBezTo>
                  <a:cubicBezTo>
                    <a:pt x="5849899" y="619615"/>
                    <a:pt x="5860341" y="648834"/>
                    <a:pt x="5878955" y="672704"/>
                  </a:cubicBezTo>
                  <a:cubicBezTo>
                    <a:pt x="5917205" y="702082"/>
                    <a:pt x="5959291" y="726114"/>
                    <a:pt x="6004038" y="744141"/>
                  </a:cubicBezTo>
                  <a:cubicBezTo>
                    <a:pt x="6063696" y="767150"/>
                    <a:pt x="6118308" y="801520"/>
                    <a:pt x="6164861" y="845344"/>
                  </a:cubicBezTo>
                  <a:cubicBezTo>
                    <a:pt x="6197919" y="885803"/>
                    <a:pt x="6216756" y="936007"/>
                    <a:pt x="6218468" y="988219"/>
                  </a:cubicBezTo>
                  <a:cubicBezTo>
                    <a:pt x="6218413" y="1055452"/>
                    <a:pt x="6187719" y="1118998"/>
                    <a:pt x="6135079" y="1160860"/>
                  </a:cubicBezTo>
                  <a:cubicBezTo>
                    <a:pt x="6074454" y="1209002"/>
                    <a:pt x="5997840" y="1232402"/>
                    <a:pt x="5920649" y="1226344"/>
                  </a:cubicBezTo>
                  <a:cubicBezTo>
                    <a:pt x="5850066" y="1229174"/>
                    <a:pt x="5780041" y="1212708"/>
                    <a:pt x="5718132" y="1178719"/>
                  </a:cubicBezTo>
                  <a:lnTo>
                    <a:pt x="5718132" y="1035844"/>
                  </a:lnTo>
                  <a:cubicBezTo>
                    <a:pt x="5779018" y="1084740"/>
                    <a:pt x="5854459" y="1111970"/>
                    <a:pt x="5932562" y="1113235"/>
                  </a:cubicBezTo>
                  <a:cubicBezTo>
                    <a:pt x="6033820" y="1113235"/>
                    <a:pt x="6087428" y="1077516"/>
                    <a:pt x="6087428" y="1000126"/>
                  </a:cubicBezTo>
                  <a:cubicBezTo>
                    <a:pt x="6086795" y="971655"/>
                    <a:pt x="6076260" y="944293"/>
                    <a:pt x="6057646" y="922735"/>
                  </a:cubicBezTo>
                  <a:cubicBezTo>
                    <a:pt x="6015524" y="891133"/>
                    <a:pt x="5969473" y="865120"/>
                    <a:pt x="5920649" y="845344"/>
                  </a:cubicBezTo>
                  <a:cubicBezTo>
                    <a:pt x="5861643" y="824531"/>
                    <a:pt x="5808520" y="789817"/>
                    <a:pt x="5765783" y="744141"/>
                  </a:cubicBezTo>
                  <a:cubicBezTo>
                    <a:pt x="5735126" y="702784"/>
                    <a:pt x="5718429" y="652740"/>
                    <a:pt x="5718132" y="601266"/>
                  </a:cubicBezTo>
                  <a:cubicBezTo>
                    <a:pt x="5716847" y="535389"/>
                    <a:pt x="5748025" y="473084"/>
                    <a:pt x="5801521" y="434579"/>
                  </a:cubicBezTo>
                  <a:cubicBezTo>
                    <a:pt x="5859875" y="386537"/>
                    <a:pt x="5934627" y="363054"/>
                    <a:pt x="6009995" y="369094"/>
                  </a:cubicBezTo>
                  <a:close/>
                  <a:moveTo>
                    <a:pt x="0" y="65485"/>
                  </a:moveTo>
                  <a:lnTo>
                    <a:pt x="142953" y="65485"/>
                  </a:lnTo>
                  <a:lnTo>
                    <a:pt x="405035" y="1017985"/>
                  </a:lnTo>
                  <a:lnTo>
                    <a:pt x="410991" y="1017985"/>
                  </a:lnTo>
                  <a:lnTo>
                    <a:pt x="684985" y="65485"/>
                  </a:lnTo>
                  <a:lnTo>
                    <a:pt x="816025" y="65485"/>
                  </a:lnTo>
                  <a:lnTo>
                    <a:pt x="1078106" y="1023938"/>
                  </a:lnTo>
                  <a:lnTo>
                    <a:pt x="1084063" y="1023938"/>
                  </a:lnTo>
                  <a:lnTo>
                    <a:pt x="1340187" y="65485"/>
                  </a:lnTo>
                  <a:lnTo>
                    <a:pt x="1483141" y="65485"/>
                  </a:lnTo>
                  <a:lnTo>
                    <a:pt x="1161496" y="1208485"/>
                  </a:lnTo>
                  <a:lnTo>
                    <a:pt x="1000673" y="1208485"/>
                  </a:lnTo>
                  <a:lnTo>
                    <a:pt x="744548" y="303610"/>
                  </a:lnTo>
                  <a:lnTo>
                    <a:pt x="488424" y="1208485"/>
                  </a:lnTo>
                  <a:lnTo>
                    <a:pt x="333558" y="1208485"/>
                  </a:lnTo>
                  <a:close/>
                  <a:moveTo>
                    <a:pt x="1658259" y="41672"/>
                  </a:moveTo>
                  <a:lnTo>
                    <a:pt x="1661832" y="41672"/>
                  </a:lnTo>
                  <a:cubicBezTo>
                    <a:pt x="1684392" y="39358"/>
                    <a:pt x="1706654" y="48258"/>
                    <a:pt x="1721396" y="65485"/>
                  </a:cubicBezTo>
                  <a:cubicBezTo>
                    <a:pt x="1736250" y="81815"/>
                    <a:pt x="1744701" y="102952"/>
                    <a:pt x="1745222" y="125016"/>
                  </a:cubicBezTo>
                  <a:cubicBezTo>
                    <a:pt x="1747530" y="147566"/>
                    <a:pt x="1738632" y="169815"/>
                    <a:pt x="1721396" y="184547"/>
                  </a:cubicBezTo>
                  <a:cubicBezTo>
                    <a:pt x="1687277" y="214335"/>
                    <a:pt x="1636387" y="214335"/>
                    <a:pt x="1602268" y="184547"/>
                  </a:cubicBezTo>
                  <a:cubicBezTo>
                    <a:pt x="1586019" y="169125"/>
                    <a:pt x="1577326" y="147383"/>
                    <a:pt x="1578443" y="125016"/>
                  </a:cubicBezTo>
                  <a:cubicBezTo>
                    <a:pt x="1578443" y="125003"/>
                    <a:pt x="1578443" y="124990"/>
                    <a:pt x="1578443" y="124977"/>
                  </a:cubicBezTo>
                  <a:cubicBezTo>
                    <a:pt x="1577475" y="79944"/>
                    <a:pt x="1613195" y="42647"/>
                    <a:pt x="1658259" y="41672"/>
                  </a:cubicBezTo>
                  <a:close/>
                  <a:moveTo>
                    <a:pt x="3371315" y="0"/>
                  </a:moveTo>
                  <a:lnTo>
                    <a:pt x="3502356" y="0"/>
                  </a:lnTo>
                  <a:lnTo>
                    <a:pt x="3502356" y="1208484"/>
                  </a:lnTo>
                  <a:lnTo>
                    <a:pt x="3371315" y="1208484"/>
                  </a:lnTo>
                  <a:lnTo>
                    <a:pt x="3371315" y="1071563"/>
                  </a:lnTo>
                  <a:lnTo>
                    <a:pt x="3365359" y="1071563"/>
                  </a:lnTo>
                  <a:cubicBezTo>
                    <a:pt x="3269759" y="1225211"/>
                    <a:pt x="3069383" y="1275275"/>
                    <a:pt x="2912674" y="1184672"/>
                  </a:cubicBezTo>
                  <a:cubicBezTo>
                    <a:pt x="2884232" y="1166158"/>
                    <a:pt x="2858210" y="1144159"/>
                    <a:pt x="2835241" y="1119188"/>
                  </a:cubicBezTo>
                  <a:cubicBezTo>
                    <a:pt x="2770409" y="1034035"/>
                    <a:pt x="2738673" y="928284"/>
                    <a:pt x="2745895" y="821531"/>
                  </a:cubicBezTo>
                  <a:cubicBezTo>
                    <a:pt x="2739901" y="703864"/>
                    <a:pt x="2775770" y="587875"/>
                    <a:pt x="2847154" y="494109"/>
                  </a:cubicBezTo>
                  <a:cubicBezTo>
                    <a:pt x="2914275" y="412382"/>
                    <a:pt x="3015403" y="366238"/>
                    <a:pt x="3121147" y="369094"/>
                  </a:cubicBezTo>
                  <a:cubicBezTo>
                    <a:pt x="3220638" y="363764"/>
                    <a:pt x="3314804" y="414267"/>
                    <a:pt x="3365359" y="500062"/>
                  </a:cubicBezTo>
                  <a:lnTo>
                    <a:pt x="3371315" y="500062"/>
                  </a:lnTo>
                  <a:close/>
                </a:path>
              </a:pathLst>
            </a:custGeom>
            <a:solidFill>
              <a:schemeClr val="tx1"/>
            </a:solidFill>
            <a:ln w="1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19" name="组合 118">
            <a:extLst>
              <a:ext uri="{FF2B5EF4-FFF2-40B4-BE49-F238E27FC236}">
                <a16:creationId xmlns:a16="http://schemas.microsoft.com/office/drawing/2014/main" id="{CF0200B7-6676-47F8-9C8B-1B83E21DFE5F}"/>
              </a:ext>
            </a:extLst>
          </p:cNvPr>
          <p:cNvGrpSpPr/>
          <p:nvPr/>
        </p:nvGrpSpPr>
        <p:grpSpPr>
          <a:xfrm>
            <a:off x="3874789" y="3080415"/>
            <a:ext cx="843134" cy="517090"/>
            <a:chOff x="7844822" y="3207038"/>
            <a:chExt cx="1980049" cy="1214356"/>
          </a:xfrm>
        </p:grpSpPr>
        <p:pic>
          <p:nvPicPr>
            <p:cNvPr id="120" name="图形 119">
              <a:extLst>
                <a:ext uri="{FF2B5EF4-FFF2-40B4-BE49-F238E27FC236}">
                  <a16:creationId xmlns:a16="http://schemas.microsoft.com/office/drawing/2014/main" id="{C79B19D0-6AA4-49D3-BC4B-8D2865E02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0515" y="3207038"/>
              <a:ext cx="1214356" cy="1214356"/>
            </a:xfrm>
            <a:prstGeom prst="rect">
              <a:avLst/>
            </a:prstGeom>
          </p:spPr>
        </p:pic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97907A16-2170-4EB3-9ED8-200977A7940C}"/>
                </a:ext>
              </a:extLst>
            </p:cNvPr>
            <p:cNvSpPr/>
            <p:nvPr/>
          </p:nvSpPr>
          <p:spPr>
            <a:xfrm>
              <a:off x="7844822" y="3401999"/>
              <a:ext cx="1012936" cy="339677"/>
            </a:xfrm>
            <a:custGeom>
              <a:avLst/>
              <a:gdLst>
                <a:gd name="connsiteX0" fmla="*/ 55388 w 1012936"/>
                <a:gd name="connsiteY0" fmla="*/ 4493 h 339677"/>
                <a:gd name="connsiteX1" fmla="*/ 55388 w 1012936"/>
                <a:gd name="connsiteY1" fmla="*/ 279829 h 339677"/>
                <a:gd name="connsiteX2" fmla="*/ 162909 w 1012936"/>
                <a:gd name="connsiteY2" fmla="*/ 279829 h 339677"/>
                <a:gd name="connsiteX3" fmla="*/ 162909 w 1012936"/>
                <a:gd name="connsiteY3" fmla="*/ 335217 h 339677"/>
                <a:gd name="connsiteX4" fmla="*/ 0 w 1012936"/>
                <a:gd name="connsiteY4" fmla="*/ 335217 h 339677"/>
                <a:gd name="connsiteX5" fmla="*/ 0 w 1012936"/>
                <a:gd name="connsiteY5" fmla="*/ 4493 h 339677"/>
                <a:gd name="connsiteX6" fmla="*/ 55388 w 1012936"/>
                <a:gd name="connsiteY6" fmla="*/ 4493 h 339677"/>
                <a:gd name="connsiteX7" fmla="*/ 324199 w 1012936"/>
                <a:gd name="connsiteY7" fmla="*/ 81057 h 339677"/>
                <a:gd name="connsiteX8" fmla="*/ 324199 w 1012936"/>
                <a:gd name="connsiteY8" fmla="*/ 335217 h 339677"/>
                <a:gd name="connsiteX9" fmla="*/ 268811 w 1012936"/>
                <a:gd name="connsiteY9" fmla="*/ 335217 h 339677"/>
                <a:gd name="connsiteX10" fmla="*/ 268811 w 1012936"/>
                <a:gd name="connsiteY10" fmla="*/ 136460 h 339677"/>
                <a:gd name="connsiteX11" fmla="*/ 213423 w 1012936"/>
                <a:gd name="connsiteY11" fmla="*/ 136460 h 339677"/>
                <a:gd name="connsiteX12" fmla="*/ 213423 w 1012936"/>
                <a:gd name="connsiteY12" fmla="*/ 81057 h 339677"/>
                <a:gd name="connsiteX13" fmla="*/ 324199 w 1012936"/>
                <a:gd name="connsiteY13" fmla="*/ 81057 h 339677"/>
                <a:gd name="connsiteX14" fmla="*/ 319310 w 1012936"/>
                <a:gd name="connsiteY14" fmla="*/ 0 h 339677"/>
                <a:gd name="connsiteX15" fmla="*/ 319310 w 1012936"/>
                <a:gd name="connsiteY15" fmla="*/ 61516 h 339677"/>
                <a:gd name="connsiteX16" fmla="*/ 256985 w 1012936"/>
                <a:gd name="connsiteY16" fmla="*/ 61516 h 339677"/>
                <a:gd name="connsiteX17" fmla="*/ 256985 w 1012936"/>
                <a:gd name="connsiteY17" fmla="*/ 0 h 339677"/>
                <a:gd name="connsiteX18" fmla="*/ 319310 w 1012936"/>
                <a:gd name="connsiteY18" fmla="*/ 0 h 339677"/>
                <a:gd name="connsiteX19" fmla="*/ 507079 w 1012936"/>
                <a:gd name="connsiteY19" fmla="*/ 81454 h 339677"/>
                <a:gd name="connsiteX20" fmla="*/ 562482 w 1012936"/>
                <a:gd name="connsiteY20" fmla="*/ 102632 h 339677"/>
                <a:gd name="connsiteX21" fmla="*/ 580803 w 1012936"/>
                <a:gd name="connsiteY21" fmla="*/ 167385 h 339677"/>
                <a:gd name="connsiteX22" fmla="*/ 580803 w 1012936"/>
                <a:gd name="connsiteY22" fmla="*/ 335185 h 339677"/>
                <a:gd name="connsiteX23" fmla="*/ 525415 w 1012936"/>
                <a:gd name="connsiteY23" fmla="*/ 335185 h 339677"/>
                <a:gd name="connsiteX24" fmla="*/ 525415 w 1012936"/>
                <a:gd name="connsiteY24" fmla="*/ 167385 h 339677"/>
                <a:gd name="connsiteX25" fmla="*/ 520128 w 1012936"/>
                <a:gd name="connsiteY25" fmla="*/ 143351 h 339677"/>
                <a:gd name="connsiteX26" fmla="*/ 507096 w 1012936"/>
                <a:gd name="connsiteY26" fmla="*/ 136429 h 339677"/>
                <a:gd name="connsiteX27" fmla="*/ 479408 w 1012936"/>
                <a:gd name="connsiteY27" fmla="*/ 148240 h 339677"/>
                <a:gd name="connsiteX28" fmla="*/ 466788 w 1012936"/>
                <a:gd name="connsiteY28" fmla="*/ 184086 h 339677"/>
                <a:gd name="connsiteX29" fmla="*/ 466788 w 1012936"/>
                <a:gd name="connsiteY29" fmla="*/ 335185 h 339677"/>
                <a:gd name="connsiteX30" fmla="*/ 411385 w 1012936"/>
                <a:gd name="connsiteY30" fmla="*/ 335185 h 339677"/>
                <a:gd name="connsiteX31" fmla="*/ 411385 w 1012936"/>
                <a:gd name="connsiteY31" fmla="*/ 77374 h 339677"/>
                <a:gd name="connsiteX32" fmla="*/ 466788 w 1012936"/>
                <a:gd name="connsiteY32" fmla="*/ 77374 h 339677"/>
                <a:gd name="connsiteX33" fmla="*/ 466788 w 1012936"/>
                <a:gd name="connsiteY33" fmla="*/ 94074 h 339677"/>
                <a:gd name="connsiteX34" fmla="*/ 507079 w 1012936"/>
                <a:gd name="connsiteY34" fmla="*/ 81454 h 339677"/>
                <a:gd name="connsiteX35" fmla="*/ 735981 w 1012936"/>
                <a:gd name="connsiteY35" fmla="*/ 251302 h 339677"/>
                <a:gd name="connsiteX36" fmla="*/ 735981 w 1012936"/>
                <a:gd name="connsiteY36" fmla="*/ 230124 h 339677"/>
                <a:gd name="connsiteX37" fmla="*/ 735981 w 1012936"/>
                <a:gd name="connsiteY37" fmla="*/ 77374 h 339677"/>
                <a:gd name="connsiteX38" fmla="*/ 791386 w 1012936"/>
                <a:gd name="connsiteY38" fmla="*/ 77374 h 339677"/>
                <a:gd name="connsiteX39" fmla="*/ 791386 w 1012936"/>
                <a:gd name="connsiteY39" fmla="*/ 339678 h 339677"/>
                <a:gd name="connsiteX40" fmla="*/ 740870 w 1012936"/>
                <a:gd name="connsiteY40" fmla="*/ 339678 h 339677"/>
                <a:gd name="connsiteX41" fmla="*/ 737220 w 1012936"/>
                <a:gd name="connsiteY41" fmla="*/ 327437 h 339677"/>
                <a:gd name="connsiteX42" fmla="*/ 704643 w 1012936"/>
                <a:gd name="connsiteY42" fmla="*/ 333963 h 339677"/>
                <a:gd name="connsiteX43" fmla="*/ 644351 w 1012936"/>
                <a:gd name="connsiteY43" fmla="*/ 312372 h 339677"/>
                <a:gd name="connsiteX44" fmla="*/ 622776 w 1012936"/>
                <a:gd name="connsiteY44" fmla="*/ 245157 h 339677"/>
                <a:gd name="connsiteX45" fmla="*/ 622776 w 1012936"/>
                <a:gd name="connsiteY45" fmla="*/ 77359 h 339677"/>
                <a:gd name="connsiteX46" fmla="*/ 678165 w 1012936"/>
                <a:gd name="connsiteY46" fmla="*/ 77359 h 339677"/>
                <a:gd name="connsiteX47" fmla="*/ 678165 w 1012936"/>
                <a:gd name="connsiteY47" fmla="*/ 245157 h 339677"/>
                <a:gd name="connsiteX48" fmla="*/ 684672 w 1012936"/>
                <a:gd name="connsiteY48" fmla="*/ 271637 h 339677"/>
                <a:gd name="connsiteX49" fmla="*/ 704643 w 1012936"/>
                <a:gd name="connsiteY49" fmla="*/ 278575 h 339677"/>
                <a:gd name="connsiteX50" fmla="*/ 729884 w 1012936"/>
                <a:gd name="connsiteY50" fmla="*/ 265954 h 339677"/>
                <a:gd name="connsiteX51" fmla="*/ 735981 w 1012936"/>
                <a:gd name="connsiteY51" fmla="*/ 251302 h 339677"/>
                <a:gd name="connsiteX52" fmla="*/ 879762 w 1012936"/>
                <a:gd name="connsiteY52" fmla="*/ 335200 h 339677"/>
                <a:gd name="connsiteX53" fmla="*/ 815816 w 1012936"/>
                <a:gd name="connsiteY53" fmla="*/ 335200 h 339677"/>
                <a:gd name="connsiteX54" fmla="*/ 871204 w 1012936"/>
                <a:gd name="connsiteY54" fmla="*/ 219948 h 339677"/>
                <a:gd name="connsiteX55" fmla="*/ 883841 w 1012936"/>
                <a:gd name="connsiteY55" fmla="*/ 193056 h 339677"/>
                <a:gd name="connsiteX56" fmla="*/ 854107 w 1012936"/>
                <a:gd name="connsiteY56" fmla="*/ 131557 h 339677"/>
                <a:gd name="connsiteX57" fmla="*/ 829262 w 1012936"/>
                <a:gd name="connsiteY57" fmla="*/ 77391 h 339677"/>
                <a:gd name="connsiteX58" fmla="*/ 893206 w 1012936"/>
                <a:gd name="connsiteY58" fmla="*/ 77391 h 339677"/>
                <a:gd name="connsiteX59" fmla="*/ 915590 w 1012936"/>
                <a:gd name="connsiteY59" fmla="*/ 126269 h 339677"/>
                <a:gd name="connsiteX60" fmla="*/ 938800 w 1012936"/>
                <a:gd name="connsiteY60" fmla="*/ 77391 h 339677"/>
                <a:gd name="connsiteX61" fmla="*/ 1002775 w 1012936"/>
                <a:gd name="connsiteY61" fmla="*/ 77391 h 339677"/>
                <a:gd name="connsiteX62" fmla="*/ 946959 w 1012936"/>
                <a:gd name="connsiteY62" fmla="*/ 193880 h 339677"/>
                <a:gd name="connsiteX63" fmla="*/ 1012937 w 1012936"/>
                <a:gd name="connsiteY63" fmla="*/ 335200 h 339677"/>
                <a:gd name="connsiteX64" fmla="*/ 949008 w 1012936"/>
                <a:gd name="connsiteY64" fmla="*/ 335200 h 339677"/>
                <a:gd name="connsiteX65" fmla="*/ 915211 w 1012936"/>
                <a:gd name="connsiteY65" fmla="*/ 260254 h 339677"/>
                <a:gd name="connsiteX66" fmla="*/ 879762 w 1012936"/>
                <a:gd name="connsiteY66" fmla="*/ 335200 h 33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12936" h="339677">
                  <a:moveTo>
                    <a:pt x="55388" y="4493"/>
                  </a:moveTo>
                  <a:lnTo>
                    <a:pt x="55388" y="279829"/>
                  </a:lnTo>
                  <a:lnTo>
                    <a:pt x="162909" y="279829"/>
                  </a:lnTo>
                  <a:lnTo>
                    <a:pt x="162909" y="335217"/>
                  </a:lnTo>
                  <a:lnTo>
                    <a:pt x="0" y="335217"/>
                  </a:lnTo>
                  <a:lnTo>
                    <a:pt x="0" y="4493"/>
                  </a:lnTo>
                  <a:lnTo>
                    <a:pt x="55388" y="4493"/>
                  </a:lnTo>
                  <a:close/>
                  <a:moveTo>
                    <a:pt x="324199" y="81057"/>
                  </a:moveTo>
                  <a:lnTo>
                    <a:pt x="324199" y="335217"/>
                  </a:lnTo>
                  <a:lnTo>
                    <a:pt x="268811" y="335217"/>
                  </a:lnTo>
                  <a:lnTo>
                    <a:pt x="268811" y="136460"/>
                  </a:lnTo>
                  <a:lnTo>
                    <a:pt x="213423" y="136460"/>
                  </a:lnTo>
                  <a:lnTo>
                    <a:pt x="213423" y="81057"/>
                  </a:lnTo>
                  <a:lnTo>
                    <a:pt x="324199" y="81057"/>
                  </a:lnTo>
                  <a:close/>
                  <a:moveTo>
                    <a:pt x="319310" y="0"/>
                  </a:moveTo>
                  <a:lnTo>
                    <a:pt x="319310" y="61516"/>
                  </a:lnTo>
                  <a:lnTo>
                    <a:pt x="256985" y="61516"/>
                  </a:lnTo>
                  <a:lnTo>
                    <a:pt x="256985" y="0"/>
                  </a:lnTo>
                  <a:lnTo>
                    <a:pt x="319310" y="0"/>
                  </a:lnTo>
                  <a:close/>
                  <a:moveTo>
                    <a:pt x="507079" y="81454"/>
                  </a:moveTo>
                  <a:cubicBezTo>
                    <a:pt x="530972" y="81454"/>
                    <a:pt x="549451" y="88519"/>
                    <a:pt x="562482" y="102632"/>
                  </a:cubicBezTo>
                  <a:cubicBezTo>
                    <a:pt x="574692" y="116205"/>
                    <a:pt x="580803" y="137794"/>
                    <a:pt x="580803" y="167385"/>
                  </a:cubicBezTo>
                  <a:lnTo>
                    <a:pt x="580803" y="335185"/>
                  </a:lnTo>
                  <a:lnTo>
                    <a:pt x="525415" y="335185"/>
                  </a:lnTo>
                  <a:lnTo>
                    <a:pt x="525415" y="167385"/>
                  </a:lnTo>
                  <a:cubicBezTo>
                    <a:pt x="525415" y="155717"/>
                    <a:pt x="523653" y="147701"/>
                    <a:pt x="520128" y="143351"/>
                  </a:cubicBezTo>
                  <a:cubicBezTo>
                    <a:pt x="516604" y="138732"/>
                    <a:pt x="512238" y="136429"/>
                    <a:pt x="507096" y="136429"/>
                  </a:cubicBezTo>
                  <a:cubicBezTo>
                    <a:pt x="496661" y="136516"/>
                    <a:pt x="486693" y="140769"/>
                    <a:pt x="479408" y="148240"/>
                  </a:cubicBezTo>
                  <a:cubicBezTo>
                    <a:pt x="472075" y="156385"/>
                    <a:pt x="467852" y="168338"/>
                    <a:pt x="466788" y="184086"/>
                  </a:cubicBezTo>
                  <a:lnTo>
                    <a:pt x="466788" y="335185"/>
                  </a:lnTo>
                  <a:lnTo>
                    <a:pt x="411385" y="335185"/>
                  </a:lnTo>
                  <a:lnTo>
                    <a:pt x="411385" y="77374"/>
                  </a:lnTo>
                  <a:lnTo>
                    <a:pt x="466788" y="77374"/>
                  </a:lnTo>
                  <a:lnTo>
                    <a:pt x="466788" y="94074"/>
                  </a:lnTo>
                  <a:cubicBezTo>
                    <a:pt x="480329" y="85407"/>
                    <a:pt x="493776" y="81201"/>
                    <a:pt x="507079" y="81454"/>
                  </a:cubicBezTo>
                  <a:close/>
                  <a:moveTo>
                    <a:pt x="735981" y="251302"/>
                  </a:moveTo>
                  <a:lnTo>
                    <a:pt x="735981" y="230124"/>
                  </a:lnTo>
                  <a:lnTo>
                    <a:pt x="735981" y="77374"/>
                  </a:lnTo>
                  <a:lnTo>
                    <a:pt x="791386" y="77374"/>
                  </a:lnTo>
                  <a:lnTo>
                    <a:pt x="791386" y="339678"/>
                  </a:lnTo>
                  <a:lnTo>
                    <a:pt x="740870" y="339678"/>
                  </a:lnTo>
                  <a:lnTo>
                    <a:pt x="737220" y="327437"/>
                  </a:lnTo>
                  <a:cubicBezTo>
                    <a:pt x="727709" y="331517"/>
                    <a:pt x="716852" y="333693"/>
                    <a:pt x="704643" y="333963"/>
                  </a:cubicBezTo>
                  <a:cubicBezTo>
                    <a:pt x="678578" y="333676"/>
                    <a:pt x="658478" y="326484"/>
                    <a:pt x="644351" y="312372"/>
                  </a:cubicBezTo>
                  <a:cubicBezTo>
                    <a:pt x="629952" y="297163"/>
                    <a:pt x="622776" y="274765"/>
                    <a:pt x="622776" y="245157"/>
                  </a:cubicBezTo>
                  <a:lnTo>
                    <a:pt x="622776" y="77359"/>
                  </a:lnTo>
                  <a:lnTo>
                    <a:pt x="678165" y="77359"/>
                  </a:lnTo>
                  <a:lnTo>
                    <a:pt x="678165" y="245157"/>
                  </a:lnTo>
                  <a:cubicBezTo>
                    <a:pt x="678165" y="257651"/>
                    <a:pt x="680339" y="266477"/>
                    <a:pt x="684672" y="271637"/>
                  </a:cubicBezTo>
                  <a:cubicBezTo>
                    <a:pt x="688754" y="276257"/>
                    <a:pt x="695388" y="278575"/>
                    <a:pt x="704643" y="278575"/>
                  </a:cubicBezTo>
                  <a:cubicBezTo>
                    <a:pt x="714676" y="278575"/>
                    <a:pt x="723107" y="274367"/>
                    <a:pt x="729884" y="265954"/>
                  </a:cubicBezTo>
                  <a:cubicBezTo>
                    <a:pt x="732853" y="261889"/>
                    <a:pt x="734885" y="257000"/>
                    <a:pt x="735981" y="251302"/>
                  </a:cubicBezTo>
                  <a:close/>
                  <a:moveTo>
                    <a:pt x="879762" y="335200"/>
                  </a:moveTo>
                  <a:lnTo>
                    <a:pt x="815816" y="335200"/>
                  </a:lnTo>
                  <a:cubicBezTo>
                    <a:pt x="825596" y="313754"/>
                    <a:pt x="844058" y="275336"/>
                    <a:pt x="871204" y="219948"/>
                  </a:cubicBezTo>
                  <a:cubicBezTo>
                    <a:pt x="875284" y="210439"/>
                    <a:pt x="879492" y="201485"/>
                    <a:pt x="883841" y="193056"/>
                  </a:cubicBezTo>
                  <a:cubicBezTo>
                    <a:pt x="873766" y="172635"/>
                    <a:pt x="863854" y="152136"/>
                    <a:pt x="854107" y="131557"/>
                  </a:cubicBezTo>
                  <a:cubicBezTo>
                    <a:pt x="845637" y="113588"/>
                    <a:pt x="837355" y="95531"/>
                    <a:pt x="829262" y="77391"/>
                  </a:cubicBezTo>
                  <a:lnTo>
                    <a:pt x="893206" y="77391"/>
                  </a:lnTo>
                  <a:lnTo>
                    <a:pt x="915590" y="126269"/>
                  </a:lnTo>
                  <a:cubicBezTo>
                    <a:pt x="923510" y="110064"/>
                    <a:pt x="931247" y="93769"/>
                    <a:pt x="938800" y="77391"/>
                  </a:cubicBezTo>
                  <a:lnTo>
                    <a:pt x="1002775" y="77391"/>
                  </a:lnTo>
                  <a:lnTo>
                    <a:pt x="946959" y="193880"/>
                  </a:lnTo>
                  <a:lnTo>
                    <a:pt x="1012937" y="335200"/>
                  </a:lnTo>
                  <a:lnTo>
                    <a:pt x="949008" y="335200"/>
                  </a:lnTo>
                  <a:cubicBezTo>
                    <a:pt x="937563" y="310299"/>
                    <a:pt x="926296" y="285317"/>
                    <a:pt x="915211" y="260254"/>
                  </a:cubicBezTo>
                  <a:lnTo>
                    <a:pt x="879762" y="335200"/>
                  </a:lnTo>
                  <a:close/>
                </a:path>
              </a:pathLst>
            </a:custGeom>
            <a:solidFill>
              <a:schemeClr val="tx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22" name="椭圆 121">
            <a:extLst>
              <a:ext uri="{FF2B5EF4-FFF2-40B4-BE49-F238E27FC236}">
                <a16:creationId xmlns:a16="http://schemas.microsoft.com/office/drawing/2014/main" id="{F8080B2E-E27B-42DD-9AB9-042EFD150A43}"/>
              </a:ext>
            </a:extLst>
          </p:cNvPr>
          <p:cNvSpPr/>
          <p:nvPr/>
        </p:nvSpPr>
        <p:spPr>
          <a:xfrm>
            <a:off x="-770695" y="1595591"/>
            <a:ext cx="4240570" cy="4240570"/>
          </a:xfrm>
          <a:prstGeom prst="ellipse">
            <a:avLst/>
          </a:prstGeom>
          <a:noFill/>
          <a:ln w="6350">
            <a:gradFill flip="none" rotWithShape="1">
              <a:gsLst>
                <a:gs pos="61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椭圆 122">
            <a:extLst>
              <a:ext uri="{FF2B5EF4-FFF2-40B4-BE49-F238E27FC236}">
                <a16:creationId xmlns:a16="http://schemas.microsoft.com/office/drawing/2014/main" id="{9207F212-4E8D-4B31-88E1-0D00346C742F}"/>
              </a:ext>
            </a:extLst>
          </p:cNvPr>
          <p:cNvSpPr/>
          <p:nvPr/>
        </p:nvSpPr>
        <p:spPr>
          <a:xfrm>
            <a:off x="-2568145" y="-201859"/>
            <a:ext cx="7835470" cy="7835470"/>
          </a:xfrm>
          <a:prstGeom prst="ellipse">
            <a:avLst/>
          </a:prstGeom>
          <a:noFill/>
          <a:ln w="6350">
            <a:gradFill flip="none" rotWithShape="1">
              <a:gsLst>
                <a:gs pos="88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椭圆 123">
            <a:extLst>
              <a:ext uri="{FF2B5EF4-FFF2-40B4-BE49-F238E27FC236}">
                <a16:creationId xmlns:a16="http://schemas.microsoft.com/office/drawing/2014/main" id="{4DAE4C7A-7953-4E0B-8D6A-147B48144E4E}"/>
              </a:ext>
            </a:extLst>
          </p:cNvPr>
          <p:cNvSpPr/>
          <p:nvPr/>
        </p:nvSpPr>
        <p:spPr>
          <a:xfrm>
            <a:off x="-2694745" y="-328459"/>
            <a:ext cx="8088670" cy="8088670"/>
          </a:xfrm>
          <a:prstGeom prst="ellipse">
            <a:avLst/>
          </a:prstGeom>
          <a:noFill/>
          <a:ln w="6350">
            <a:gradFill flip="none" rotWithShape="1">
              <a:gsLst>
                <a:gs pos="90000">
                  <a:schemeClr val="accent1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>
            <a:extLst>
              <a:ext uri="{FF2B5EF4-FFF2-40B4-BE49-F238E27FC236}">
                <a16:creationId xmlns:a16="http://schemas.microsoft.com/office/drawing/2014/main" id="{4FAE5467-D364-4AA8-B4F4-6912888C8BF7}"/>
              </a:ext>
            </a:extLst>
          </p:cNvPr>
          <p:cNvSpPr/>
          <p:nvPr/>
        </p:nvSpPr>
        <p:spPr>
          <a:xfrm flipV="1">
            <a:off x="9194547" y="1483709"/>
            <a:ext cx="1498853" cy="75697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7" name="平行四边形 146">
            <a:extLst>
              <a:ext uri="{FF2B5EF4-FFF2-40B4-BE49-F238E27FC236}">
                <a16:creationId xmlns:a16="http://schemas.microsoft.com/office/drawing/2014/main" id="{888A44AE-2F3D-4291-A699-8393BC782A12}"/>
              </a:ext>
            </a:extLst>
          </p:cNvPr>
          <p:cNvSpPr/>
          <p:nvPr/>
        </p:nvSpPr>
        <p:spPr>
          <a:xfrm flipV="1">
            <a:off x="5665227" y="6066946"/>
            <a:ext cx="1215853" cy="61405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>
            <a:extLst>
              <a:ext uri="{FF2B5EF4-FFF2-40B4-BE49-F238E27FC236}">
                <a16:creationId xmlns:a16="http://schemas.microsoft.com/office/drawing/2014/main" id="{6FF99D96-A5D2-42F5-B25A-FA87E0BBA801}"/>
              </a:ext>
            </a:extLst>
          </p:cNvPr>
          <p:cNvSpPr/>
          <p:nvPr/>
        </p:nvSpPr>
        <p:spPr>
          <a:xfrm flipV="1">
            <a:off x="9408106" y="6086611"/>
            <a:ext cx="1498853" cy="75697"/>
          </a:xfrm>
          <a:prstGeom prst="parallelogram">
            <a:avLst>
              <a:gd name="adj" fmla="val 79996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"/>
                </a:schemeClr>
              </a:gs>
            </a:gsLst>
            <a:lin ang="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图形 149">
            <a:extLst>
              <a:ext uri="{FF2B5EF4-FFF2-40B4-BE49-F238E27FC236}">
                <a16:creationId xmlns:a16="http://schemas.microsoft.com/office/drawing/2014/main" id="{2B0A343C-1CCB-481E-89B1-A2EE626A524C}"/>
              </a:ext>
            </a:extLst>
          </p:cNvPr>
          <p:cNvSpPr/>
          <p:nvPr/>
        </p:nvSpPr>
        <p:spPr>
          <a:xfrm>
            <a:off x="4003121" y="3954433"/>
            <a:ext cx="513480" cy="546732"/>
          </a:xfrm>
          <a:custGeom>
            <a:avLst/>
            <a:gdLst>
              <a:gd name="connsiteX0" fmla="*/ 1524953 w 1620202"/>
              <a:gd name="connsiteY0" fmla="*/ 576406 h 1725121"/>
              <a:gd name="connsiteX1" fmla="*/ 1592580 w 1620202"/>
              <a:gd name="connsiteY1" fmla="*/ 601171 h 1725121"/>
              <a:gd name="connsiteX2" fmla="*/ 1620203 w 1620202"/>
              <a:gd name="connsiteY2" fmla="*/ 662131 h 1725121"/>
              <a:gd name="connsiteX3" fmla="*/ 1620203 w 1620202"/>
              <a:gd name="connsiteY3" fmla="*/ 1170766 h 1725121"/>
              <a:gd name="connsiteX4" fmla="*/ 1592580 w 1620202"/>
              <a:gd name="connsiteY4" fmla="*/ 1229821 h 1725121"/>
              <a:gd name="connsiteX5" fmla="*/ 1524953 w 1620202"/>
              <a:gd name="connsiteY5" fmla="*/ 1254586 h 1725121"/>
              <a:gd name="connsiteX6" fmla="*/ 1494473 w 1620202"/>
              <a:gd name="connsiteY6" fmla="*/ 1254586 h 1725121"/>
              <a:gd name="connsiteX7" fmla="*/ 1426845 w 1620202"/>
              <a:gd name="connsiteY7" fmla="*/ 1229821 h 1725121"/>
              <a:gd name="connsiteX8" fmla="*/ 1399223 w 1620202"/>
              <a:gd name="connsiteY8" fmla="*/ 1170766 h 1725121"/>
              <a:gd name="connsiteX9" fmla="*/ 1399223 w 1620202"/>
              <a:gd name="connsiteY9" fmla="*/ 662131 h 1725121"/>
              <a:gd name="connsiteX10" fmla="*/ 1426845 w 1620202"/>
              <a:gd name="connsiteY10" fmla="*/ 601171 h 1725121"/>
              <a:gd name="connsiteX11" fmla="*/ 1494473 w 1620202"/>
              <a:gd name="connsiteY11" fmla="*/ 576406 h 1725121"/>
              <a:gd name="connsiteX12" fmla="*/ 1524953 w 1620202"/>
              <a:gd name="connsiteY12" fmla="*/ 576406 h 1725121"/>
              <a:gd name="connsiteX13" fmla="*/ 125730 w 1620202"/>
              <a:gd name="connsiteY13" fmla="*/ 576406 h 1725121"/>
              <a:gd name="connsiteX14" fmla="*/ 190500 w 1620202"/>
              <a:gd name="connsiteY14" fmla="*/ 601171 h 1725121"/>
              <a:gd name="connsiteX15" fmla="*/ 216217 w 1620202"/>
              <a:gd name="connsiteY15" fmla="*/ 662131 h 1725121"/>
              <a:gd name="connsiteX16" fmla="*/ 216217 w 1620202"/>
              <a:gd name="connsiteY16" fmla="*/ 1170766 h 1725121"/>
              <a:gd name="connsiteX17" fmla="*/ 190500 w 1620202"/>
              <a:gd name="connsiteY17" fmla="*/ 1229821 h 1725121"/>
              <a:gd name="connsiteX18" fmla="*/ 125730 w 1620202"/>
              <a:gd name="connsiteY18" fmla="*/ 1254586 h 1725121"/>
              <a:gd name="connsiteX19" fmla="*/ 95250 w 1620202"/>
              <a:gd name="connsiteY19" fmla="*/ 1254586 h 1725121"/>
              <a:gd name="connsiteX20" fmla="*/ 27623 w 1620202"/>
              <a:gd name="connsiteY20" fmla="*/ 1229821 h 1725121"/>
              <a:gd name="connsiteX21" fmla="*/ 0 w 1620202"/>
              <a:gd name="connsiteY21" fmla="*/ 1170766 h 1725121"/>
              <a:gd name="connsiteX22" fmla="*/ 0 w 1620202"/>
              <a:gd name="connsiteY22" fmla="*/ 662131 h 1725121"/>
              <a:gd name="connsiteX23" fmla="*/ 27623 w 1620202"/>
              <a:gd name="connsiteY23" fmla="*/ 601171 h 1725121"/>
              <a:gd name="connsiteX24" fmla="*/ 95250 w 1620202"/>
              <a:gd name="connsiteY24" fmla="*/ 576406 h 1725121"/>
              <a:gd name="connsiteX25" fmla="*/ 125730 w 1620202"/>
              <a:gd name="connsiteY25" fmla="*/ 576406 h 1725121"/>
              <a:gd name="connsiteX26" fmla="*/ 1078230 w 1620202"/>
              <a:gd name="connsiteY26" fmla="*/ 176356 h 1725121"/>
              <a:gd name="connsiteX27" fmla="*/ 1142048 w 1620202"/>
              <a:gd name="connsiteY27" fmla="*/ 213504 h 1725121"/>
              <a:gd name="connsiteX28" fmla="*/ 1205865 w 1620202"/>
              <a:gd name="connsiteY28" fmla="*/ 270654 h 1725121"/>
              <a:gd name="connsiteX29" fmla="*/ 1260158 w 1620202"/>
              <a:gd name="connsiteY29" fmla="*/ 342091 h 1725121"/>
              <a:gd name="connsiteX30" fmla="*/ 1293495 w 1620202"/>
              <a:gd name="connsiteY30" fmla="*/ 424006 h 1725121"/>
              <a:gd name="connsiteX31" fmla="*/ 315278 w 1620202"/>
              <a:gd name="connsiteY31" fmla="*/ 424006 h 1725121"/>
              <a:gd name="connsiteX32" fmla="*/ 401955 w 1620202"/>
              <a:gd name="connsiteY32" fmla="*/ 273511 h 1725121"/>
              <a:gd name="connsiteX33" fmla="*/ 521970 w 1620202"/>
              <a:gd name="connsiteY33" fmla="*/ 180166 h 1725121"/>
              <a:gd name="connsiteX34" fmla="*/ 435293 w 1620202"/>
              <a:gd name="connsiteY34" fmla="*/ 43006 h 1725121"/>
              <a:gd name="connsiteX35" fmla="*/ 434340 w 1620202"/>
              <a:gd name="connsiteY35" fmla="*/ 30624 h 1725121"/>
              <a:gd name="connsiteX36" fmla="*/ 452438 w 1620202"/>
              <a:gd name="connsiteY36" fmla="*/ 10621 h 1725121"/>
              <a:gd name="connsiteX37" fmla="*/ 478155 w 1620202"/>
              <a:gd name="connsiteY37" fmla="*/ 144 h 1725121"/>
              <a:gd name="connsiteX38" fmla="*/ 494347 w 1620202"/>
              <a:gd name="connsiteY38" fmla="*/ 3954 h 1725121"/>
              <a:gd name="connsiteX39" fmla="*/ 583883 w 1620202"/>
              <a:gd name="connsiteY39" fmla="*/ 144924 h 1725121"/>
              <a:gd name="connsiteX40" fmla="*/ 685800 w 1620202"/>
              <a:gd name="connsiteY40" fmla="*/ 110634 h 1725121"/>
              <a:gd name="connsiteX41" fmla="*/ 796290 w 1620202"/>
              <a:gd name="connsiteY41" fmla="*/ 99204 h 1725121"/>
              <a:gd name="connsiteX42" fmla="*/ 1015365 w 1620202"/>
              <a:gd name="connsiteY42" fmla="*/ 147781 h 1725121"/>
              <a:gd name="connsiteX43" fmla="*/ 1107758 w 1620202"/>
              <a:gd name="connsiteY43" fmla="*/ 4906 h 1725121"/>
              <a:gd name="connsiteX44" fmla="*/ 1120140 w 1620202"/>
              <a:gd name="connsiteY44" fmla="*/ 2049 h 1725121"/>
              <a:gd name="connsiteX45" fmla="*/ 1148715 w 1620202"/>
              <a:gd name="connsiteY45" fmla="*/ 11574 h 1725121"/>
              <a:gd name="connsiteX46" fmla="*/ 1168718 w 1620202"/>
              <a:gd name="connsiteY46" fmla="*/ 27766 h 1725121"/>
              <a:gd name="connsiteX47" fmla="*/ 1167765 w 1620202"/>
              <a:gd name="connsiteY47" fmla="*/ 37291 h 1725121"/>
              <a:gd name="connsiteX48" fmla="*/ 1078230 w 1620202"/>
              <a:gd name="connsiteY48" fmla="*/ 176356 h 1725121"/>
              <a:gd name="connsiteX49" fmla="*/ 597218 w 1620202"/>
              <a:gd name="connsiteY49" fmla="*/ 323994 h 1725121"/>
              <a:gd name="connsiteX50" fmla="*/ 634365 w 1620202"/>
              <a:gd name="connsiteY50" fmla="*/ 307801 h 1725121"/>
              <a:gd name="connsiteX51" fmla="*/ 650558 w 1620202"/>
              <a:gd name="connsiteY51" fmla="*/ 270654 h 1725121"/>
              <a:gd name="connsiteX52" fmla="*/ 634365 w 1620202"/>
              <a:gd name="connsiteY52" fmla="*/ 233506 h 1725121"/>
              <a:gd name="connsiteX53" fmla="*/ 597218 w 1620202"/>
              <a:gd name="connsiteY53" fmla="*/ 217314 h 1725121"/>
              <a:gd name="connsiteX54" fmla="*/ 560070 w 1620202"/>
              <a:gd name="connsiteY54" fmla="*/ 233506 h 1725121"/>
              <a:gd name="connsiteX55" fmla="*/ 543878 w 1620202"/>
              <a:gd name="connsiteY55" fmla="*/ 270654 h 1725121"/>
              <a:gd name="connsiteX56" fmla="*/ 560070 w 1620202"/>
              <a:gd name="connsiteY56" fmla="*/ 307801 h 1725121"/>
              <a:gd name="connsiteX57" fmla="*/ 597218 w 1620202"/>
              <a:gd name="connsiteY57" fmla="*/ 323994 h 1725121"/>
              <a:gd name="connsiteX58" fmla="*/ 1021080 w 1620202"/>
              <a:gd name="connsiteY58" fmla="*/ 317326 h 1725121"/>
              <a:gd name="connsiteX59" fmla="*/ 1058228 w 1620202"/>
              <a:gd name="connsiteY59" fmla="*/ 301134 h 1725121"/>
              <a:gd name="connsiteX60" fmla="*/ 1074420 w 1620202"/>
              <a:gd name="connsiteY60" fmla="*/ 263986 h 1725121"/>
              <a:gd name="connsiteX61" fmla="*/ 1058228 w 1620202"/>
              <a:gd name="connsiteY61" fmla="*/ 226839 h 1725121"/>
              <a:gd name="connsiteX62" fmla="*/ 1021080 w 1620202"/>
              <a:gd name="connsiteY62" fmla="*/ 210646 h 1725121"/>
              <a:gd name="connsiteX63" fmla="*/ 983933 w 1620202"/>
              <a:gd name="connsiteY63" fmla="*/ 226839 h 1725121"/>
              <a:gd name="connsiteX64" fmla="*/ 967740 w 1620202"/>
              <a:gd name="connsiteY64" fmla="*/ 263986 h 1725121"/>
              <a:gd name="connsiteX65" fmla="*/ 983933 w 1620202"/>
              <a:gd name="connsiteY65" fmla="*/ 301134 h 1725121"/>
              <a:gd name="connsiteX66" fmla="*/ 1021080 w 1620202"/>
              <a:gd name="connsiteY66" fmla="*/ 317326 h 1725121"/>
              <a:gd name="connsiteX67" fmla="*/ 1296353 w 1620202"/>
              <a:gd name="connsiteY67" fmla="*/ 532591 h 1725121"/>
              <a:gd name="connsiteX68" fmla="*/ 1298258 w 1620202"/>
              <a:gd name="connsiteY68" fmla="*/ 1308879 h 1725121"/>
              <a:gd name="connsiteX69" fmla="*/ 1273493 w 1620202"/>
              <a:gd name="connsiteY69" fmla="*/ 1372696 h 1725121"/>
              <a:gd name="connsiteX70" fmla="*/ 1212533 w 1620202"/>
              <a:gd name="connsiteY70" fmla="*/ 1398414 h 1725121"/>
              <a:gd name="connsiteX71" fmla="*/ 1188720 w 1620202"/>
              <a:gd name="connsiteY71" fmla="*/ 1398414 h 1725121"/>
              <a:gd name="connsiteX72" fmla="*/ 1188720 w 1620202"/>
              <a:gd name="connsiteY72" fmla="*/ 1639396 h 1725121"/>
              <a:gd name="connsiteX73" fmla="*/ 1163955 w 1620202"/>
              <a:gd name="connsiteY73" fmla="*/ 1699404 h 1725121"/>
              <a:gd name="connsiteX74" fmla="*/ 1102995 w 1620202"/>
              <a:gd name="connsiteY74" fmla="*/ 1725121 h 1725121"/>
              <a:gd name="connsiteX75" fmla="*/ 1052513 w 1620202"/>
              <a:gd name="connsiteY75" fmla="*/ 1725121 h 1725121"/>
              <a:gd name="connsiteX76" fmla="*/ 993458 w 1620202"/>
              <a:gd name="connsiteY76" fmla="*/ 1699404 h 1725121"/>
              <a:gd name="connsiteX77" fmla="*/ 968693 w 1620202"/>
              <a:gd name="connsiteY77" fmla="*/ 1639396 h 1725121"/>
              <a:gd name="connsiteX78" fmla="*/ 968693 w 1620202"/>
              <a:gd name="connsiteY78" fmla="*/ 1398414 h 1725121"/>
              <a:gd name="connsiteX79" fmla="*/ 648653 w 1620202"/>
              <a:gd name="connsiteY79" fmla="*/ 1398414 h 1725121"/>
              <a:gd name="connsiteX80" fmla="*/ 648653 w 1620202"/>
              <a:gd name="connsiteY80" fmla="*/ 1639396 h 1725121"/>
              <a:gd name="connsiteX81" fmla="*/ 623888 w 1620202"/>
              <a:gd name="connsiteY81" fmla="*/ 1699404 h 1725121"/>
              <a:gd name="connsiteX82" fmla="*/ 562928 w 1620202"/>
              <a:gd name="connsiteY82" fmla="*/ 1725121 h 1725121"/>
              <a:gd name="connsiteX83" fmla="*/ 512445 w 1620202"/>
              <a:gd name="connsiteY83" fmla="*/ 1725121 h 1725121"/>
              <a:gd name="connsiteX84" fmla="*/ 453390 w 1620202"/>
              <a:gd name="connsiteY84" fmla="*/ 1699404 h 1725121"/>
              <a:gd name="connsiteX85" fmla="*/ 428625 w 1620202"/>
              <a:gd name="connsiteY85" fmla="*/ 1639396 h 1725121"/>
              <a:gd name="connsiteX86" fmla="*/ 428625 w 1620202"/>
              <a:gd name="connsiteY86" fmla="*/ 1398414 h 1725121"/>
              <a:gd name="connsiteX87" fmla="*/ 409575 w 1620202"/>
              <a:gd name="connsiteY87" fmla="*/ 1398414 h 1725121"/>
              <a:gd name="connsiteX88" fmla="*/ 348615 w 1620202"/>
              <a:gd name="connsiteY88" fmla="*/ 1372696 h 1725121"/>
              <a:gd name="connsiteX89" fmla="*/ 323850 w 1620202"/>
              <a:gd name="connsiteY89" fmla="*/ 1308879 h 1725121"/>
              <a:gd name="connsiteX90" fmla="*/ 323850 w 1620202"/>
              <a:gd name="connsiteY90" fmla="*/ 532591 h 1725121"/>
              <a:gd name="connsiteX91" fmla="*/ 1296353 w 1620202"/>
              <a:gd name="connsiteY91" fmla="*/ 532591 h 172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620202" h="1725121">
                <a:moveTo>
                  <a:pt x="1524953" y="576406"/>
                </a:moveTo>
                <a:cubicBezTo>
                  <a:pt x="1551623" y="576406"/>
                  <a:pt x="1573530" y="584026"/>
                  <a:pt x="1592580" y="601171"/>
                </a:cubicBezTo>
                <a:cubicBezTo>
                  <a:pt x="1611630" y="618316"/>
                  <a:pt x="1620203" y="638319"/>
                  <a:pt x="1620203" y="662131"/>
                </a:cubicBezTo>
                <a:lnTo>
                  <a:pt x="1620203" y="1170766"/>
                </a:lnTo>
                <a:cubicBezTo>
                  <a:pt x="1620203" y="1193626"/>
                  <a:pt x="1611630" y="1213629"/>
                  <a:pt x="1592580" y="1229821"/>
                </a:cubicBezTo>
                <a:cubicBezTo>
                  <a:pt x="1573530" y="1246966"/>
                  <a:pt x="1551623" y="1254586"/>
                  <a:pt x="1524953" y="1254586"/>
                </a:cubicBezTo>
                <a:lnTo>
                  <a:pt x="1494473" y="1254586"/>
                </a:lnTo>
                <a:cubicBezTo>
                  <a:pt x="1467803" y="1254586"/>
                  <a:pt x="1445895" y="1246966"/>
                  <a:pt x="1426845" y="1229821"/>
                </a:cubicBezTo>
                <a:cubicBezTo>
                  <a:pt x="1407795" y="1212676"/>
                  <a:pt x="1399223" y="1193626"/>
                  <a:pt x="1399223" y="1170766"/>
                </a:cubicBezTo>
                <a:lnTo>
                  <a:pt x="1399223" y="662131"/>
                </a:lnTo>
                <a:cubicBezTo>
                  <a:pt x="1399223" y="638319"/>
                  <a:pt x="1407795" y="617364"/>
                  <a:pt x="1426845" y="601171"/>
                </a:cubicBezTo>
                <a:cubicBezTo>
                  <a:pt x="1445895" y="584026"/>
                  <a:pt x="1467803" y="576406"/>
                  <a:pt x="1494473" y="576406"/>
                </a:cubicBezTo>
                <a:lnTo>
                  <a:pt x="1524953" y="576406"/>
                </a:lnTo>
                <a:close/>
                <a:moveTo>
                  <a:pt x="125730" y="576406"/>
                </a:moveTo>
                <a:cubicBezTo>
                  <a:pt x="152400" y="576406"/>
                  <a:pt x="174307" y="584026"/>
                  <a:pt x="190500" y="601171"/>
                </a:cubicBezTo>
                <a:cubicBezTo>
                  <a:pt x="207645" y="618316"/>
                  <a:pt x="216217" y="638319"/>
                  <a:pt x="216217" y="662131"/>
                </a:cubicBezTo>
                <a:lnTo>
                  <a:pt x="216217" y="1170766"/>
                </a:lnTo>
                <a:cubicBezTo>
                  <a:pt x="216217" y="1193626"/>
                  <a:pt x="207645" y="1213629"/>
                  <a:pt x="190500" y="1229821"/>
                </a:cubicBezTo>
                <a:cubicBezTo>
                  <a:pt x="173355" y="1246966"/>
                  <a:pt x="150495" y="1254586"/>
                  <a:pt x="125730" y="1254586"/>
                </a:cubicBezTo>
                <a:lnTo>
                  <a:pt x="95250" y="1254586"/>
                </a:lnTo>
                <a:cubicBezTo>
                  <a:pt x="68580" y="1254586"/>
                  <a:pt x="46672" y="1246966"/>
                  <a:pt x="27623" y="1229821"/>
                </a:cubicBezTo>
                <a:cubicBezTo>
                  <a:pt x="8573" y="1212676"/>
                  <a:pt x="0" y="1193626"/>
                  <a:pt x="0" y="1170766"/>
                </a:cubicBezTo>
                <a:lnTo>
                  <a:pt x="0" y="662131"/>
                </a:lnTo>
                <a:cubicBezTo>
                  <a:pt x="0" y="638319"/>
                  <a:pt x="8573" y="617364"/>
                  <a:pt x="27623" y="601171"/>
                </a:cubicBezTo>
                <a:cubicBezTo>
                  <a:pt x="46672" y="584979"/>
                  <a:pt x="68580" y="576406"/>
                  <a:pt x="95250" y="576406"/>
                </a:cubicBezTo>
                <a:lnTo>
                  <a:pt x="125730" y="576406"/>
                </a:lnTo>
                <a:close/>
                <a:moveTo>
                  <a:pt x="1078230" y="176356"/>
                </a:moveTo>
                <a:cubicBezTo>
                  <a:pt x="1099185" y="184929"/>
                  <a:pt x="1121093" y="198264"/>
                  <a:pt x="1142048" y="213504"/>
                </a:cubicBezTo>
                <a:cubicBezTo>
                  <a:pt x="1164908" y="229696"/>
                  <a:pt x="1186815" y="247794"/>
                  <a:pt x="1205865" y="270654"/>
                </a:cubicBezTo>
                <a:cubicBezTo>
                  <a:pt x="1226820" y="292561"/>
                  <a:pt x="1243965" y="316374"/>
                  <a:pt x="1260158" y="342091"/>
                </a:cubicBezTo>
                <a:cubicBezTo>
                  <a:pt x="1276350" y="367809"/>
                  <a:pt x="1286828" y="395431"/>
                  <a:pt x="1293495" y="424006"/>
                </a:cubicBezTo>
                <a:lnTo>
                  <a:pt x="315278" y="424006"/>
                </a:lnTo>
                <a:cubicBezTo>
                  <a:pt x="334328" y="363046"/>
                  <a:pt x="362902" y="313516"/>
                  <a:pt x="401955" y="273511"/>
                </a:cubicBezTo>
                <a:cubicBezTo>
                  <a:pt x="441008" y="233506"/>
                  <a:pt x="481965" y="203026"/>
                  <a:pt x="521970" y="180166"/>
                </a:cubicBezTo>
                <a:lnTo>
                  <a:pt x="435293" y="43006"/>
                </a:lnTo>
                <a:cubicBezTo>
                  <a:pt x="433387" y="41101"/>
                  <a:pt x="432435" y="36339"/>
                  <a:pt x="434340" y="30624"/>
                </a:cubicBezTo>
                <a:cubicBezTo>
                  <a:pt x="436245" y="24909"/>
                  <a:pt x="441960" y="18241"/>
                  <a:pt x="452438" y="10621"/>
                </a:cubicBezTo>
                <a:cubicBezTo>
                  <a:pt x="461010" y="3001"/>
                  <a:pt x="470535" y="-809"/>
                  <a:pt x="478155" y="144"/>
                </a:cubicBezTo>
                <a:cubicBezTo>
                  <a:pt x="485775" y="1096"/>
                  <a:pt x="490537" y="2049"/>
                  <a:pt x="494347" y="3954"/>
                </a:cubicBezTo>
                <a:lnTo>
                  <a:pt x="583883" y="144924"/>
                </a:lnTo>
                <a:cubicBezTo>
                  <a:pt x="616268" y="129684"/>
                  <a:pt x="650558" y="118254"/>
                  <a:pt x="685800" y="110634"/>
                </a:cubicBezTo>
                <a:cubicBezTo>
                  <a:pt x="721043" y="103014"/>
                  <a:pt x="758190" y="99204"/>
                  <a:pt x="796290" y="99204"/>
                </a:cubicBezTo>
                <a:cubicBezTo>
                  <a:pt x="874395" y="99204"/>
                  <a:pt x="947738" y="115396"/>
                  <a:pt x="1015365" y="147781"/>
                </a:cubicBezTo>
                <a:lnTo>
                  <a:pt x="1107758" y="4906"/>
                </a:lnTo>
                <a:cubicBezTo>
                  <a:pt x="1109663" y="3001"/>
                  <a:pt x="1114425" y="2049"/>
                  <a:pt x="1120140" y="2049"/>
                </a:cubicBezTo>
                <a:cubicBezTo>
                  <a:pt x="1125855" y="2049"/>
                  <a:pt x="1136333" y="4906"/>
                  <a:pt x="1148715" y="11574"/>
                </a:cubicBezTo>
                <a:cubicBezTo>
                  <a:pt x="1160145" y="17289"/>
                  <a:pt x="1166813" y="22051"/>
                  <a:pt x="1168718" y="27766"/>
                </a:cubicBezTo>
                <a:cubicBezTo>
                  <a:pt x="1170623" y="32529"/>
                  <a:pt x="1169670" y="35386"/>
                  <a:pt x="1167765" y="37291"/>
                </a:cubicBezTo>
                <a:lnTo>
                  <a:pt x="1078230" y="176356"/>
                </a:lnTo>
                <a:close/>
                <a:moveTo>
                  <a:pt x="597218" y="323994"/>
                </a:moveTo>
                <a:cubicBezTo>
                  <a:pt x="612458" y="323994"/>
                  <a:pt x="624840" y="319231"/>
                  <a:pt x="634365" y="307801"/>
                </a:cubicBezTo>
                <a:cubicBezTo>
                  <a:pt x="643890" y="298276"/>
                  <a:pt x="650558" y="284941"/>
                  <a:pt x="650558" y="270654"/>
                </a:cubicBezTo>
                <a:cubicBezTo>
                  <a:pt x="650558" y="255414"/>
                  <a:pt x="645795" y="243031"/>
                  <a:pt x="634365" y="233506"/>
                </a:cubicBezTo>
                <a:cubicBezTo>
                  <a:pt x="624840" y="223981"/>
                  <a:pt x="611505" y="217314"/>
                  <a:pt x="597218" y="217314"/>
                </a:cubicBezTo>
                <a:cubicBezTo>
                  <a:pt x="581978" y="217314"/>
                  <a:pt x="569595" y="222076"/>
                  <a:pt x="560070" y="233506"/>
                </a:cubicBezTo>
                <a:cubicBezTo>
                  <a:pt x="550545" y="243031"/>
                  <a:pt x="543878" y="256366"/>
                  <a:pt x="543878" y="270654"/>
                </a:cubicBezTo>
                <a:cubicBezTo>
                  <a:pt x="543878" y="285894"/>
                  <a:pt x="548640" y="298276"/>
                  <a:pt x="560070" y="307801"/>
                </a:cubicBezTo>
                <a:cubicBezTo>
                  <a:pt x="569595" y="319231"/>
                  <a:pt x="581978" y="323994"/>
                  <a:pt x="597218" y="323994"/>
                </a:cubicBezTo>
                <a:close/>
                <a:moveTo>
                  <a:pt x="1021080" y="317326"/>
                </a:moveTo>
                <a:cubicBezTo>
                  <a:pt x="1036320" y="317326"/>
                  <a:pt x="1048703" y="312564"/>
                  <a:pt x="1058228" y="301134"/>
                </a:cubicBezTo>
                <a:cubicBezTo>
                  <a:pt x="1067753" y="291609"/>
                  <a:pt x="1074420" y="278274"/>
                  <a:pt x="1074420" y="263986"/>
                </a:cubicBezTo>
                <a:cubicBezTo>
                  <a:pt x="1074420" y="248746"/>
                  <a:pt x="1069658" y="236364"/>
                  <a:pt x="1058228" y="226839"/>
                </a:cubicBezTo>
                <a:cubicBezTo>
                  <a:pt x="1048703" y="217314"/>
                  <a:pt x="1035367" y="210646"/>
                  <a:pt x="1021080" y="210646"/>
                </a:cubicBezTo>
                <a:cubicBezTo>
                  <a:pt x="1006792" y="210646"/>
                  <a:pt x="993458" y="215409"/>
                  <a:pt x="983933" y="226839"/>
                </a:cubicBezTo>
                <a:cubicBezTo>
                  <a:pt x="974408" y="236364"/>
                  <a:pt x="967740" y="249699"/>
                  <a:pt x="967740" y="263986"/>
                </a:cubicBezTo>
                <a:cubicBezTo>
                  <a:pt x="967740" y="279226"/>
                  <a:pt x="972502" y="291609"/>
                  <a:pt x="983933" y="301134"/>
                </a:cubicBezTo>
                <a:cubicBezTo>
                  <a:pt x="993458" y="312564"/>
                  <a:pt x="1005840" y="317326"/>
                  <a:pt x="1021080" y="317326"/>
                </a:cubicBezTo>
                <a:close/>
                <a:moveTo>
                  <a:pt x="1296353" y="532591"/>
                </a:moveTo>
                <a:lnTo>
                  <a:pt x="1298258" y="1308879"/>
                </a:lnTo>
                <a:cubicBezTo>
                  <a:pt x="1298258" y="1334596"/>
                  <a:pt x="1290638" y="1355551"/>
                  <a:pt x="1273493" y="1372696"/>
                </a:cubicBezTo>
                <a:cubicBezTo>
                  <a:pt x="1256348" y="1389841"/>
                  <a:pt x="1236345" y="1398414"/>
                  <a:pt x="1212533" y="1398414"/>
                </a:cubicBezTo>
                <a:lnTo>
                  <a:pt x="1188720" y="1398414"/>
                </a:lnTo>
                <a:lnTo>
                  <a:pt x="1188720" y="1639396"/>
                </a:lnTo>
                <a:cubicBezTo>
                  <a:pt x="1188720" y="1662256"/>
                  <a:pt x="1181100" y="1683211"/>
                  <a:pt x="1163955" y="1699404"/>
                </a:cubicBezTo>
                <a:cubicBezTo>
                  <a:pt x="1146810" y="1716549"/>
                  <a:pt x="1126808" y="1725121"/>
                  <a:pt x="1102995" y="1725121"/>
                </a:cubicBezTo>
                <a:lnTo>
                  <a:pt x="1052513" y="1725121"/>
                </a:lnTo>
                <a:cubicBezTo>
                  <a:pt x="1029653" y="1725121"/>
                  <a:pt x="1009650" y="1716549"/>
                  <a:pt x="993458" y="1699404"/>
                </a:cubicBezTo>
                <a:cubicBezTo>
                  <a:pt x="976313" y="1682259"/>
                  <a:pt x="968693" y="1662256"/>
                  <a:pt x="968693" y="1639396"/>
                </a:cubicBezTo>
                <a:lnTo>
                  <a:pt x="968693" y="1398414"/>
                </a:lnTo>
                <a:lnTo>
                  <a:pt x="648653" y="1398414"/>
                </a:lnTo>
                <a:lnTo>
                  <a:pt x="648653" y="1639396"/>
                </a:lnTo>
                <a:cubicBezTo>
                  <a:pt x="648653" y="1662256"/>
                  <a:pt x="641033" y="1683211"/>
                  <a:pt x="623888" y="1699404"/>
                </a:cubicBezTo>
                <a:cubicBezTo>
                  <a:pt x="606743" y="1715596"/>
                  <a:pt x="586740" y="1725121"/>
                  <a:pt x="562928" y="1725121"/>
                </a:cubicBezTo>
                <a:lnTo>
                  <a:pt x="512445" y="1725121"/>
                </a:lnTo>
                <a:cubicBezTo>
                  <a:pt x="489585" y="1725121"/>
                  <a:pt x="469583" y="1716549"/>
                  <a:pt x="453390" y="1699404"/>
                </a:cubicBezTo>
                <a:cubicBezTo>
                  <a:pt x="436245" y="1682259"/>
                  <a:pt x="428625" y="1662256"/>
                  <a:pt x="428625" y="1639396"/>
                </a:cubicBezTo>
                <a:lnTo>
                  <a:pt x="428625" y="1398414"/>
                </a:lnTo>
                <a:lnTo>
                  <a:pt x="409575" y="1398414"/>
                </a:lnTo>
                <a:cubicBezTo>
                  <a:pt x="385763" y="1398414"/>
                  <a:pt x="364808" y="1389841"/>
                  <a:pt x="348615" y="1372696"/>
                </a:cubicBezTo>
                <a:cubicBezTo>
                  <a:pt x="331470" y="1355551"/>
                  <a:pt x="323850" y="1334596"/>
                  <a:pt x="323850" y="1308879"/>
                </a:cubicBezTo>
                <a:lnTo>
                  <a:pt x="323850" y="532591"/>
                </a:lnTo>
                <a:lnTo>
                  <a:pt x="1296353" y="532591"/>
                </a:lnTo>
                <a:close/>
              </a:path>
            </a:pathLst>
          </a:custGeom>
          <a:solidFill>
            <a:srgbClr val="B3DB26"/>
          </a:solidFill>
          <a:ln w="186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9" name="任意多边形: 形状 158">
            <a:extLst>
              <a:ext uri="{FF2B5EF4-FFF2-40B4-BE49-F238E27FC236}">
                <a16:creationId xmlns:a16="http://schemas.microsoft.com/office/drawing/2014/main" id="{7B2AAA0A-6772-41F5-8333-D878F3FE9D2E}"/>
              </a:ext>
            </a:extLst>
          </p:cNvPr>
          <p:cNvSpPr/>
          <p:nvPr/>
        </p:nvSpPr>
        <p:spPr>
          <a:xfrm>
            <a:off x="3745926" y="4784652"/>
            <a:ext cx="398826" cy="506444"/>
          </a:xfrm>
          <a:custGeom>
            <a:avLst/>
            <a:gdLst>
              <a:gd name="connsiteX0" fmla="*/ 973415 w 1311807"/>
              <a:gd name="connsiteY0" fmla="*/ 438965 h 1665783"/>
              <a:gd name="connsiteX1" fmla="*/ 1271594 w 1311807"/>
              <a:gd name="connsiteY1" fmla="*/ 605972 h 1665783"/>
              <a:gd name="connsiteX2" fmla="*/ 1140430 w 1311807"/>
              <a:gd name="connsiteY2" fmla="*/ 730145 h 1665783"/>
              <a:gd name="connsiteX3" fmla="*/ 1092334 w 1311807"/>
              <a:gd name="connsiteY3" fmla="*/ 910268 h 1665783"/>
              <a:gd name="connsiteX4" fmla="*/ 1311807 w 1311807"/>
              <a:gd name="connsiteY4" fmla="*/ 1232061 h 1665783"/>
              <a:gd name="connsiteX5" fmla="*/ 1311807 w 1311807"/>
              <a:gd name="connsiteY5" fmla="*/ 1243429 h 1665783"/>
              <a:gd name="connsiteX6" fmla="*/ 1226134 w 1311807"/>
              <a:gd name="connsiteY6" fmla="*/ 1427935 h 1665783"/>
              <a:gd name="connsiteX7" fmla="*/ 1185034 w 1311807"/>
              <a:gd name="connsiteY7" fmla="*/ 1496143 h 1665783"/>
              <a:gd name="connsiteX8" fmla="*/ 1070475 w 1311807"/>
              <a:gd name="connsiteY8" fmla="*/ 1618571 h 1665783"/>
              <a:gd name="connsiteX9" fmla="*/ 939315 w 1311807"/>
              <a:gd name="connsiteY9" fmla="*/ 1665783 h 1665783"/>
              <a:gd name="connsiteX10" fmla="*/ 687481 w 1311807"/>
              <a:gd name="connsiteY10" fmla="*/ 1580088 h 1665783"/>
              <a:gd name="connsiteX11" fmla="*/ 402415 w 1311807"/>
              <a:gd name="connsiteY11" fmla="*/ 1665783 h 1665783"/>
              <a:gd name="connsiteX12" fmla="*/ 262508 w 1311807"/>
              <a:gd name="connsiteY12" fmla="*/ 1602821 h 1665783"/>
              <a:gd name="connsiteX13" fmla="*/ 112111 w 1311807"/>
              <a:gd name="connsiteY13" fmla="*/ 1387720 h 1665783"/>
              <a:gd name="connsiteX14" fmla="*/ 2808 w 1311807"/>
              <a:gd name="connsiteY14" fmla="*/ 1014327 h 1665783"/>
              <a:gd name="connsiteX15" fmla="*/ 185 w 1311807"/>
              <a:gd name="connsiteY15" fmla="*/ 942642 h 1665783"/>
              <a:gd name="connsiteX16" fmla="*/ 7182 w 1311807"/>
              <a:gd name="connsiteY16" fmla="*/ 842072 h 1665783"/>
              <a:gd name="connsiteX17" fmla="*/ 106859 w 1311807"/>
              <a:gd name="connsiteY17" fmla="*/ 573630 h 1665783"/>
              <a:gd name="connsiteX18" fmla="*/ 391916 w 1311807"/>
              <a:gd name="connsiteY18" fmla="*/ 445076 h 1665783"/>
              <a:gd name="connsiteX19" fmla="*/ 667369 w 1311807"/>
              <a:gd name="connsiteY19" fmla="*/ 515917 h 1665783"/>
              <a:gd name="connsiteX20" fmla="*/ 973415 w 1311807"/>
              <a:gd name="connsiteY20" fmla="*/ 438965 h 1665783"/>
              <a:gd name="connsiteX21" fmla="*/ 979532 w 1311807"/>
              <a:gd name="connsiteY21" fmla="*/ 0 h 1665783"/>
              <a:gd name="connsiteX22" fmla="*/ 979532 w 1311807"/>
              <a:gd name="connsiteY22" fmla="*/ 23620 h 1665783"/>
              <a:gd name="connsiteX23" fmla="*/ 968174 w 1311807"/>
              <a:gd name="connsiteY23" fmla="*/ 105810 h 1665783"/>
              <a:gd name="connsiteX24" fmla="*/ 939318 w 1311807"/>
              <a:gd name="connsiteY24" fmla="*/ 187131 h 1665783"/>
              <a:gd name="connsiteX25" fmla="*/ 896463 w 1311807"/>
              <a:gd name="connsiteY25" fmla="*/ 257958 h 1665783"/>
              <a:gd name="connsiteX26" fmla="*/ 832627 w 1311807"/>
              <a:gd name="connsiteY26" fmla="*/ 312165 h 1665783"/>
              <a:gd name="connsiteX27" fmla="*/ 654253 w 1311807"/>
              <a:gd name="connsiteY27" fmla="*/ 376883 h 1665783"/>
              <a:gd name="connsiteX28" fmla="*/ 654253 w 1311807"/>
              <a:gd name="connsiteY28" fmla="*/ 351532 h 1665783"/>
              <a:gd name="connsiteX29" fmla="*/ 663864 w 1311807"/>
              <a:gd name="connsiteY29" fmla="*/ 272823 h 1665783"/>
              <a:gd name="connsiteX30" fmla="*/ 692719 w 1311807"/>
              <a:gd name="connsiteY30" fmla="*/ 189752 h 1665783"/>
              <a:gd name="connsiteX31" fmla="*/ 735565 w 1311807"/>
              <a:gd name="connsiteY31" fmla="*/ 118923 h 1665783"/>
              <a:gd name="connsiteX32" fmla="*/ 800283 w 1311807"/>
              <a:gd name="connsiteY32" fmla="*/ 64717 h 1665783"/>
              <a:gd name="connsiteX33" fmla="*/ 979532 w 1311807"/>
              <a:gd name="connsiteY33" fmla="*/ 0 h 166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311807" h="1665783">
                <a:moveTo>
                  <a:pt x="973415" y="438965"/>
                </a:moveTo>
                <a:cubicBezTo>
                  <a:pt x="1069603" y="438965"/>
                  <a:pt x="1192888" y="499292"/>
                  <a:pt x="1271594" y="605972"/>
                </a:cubicBezTo>
                <a:cubicBezTo>
                  <a:pt x="1219134" y="634838"/>
                  <a:pt x="1175032" y="673954"/>
                  <a:pt x="1140430" y="730145"/>
                </a:cubicBezTo>
                <a:cubicBezTo>
                  <a:pt x="1107708" y="783247"/>
                  <a:pt x="1092334" y="842946"/>
                  <a:pt x="1092334" y="910268"/>
                </a:cubicBezTo>
                <a:cubicBezTo>
                  <a:pt x="1092334" y="1054570"/>
                  <a:pt x="1184163" y="1184849"/>
                  <a:pt x="1311807" y="1232061"/>
                </a:cubicBezTo>
                <a:lnTo>
                  <a:pt x="1311807" y="1243429"/>
                </a:lnTo>
                <a:cubicBezTo>
                  <a:pt x="1276831" y="1320379"/>
                  <a:pt x="1249990" y="1383486"/>
                  <a:pt x="1226134" y="1427935"/>
                </a:cubicBezTo>
                <a:cubicBezTo>
                  <a:pt x="1211507" y="1455171"/>
                  <a:pt x="1199308" y="1476241"/>
                  <a:pt x="1185034" y="1496143"/>
                </a:cubicBezTo>
                <a:cubicBezTo>
                  <a:pt x="1150340" y="1544457"/>
                  <a:pt x="1115399" y="1585442"/>
                  <a:pt x="1070475" y="1618571"/>
                </a:cubicBezTo>
                <a:cubicBezTo>
                  <a:pt x="1028818" y="1649276"/>
                  <a:pt x="985652" y="1665783"/>
                  <a:pt x="939315" y="1665783"/>
                </a:cubicBezTo>
                <a:cubicBezTo>
                  <a:pt x="852740" y="1665783"/>
                  <a:pt x="769667" y="1580088"/>
                  <a:pt x="687481" y="1580088"/>
                </a:cubicBezTo>
                <a:cubicBezTo>
                  <a:pt x="600904" y="1580088"/>
                  <a:pt x="495113" y="1665783"/>
                  <a:pt x="402415" y="1665783"/>
                </a:cubicBezTo>
                <a:cubicBezTo>
                  <a:pt x="358695" y="1665783"/>
                  <a:pt x="312203" y="1644970"/>
                  <a:pt x="262508" y="1602821"/>
                </a:cubicBezTo>
                <a:cubicBezTo>
                  <a:pt x="214267" y="1561897"/>
                  <a:pt x="167840" y="1489275"/>
                  <a:pt x="112111" y="1387720"/>
                </a:cubicBezTo>
                <a:cubicBezTo>
                  <a:pt x="44526" y="1264544"/>
                  <a:pt x="12990" y="1135829"/>
                  <a:pt x="2808" y="1014327"/>
                </a:cubicBezTo>
                <a:cubicBezTo>
                  <a:pt x="751" y="989800"/>
                  <a:pt x="-490" y="964505"/>
                  <a:pt x="185" y="942642"/>
                </a:cubicBezTo>
                <a:cubicBezTo>
                  <a:pt x="1258" y="907664"/>
                  <a:pt x="2125" y="877212"/>
                  <a:pt x="7182" y="842072"/>
                </a:cubicBezTo>
                <a:cubicBezTo>
                  <a:pt x="23114" y="731163"/>
                  <a:pt x="49566" y="636160"/>
                  <a:pt x="106859" y="573630"/>
                </a:cubicBezTo>
                <a:cubicBezTo>
                  <a:pt x="192962" y="479627"/>
                  <a:pt x="307113" y="445076"/>
                  <a:pt x="391916" y="445076"/>
                </a:cubicBezTo>
                <a:cubicBezTo>
                  <a:pt x="522216" y="445076"/>
                  <a:pt x="621038" y="515917"/>
                  <a:pt x="667369" y="515917"/>
                </a:cubicBezTo>
                <a:cubicBezTo>
                  <a:pt x="712830" y="515917"/>
                  <a:pt x="864990" y="438965"/>
                  <a:pt x="973415" y="438965"/>
                </a:cubicBezTo>
                <a:close/>
                <a:moveTo>
                  <a:pt x="979532" y="0"/>
                </a:moveTo>
                <a:lnTo>
                  <a:pt x="979532" y="23620"/>
                </a:lnTo>
                <a:cubicBezTo>
                  <a:pt x="979532" y="54216"/>
                  <a:pt x="974459" y="80276"/>
                  <a:pt x="968174" y="105810"/>
                </a:cubicBezTo>
                <a:cubicBezTo>
                  <a:pt x="959598" y="140619"/>
                  <a:pt x="950961" y="167164"/>
                  <a:pt x="939318" y="187131"/>
                </a:cubicBezTo>
                <a:cubicBezTo>
                  <a:pt x="926469" y="209154"/>
                  <a:pt x="913943" y="230851"/>
                  <a:pt x="896463" y="257958"/>
                </a:cubicBezTo>
                <a:cubicBezTo>
                  <a:pt x="878109" y="278073"/>
                  <a:pt x="854883" y="296090"/>
                  <a:pt x="832627" y="312165"/>
                </a:cubicBezTo>
                <a:cubicBezTo>
                  <a:pt x="791923" y="341568"/>
                  <a:pt x="733818" y="369014"/>
                  <a:pt x="654253" y="376883"/>
                </a:cubicBezTo>
                <a:lnTo>
                  <a:pt x="654253" y="351532"/>
                </a:lnTo>
                <a:cubicBezTo>
                  <a:pt x="654253" y="324406"/>
                  <a:pt x="658115" y="300002"/>
                  <a:pt x="663864" y="272823"/>
                </a:cubicBezTo>
                <a:cubicBezTo>
                  <a:pt x="671245" y="237919"/>
                  <a:pt x="681340" y="213356"/>
                  <a:pt x="692719" y="189752"/>
                </a:cubicBezTo>
                <a:cubicBezTo>
                  <a:pt x="705818" y="162636"/>
                  <a:pt x="720699" y="139912"/>
                  <a:pt x="735565" y="118923"/>
                </a:cubicBezTo>
                <a:cubicBezTo>
                  <a:pt x="755678" y="98811"/>
                  <a:pt x="776664" y="81294"/>
                  <a:pt x="800283" y="64717"/>
                </a:cubicBezTo>
                <a:cubicBezTo>
                  <a:pt x="841362" y="35833"/>
                  <a:pt x="902582" y="6995"/>
                  <a:pt x="979532" y="0"/>
                </a:cubicBezTo>
                <a:close/>
              </a:path>
            </a:pathLst>
          </a:custGeom>
          <a:solidFill>
            <a:srgbClr val="000000"/>
          </a:solidFill>
          <a:ln w="186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0" name="矩形: 圆顶角 149">
            <a:extLst>
              <a:ext uri="{FF2B5EF4-FFF2-40B4-BE49-F238E27FC236}">
                <a16:creationId xmlns:a16="http://schemas.microsoft.com/office/drawing/2014/main" id="{3D7A427E-6CC1-4378-A982-96B87F4C887F}"/>
              </a:ext>
            </a:extLst>
          </p:cNvPr>
          <p:cNvSpPr/>
          <p:nvPr/>
        </p:nvSpPr>
        <p:spPr>
          <a:xfrm>
            <a:off x="4596768" y="6606000"/>
            <a:ext cx="972000" cy="252000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OCR SDK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51" name="矩形: 圆顶角 150">
            <a:extLst>
              <a:ext uri="{FF2B5EF4-FFF2-40B4-BE49-F238E27FC236}">
                <a16:creationId xmlns:a16="http://schemas.microsoft.com/office/drawing/2014/main" id="{B15EC215-6C40-4DDD-A8CE-212149F8E969}"/>
              </a:ext>
            </a:extLst>
          </p:cNvPr>
          <p:cNvSpPr/>
          <p:nvPr/>
        </p:nvSpPr>
        <p:spPr>
          <a:xfrm>
            <a:off x="5610000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Edge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2" name="矩形: 圆顶角 151">
            <a:extLst>
              <a:ext uri="{FF2B5EF4-FFF2-40B4-BE49-F238E27FC236}">
                <a16:creationId xmlns:a16="http://schemas.microsoft.com/office/drawing/2014/main" id="{97E857F2-A963-4F2B-9A14-69B0BC516992}"/>
              </a:ext>
            </a:extLst>
          </p:cNvPr>
          <p:cNvSpPr/>
          <p:nvPr/>
        </p:nvSpPr>
        <p:spPr>
          <a:xfrm>
            <a:off x="6623232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Server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958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矩形: 圆角 250">
            <a:extLst>
              <a:ext uri="{FF2B5EF4-FFF2-40B4-BE49-F238E27FC236}">
                <a16:creationId xmlns:a16="http://schemas.microsoft.com/office/drawing/2014/main" id="{32E7E351-FBF3-4432-AA5E-B868F08AEE4F}"/>
              </a:ext>
            </a:extLst>
          </p:cNvPr>
          <p:cNvSpPr/>
          <p:nvPr/>
        </p:nvSpPr>
        <p:spPr>
          <a:xfrm>
            <a:off x="342900" y="1382559"/>
            <a:ext cx="11521344" cy="1892305"/>
          </a:xfrm>
          <a:prstGeom prst="roundRect">
            <a:avLst>
              <a:gd name="adj" fmla="val 509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矩形: 圆顶角 133">
            <a:extLst>
              <a:ext uri="{FF2B5EF4-FFF2-40B4-BE49-F238E27FC236}">
                <a16:creationId xmlns:a16="http://schemas.microsoft.com/office/drawing/2014/main" id="{368E8CE5-3B35-4E1B-806E-4811EDDEB346}"/>
              </a:ext>
            </a:extLst>
          </p:cNvPr>
          <p:cNvSpPr/>
          <p:nvPr/>
        </p:nvSpPr>
        <p:spPr>
          <a:xfrm>
            <a:off x="3254301" y="4037313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矩形: 圆顶角 134">
            <a:extLst>
              <a:ext uri="{FF2B5EF4-FFF2-40B4-BE49-F238E27FC236}">
                <a16:creationId xmlns:a16="http://schemas.microsoft.com/office/drawing/2014/main" id="{BC974197-5A82-4CC0-934D-886BB57B28C1}"/>
              </a:ext>
            </a:extLst>
          </p:cNvPr>
          <p:cNvSpPr/>
          <p:nvPr/>
        </p:nvSpPr>
        <p:spPr>
          <a:xfrm>
            <a:off x="342901" y="4037313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6" name="矩形: 圆顶角 135">
            <a:extLst>
              <a:ext uri="{FF2B5EF4-FFF2-40B4-BE49-F238E27FC236}">
                <a16:creationId xmlns:a16="http://schemas.microsoft.com/office/drawing/2014/main" id="{2F991070-1476-4F0C-9C45-D845C58C8F95}"/>
              </a:ext>
            </a:extLst>
          </p:cNvPr>
          <p:cNvSpPr/>
          <p:nvPr/>
        </p:nvSpPr>
        <p:spPr>
          <a:xfrm>
            <a:off x="6165701" y="4037313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7" name="矩形: 圆顶角 136">
            <a:extLst>
              <a:ext uri="{FF2B5EF4-FFF2-40B4-BE49-F238E27FC236}">
                <a16:creationId xmlns:a16="http://schemas.microsoft.com/office/drawing/2014/main" id="{BA51E7AE-4024-419D-ACE5-9E8A985B60FA}"/>
              </a:ext>
            </a:extLst>
          </p:cNvPr>
          <p:cNvSpPr/>
          <p:nvPr/>
        </p:nvSpPr>
        <p:spPr>
          <a:xfrm>
            <a:off x="9077100" y="4037313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19">
            <a:extLst>
              <a:ext uri="{FF2B5EF4-FFF2-40B4-BE49-F238E27FC236}">
                <a16:creationId xmlns:a16="http://schemas.microsoft.com/office/drawing/2014/main" id="{DBDA12EC-1A12-48EE-826E-95548373057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2900" y="4916838"/>
            <a:ext cx="2757466" cy="630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专用字符识别场景的</a:t>
            </a:r>
            <a:b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</a:b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条形光源、光源控制器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支持内外触发和相机触发接口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48" name="组合 147">
            <a:extLst>
              <a:ext uri="{FF2B5EF4-FFF2-40B4-BE49-F238E27FC236}">
                <a16:creationId xmlns:a16="http://schemas.microsoft.com/office/drawing/2014/main" id="{0C42F33C-40BB-4A88-A6B3-3FD6C4510C2D}"/>
              </a:ext>
            </a:extLst>
          </p:cNvPr>
          <p:cNvGrpSpPr/>
          <p:nvPr/>
        </p:nvGrpSpPr>
        <p:grpSpPr>
          <a:xfrm>
            <a:off x="1576214" y="4261999"/>
            <a:ext cx="316444" cy="314813"/>
            <a:chOff x="1576214" y="4213874"/>
            <a:chExt cx="316444" cy="314813"/>
          </a:xfrm>
        </p:grpSpPr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F33C2BFF-CF08-43C8-A9E6-58CE2ED8AC02}"/>
                </a:ext>
              </a:extLst>
            </p:cNvPr>
            <p:cNvSpPr/>
            <p:nvPr/>
          </p:nvSpPr>
          <p:spPr>
            <a:xfrm>
              <a:off x="1698448" y="4334547"/>
              <a:ext cx="71286" cy="74055"/>
            </a:xfrm>
            <a:custGeom>
              <a:avLst/>
              <a:gdLst>
                <a:gd name="connsiteX0" fmla="*/ 47063 w 71286"/>
                <a:gd name="connsiteY0" fmla="*/ 26992 h 74055"/>
                <a:gd name="connsiteX1" fmla="*/ 47063 w 71286"/>
                <a:gd name="connsiteY1" fmla="*/ 13150 h 74055"/>
                <a:gd name="connsiteX2" fmla="*/ 41526 w 71286"/>
                <a:gd name="connsiteY2" fmla="*/ 2076 h 74055"/>
                <a:gd name="connsiteX3" fmla="*/ 30453 w 71286"/>
                <a:gd name="connsiteY3" fmla="*/ 2076 h 74055"/>
                <a:gd name="connsiteX4" fmla="*/ 24916 w 71286"/>
                <a:gd name="connsiteY4" fmla="*/ 13150 h 74055"/>
                <a:gd name="connsiteX5" fmla="*/ 24916 w 71286"/>
                <a:gd name="connsiteY5" fmla="*/ 24224 h 74055"/>
                <a:gd name="connsiteX6" fmla="*/ 11074 w 71286"/>
                <a:gd name="connsiteY6" fmla="*/ 24224 h 74055"/>
                <a:gd name="connsiteX7" fmla="*/ 0 w 71286"/>
                <a:gd name="connsiteY7" fmla="*/ 35297 h 74055"/>
                <a:gd name="connsiteX8" fmla="*/ 11074 w 71286"/>
                <a:gd name="connsiteY8" fmla="*/ 46371 h 74055"/>
                <a:gd name="connsiteX9" fmla="*/ 22147 w 71286"/>
                <a:gd name="connsiteY9" fmla="*/ 46371 h 74055"/>
                <a:gd name="connsiteX10" fmla="*/ 22147 w 71286"/>
                <a:gd name="connsiteY10" fmla="*/ 57445 h 74055"/>
                <a:gd name="connsiteX11" fmla="*/ 35989 w 71286"/>
                <a:gd name="connsiteY11" fmla="*/ 74055 h 74055"/>
                <a:gd name="connsiteX12" fmla="*/ 47063 w 71286"/>
                <a:gd name="connsiteY12" fmla="*/ 62982 h 74055"/>
                <a:gd name="connsiteX13" fmla="*/ 47063 w 71286"/>
                <a:gd name="connsiteY13" fmla="*/ 49139 h 74055"/>
                <a:gd name="connsiteX14" fmla="*/ 58137 w 71286"/>
                <a:gd name="connsiteY14" fmla="*/ 49139 h 74055"/>
                <a:gd name="connsiteX15" fmla="*/ 69210 w 71286"/>
                <a:gd name="connsiteY15" fmla="*/ 43603 h 74055"/>
                <a:gd name="connsiteX16" fmla="*/ 69210 w 71286"/>
                <a:gd name="connsiteY16" fmla="*/ 32529 h 74055"/>
                <a:gd name="connsiteX17" fmla="*/ 60905 w 71286"/>
                <a:gd name="connsiteY17" fmla="*/ 26992 h 74055"/>
                <a:gd name="connsiteX18" fmla="*/ 47063 w 71286"/>
                <a:gd name="connsiteY18" fmla="*/ 26992 h 7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1286" h="74055">
                  <a:moveTo>
                    <a:pt x="47063" y="26992"/>
                  </a:moveTo>
                  <a:lnTo>
                    <a:pt x="47063" y="13150"/>
                  </a:lnTo>
                  <a:cubicBezTo>
                    <a:pt x="47063" y="7613"/>
                    <a:pt x="44295" y="4845"/>
                    <a:pt x="41526" y="2076"/>
                  </a:cubicBezTo>
                  <a:cubicBezTo>
                    <a:pt x="38758" y="-692"/>
                    <a:pt x="33221" y="-692"/>
                    <a:pt x="30453" y="2076"/>
                  </a:cubicBezTo>
                  <a:cubicBezTo>
                    <a:pt x="24916" y="4845"/>
                    <a:pt x="24916" y="10382"/>
                    <a:pt x="24916" y="13150"/>
                  </a:cubicBezTo>
                  <a:lnTo>
                    <a:pt x="24916" y="24224"/>
                  </a:lnTo>
                  <a:lnTo>
                    <a:pt x="11074" y="24224"/>
                  </a:lnTo>
                  <a:cubicBezTo>
                    <a:pt x="5537" y="24224"/>
                    <a:pt x="0" y="29760"/>
                    <a:pt x="0" y="35297"/>
                  </a:cubicBezTo>
                  <a:cubicBezTo>
                    <a:pt x="0" y="40834"/>
                    <a:pt x="5537" y="46371"/>
                    <a:pt x="11074" y="46371"/>
                  </a:cubicBezTo>
                  <a:lnTo>
                    <a:pt x="22147" y="46371"/>
                  </a:lnTo>
                  <a:lnTo>
                    <a:pt x="22147" y="57445"/>
                  </a:lnTo>
                  <a:cubicBezTo>
                    <a:pt x="24916" y="68518"/>
                    <a:pt x="30453" y="74055"/>
                    <a:pt x="35989" y="74055"/>
                  </a:cubicBezTo>
                  <a:cubicBezTo>
                    <a:pt x="41526" y="74055"/>
                    <a:pt x="47063" y="68518"/>
                    <a:pt x="47063" y="62982"/>
                  </a:cubicBezTo>
                  <a:lnTo>
                    <a:pt x="47063" y="49139"/>
                  </a:lnTo>
                  <a:lnTo>
                    <a:pt x="58137" y="49139"/>
                  </a:lnTo>
                  <a:cubicBezTo>
                    <a:pt x="63674" y="49139"/>
                    <a:pt x="66442" y="46371"/>
                    <a:pt x="69210" y="43603"/>
                  </a:cubicBezTo>
                  <a:cubicBezTo>
                    <a:pt x="71979" y="40834"/>
                    <a:pt x="71979" y="35297"/>
                    <a:pt x="69210" y="32529"/>
                  </a:cubicBezTo>
                  <a:cubicBezTo>
                    <a:pt x="69210" y="26992"/>
                    <a:pt x="63674" y="26992"/>
                    <a:pt x="60905" y="26992"/>
                  </a:cubicBezTo>
                  <a:lnTo>
                    <a:pt x="47063" y="26992"/>
                  </a:lnTo>
                  <a:close/>
                </a:path>
              </a:pathLst>
            </a:custGeom>
            <a:solidFill>
              <a:schemeClr val="accent2"/>
            </a:solidFill>
            <a:ln w="268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E977446-C9CA-4210-9FB0-0C0C41DF4493}"/>
                </a:ext>
              </a:extLst>
            </p:cNvPr>
            <p:cNvSpPr/>
            <p:nvPr/>
          </p:nvSpPr>
          <p:spPr>
            <a:xfrm>
              <a:off x="1576214" y="4213874"/>
              <a:ext cx="316444" cy="314813"/>
            </a:xfrm>
            <a:custGeom>
              <a:avLst/>
              <a:gdLst>
                <a:gd name="connsiteX0" fmla="*/ 144380 w 316444"/>
                <a:gd name="connsiteY0" fmla="*/ 222412 h 314813"/>
                <a:gd name="connsiteX1" fmla="*/ 169296 w 316444"/>
                <a:gd name="connsiteY1" fmla="*/ 222412 h 314813"/>
                <a:gd name="connsiteX2" fmla="*/ 302180 w 316444"/>
                <a:gd name="connsiteY2" fmla="*/ 222412 h 314813"/>
                <a:gd name="connsiteX3" fmla="*/ 196980 w 316444"/>
                <a:gd name="connsiteY3" fmla="*/ 311001 h 314813"/>
                <a:gd name="connsiteX4" fmla="*/ 100086 w 316444"/>
                <a:gd name="connsiteY4" fmla="*/ 178117 h 314813"/>
                <a:gd name="connsiteX5" fmla="*/ 111160 w 316444"/>
                <a:gd name="connsiteY5" fmla="*/ 200264 h 314813"/>
                <a:gd name="connsiteX6" fmla="*/ 177602 w 316444"/>
                <a:gd name="connsiteY6" fmla="*/ 313770 h 314813"/>
                <a:gd name="connsiteX7" fmla="*/ 47486 w 316444"/>
                <a:gd name="connsiteY7" fmla="*/ 266706 h 314813"/>
                <a:gd name="connsiteX8" fmla="*/ 5959 w 316444"/>
                <a:gd name="connsiteY8" fmla="*/ 117212 h 314813"/>
                <a:gd name="connsiteX9" fmla="*/ 111159 w 316444"/>
                <a:gd name="connsiteY9" fmla="*/ 117212 h 314813"/>
                <a:gd name="connsiteX10" fmla="*/ 97317 w 316444"/>
                <a:gd name="connsiteY10" fmla="*/ 133823 h 314813"/>
                <a:gd name="connsiteX11" fmla="*/ 30875 w 316444"/>
                <a:gd name="connsiteY11" fmla="*/ 252865 h 314813"/>
                <a:gd name="connsiteX12" fmla="*/ 5959 w 316444"/>
                <a:gd name="connsiteY12" fmla="*/ 117212 h 314813"/>
                <a:gd name="connsiteX13" fmla="*/ 285569 w 316444"/>
                <a:gd name="connsiteY13" fmla="*/ 64612 h 314813"/>
                <a:gd name="connsiteX14" fmla="*/ 310485 w 316444"/>
                <a:gd name="connsiteY14" fmla="*/ 200264 h 314813"/>
                <a:gd name="connsiteX15" fmla="*/ 205285 w 316444"/>
                <a:gd name="connsiteY15" fmla="*/ 200264 h 314813"/>
                <a:gd name="connsiteX16" fmla="*/ 213590 w 316444"/>
                <a:gd name="connsiteY16" fmla="*/ 189191 h 314813"/>
                <a:gd name="connsiteX17" fmla="*/ 116696 w 316444"/>
                <a:gd name="connsiteY17" fmla="*/ 6475 h 314813"/>
                <a:gd name="connsiteX18" fmla="*/ 169296 w 316444"/>
                <a:gd name="connsiteY18" fmla="*/ 95064 h 314813"/>
                <a:gd name="connsiteX19" fmla="*/ 144380 w 316444"/>
                <a:gd name="connsiteY19" fmla="*/ 95064 h 314813"/>
                <a:gd name="connsiteX20" fmla="*/ 11496 w 316444"/>
                <a:gd name="connsiteY20" fmla="*/ 95064 h 314813"/>
                <a:gd name="connsiteX21" fmla="*/ 116696 w 316444"/>
                <a:gd name="connsiteY21" fmla="*/ 6475 h 314813"/>
                <a:gd name="connsiteX22" fmla="*/ 141612 w 316444"/>
                <a:gd name="connsiteY22" fmla="*/ 939 h 314813"/>
                <a:gd name="connsiteX23" fmla="*/ 271728 w 316444"/>
                <a:gd name="connsiteY23" fmla="*/ 48002 h 314813"/>
                <a:gd name="connsiteX24" fmla="*/ 219128 w 316444"/>
                <a:gd name="connsiteY24" fmla="*/ 139360 h 31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6444" h="314813">
                  <a:moveTo>
                    <a:pt x="144380" y="222412"/>
                  </a:moveTo>
                  <a:lnTo>
                    <a:pt x="169296" y="222412"/>
                  </a:lnTo>
                  <a:lnTo>
                    <a:pt x="302180" y="222412"/>
                  </a:lnTo>
                  <a:cubicBezTo>
                    <a:pt x="282801" y="266707"/>
                    <a:pt x="244043" y="299928"/>
                    <a:pt x="196980" y="311001"/>
                  </a:cubicBezTo>
                  <a:close/>
                  <a:moveTo>
                    <a:pt x="100086" y="178117"/>
                  </a:moveTo>
                  <a:lnTo>
                    <a:pt x="111160" y="200264"/>
                  </a:lnTo>
                  <a:lnTo>
                    <a:pt x="177602" y="313770"/>
                  </a:lnTo>
                  <a:cubicBezTo>
                    <a:pt x="130539" y="319306"/>
                    <a:pt x="80707" y="302696"/>
                    <a:pt x="47486" y="266706"/>
                  </a:cubicBezTo>
                  <a:close/>
                  <a:moveTo>
                    <a:pt x="5959" y="117212"/>
                  </a:moveTo>
                  <a:lnTo>
                    <a:pt x="111159" y="117212"/>
                  </a:lnTo>
                  <a:lnTo>
                    <a:pt x="97317" y="133823"/>
                  </a:lnTo>
                  <a:lnTo>
                    <a:pt x="30875" y="252865"/>
                  </a:lnTo>
                  <a:cubicBezTo>
                    <a:pt x="3191" y="214107"/>
                    <a:pt x="-7883" y="164275"/>
                    <a:pt x="5959" y="117212"/>
                  </a:cubicBezTo>
                  <a:close/>
                  <a:moveTo>
                    <a:pt x="285569" y="64612"/>
                  </a:moveTo>
                  <a:cubicBezTo>
                    <a:pt x="313253" y="103370"/>
                    <a:pt x="324327" y="153201"/>
                    <a:pt x="310485" y="200264"/>
                  </a:cubicBezTo>
                  <a:lnTo>
                    <a:pt x="205285" y="200264"/>
                  </a:lnTo>
                  <a:lnTo>
                    <a:pt x="213590" y="189191"/>
                  </a:lnTo>
                  <a:close/>
                  <a:moveTo>
                    <a:pt x="116696" y="6475"/>
                  </a:moveTo>
                  <a:lnTo>
                    <a:pt x="169296" y="95064"/>
                  </a:lnTo>
                  <a:lnTo>
                    <a:pt x="144380" y="95064"/>
                  </a:lnTo>
                  <a:lnTo>
                    <a:pt x="11496" y="95064"/>
                  </a:lnTo>
                  <a:cubicBezTo>
                    <a:pt x="30875" y="50770"/>
                    <a:pt x="69633" y="17549"/>
                    <a:pt x="116696" y="6475"/>
                  </a:cubicBezTo>
                  <a:close/>
                  <a:moveTo>
                    <a:pt x="141612" y="939"/>
                  </a:moveTo>
                  <a:cubicBezTo>
                    <a:pt x="188675" y="-4598"/>
                    <a:pt x="238507" y="14781"/>
                    <a:pt x="271728" y="48002"/>
                  </a:cubicBezTo>
                  <a:lnTo>
                    <a:pt x="219128" y="13936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7" name="矩形 19">
            <a:extLst>
              <a:ext uri="{FF2B5EF4-FFF2-40B4-BE49-F238E27FC236}">
                <a16:creationId xmlns:a16="http://schemas.microsoft.com/office/drawing/2014/main" id="{9BB2EB09-E4F9-40A1-AE49-2FCE7FCCE4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254301" y="4916838"/>
            <a:ext cx="2772000" cy="630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00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万像素、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/3</a:t>
            </a:r>
            <a:r>
              <a:rPr lang="en-US" altLang="zh-CN" sz="1200" b="0" i="0" dirty="0">
                <a:solidFill>
                  <a:srgbClr val="333333"/>
                </a:solidFill>
                <a:effectLst/>
                <a:latin typeface="微软雅黑" panose="020B0503020204020204" pitchFamily="34" charset="-122"/>
              </a:rPr>
              <a:t>″ 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MOS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千兆以太网面阵相机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配合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/18</a:t>
            </a:r>
            <a:r>
              <a:rPr lang="en-US" altLang="zh-CN" sz="1200" b="0" i="0" dirty="0">
                <a:solidFill>
                  <a:srgbClr val="333333"/>
                </a:solidFill>
                <a:effectLst/>
                <a:latin typeface="微软雅黑" panose="020B0503020204020204" pitchFamily="34" charset="-122"/>
              </a:rPr>
              <a:t>″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8mm 6MP FA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镜头</a:t>
            </a:r>
          </a:p>
        </p:txBody>
      </p:sp>
      <p:sp>
        <p:nvSpPr>
          <p:cNvPr id="153" name="任意多边形: 形状 152">
            <a:extLst>
              <a:ext uri="{FF2B5EF4-FFF2-40B4-BE49-F238E27FC236}">
                <a16:creationId xmlns:a16="http://schemas.microsoft.com/office/drawing/2014/main" id="{6AFA5108-0659-4377-A25B-572DCC395CD7}"/>
              </a:ext>
            </a:extLst>
          </p:cNvPr>
          <p:cNvSpPr/>
          <p:nvPr/>
        </p:nvSpPr>
        <p:spPr>
          <a:xfrm>
            <a:off x="4479572" y="4296548"/>
            <a:ext cx="316100" cy="296007"/>
          </a:xfrm>
          <a:custGeom>
            <a:avLst/>
            <a:gdLst>
              <a:gd name="connsiteX0" fmla="*/ 246451 w 316100"/>
              <a:gd name="connsiteY0" fmla="*/ 246450 h 296007"/>
              <a:gd name="connsiteX1" fmla="*/ 225021 w 316100"/>
              <a:gd name="connsiteY1" fmla="*/ 270559 h 296007"/>
              <a:gd name="connsiteX2" fmla="*/ 297349 w 316100"/>
              <a:gd name="connsiteY2" fmla="*/ 270559 h 296007"/>
              <a:gd name="connsiteX3" fmla="*/ 302706 w 316100"/>
              <a:gd name="connsiteY3" fmla="*/ 265201 h 296007"/>
              <a:gd name="connsiteX4" fmla="*/ 302706 w 316100"/>
              <a:gd name="connsiteY4" fmla="*/ 246450 h 296007"/>
              <a:gd name="connsiteX5" fmla="*/ 10715 w 316100"/>
              <a:gd name="connsiteY5" fmla="*/ 246450 h 296007"/>
              <a:gd name="connsiteX6" fmla="*/ 10715 w 316100"/>
              <a:gd name="connsiteY6" fmla="*/ 262522 h 296007"/>
              <a:gd name="connsiteX7" fmla="*/ 13394 w 316100"/>
              <a:gd name="connsiteY7" fmla="*/ 267880 h 296007"/>
              <a:gd name="connsiteX8" fmla="*/ 18752 w 316100"/>
              <a:gd name="connsiteY8" fmla="*/ 270559 h 296007"/>
              <a:gd name="connsiteX9" fmla="*/ 88401 w 316100"/>
              <a:gd name="connsiteY9" fmla="*/ 270559 h 296007"/>
              <a:gd name="connsiteX10" fmla="*/ 66970 w 316100"/>
              <a:gd name="connsiteY10" fmla="*/ 246450 h 296007"/>
              <a:gd name="connsiteX11" fmla="*/ 254488 w 316100"/>
              <a:gd name="connsiteY11" fmla="*/ 147334 h 296007"/>
              <a:gd name="connsiteX12" fmla="*/ 254488 w 316100"/>
              <a:gd name="connsiteY12" fmla="*/ 233056 h 296007"/>
              <a:gd name="connsiteX13" fmla="*/ 302706 w 316100"/>
              <a:gd name="connsiteY13" fmla="*/ 233056 h 296007"/>
              <a:gd name="connsiteX14" fmla="*/ 305385 w 316100"/>
              <a:gd name="connsiteY14" fmla="*/ 233056 h 296007"/>
              <a:gd name="connsiteX15" fmla="*/ 305385 w 316100"/>
              <a:gd name="connsiteY15" fmla="*/ 147334 h 296007"/>
              <a:gd name="connsiteX16" fmla="*/ 13394 w 316100"/>
              <a:gd name="connsiteY16" fmla="*/ 147334 h 296007"/>
              <a:gd name="connsiteX17" fmla="*/ 13394 w 316100"/>
              <a:gd name="connsiteY17" fmla="*/ 233056 h 296007"/>
              <a:gd name="connsiteX18" fmla="*/ 64292 w 316100"/>
              <a:gd name="connsiteY18" fmla="*/ 233056 h 296007"/>
              <a:gd name="connsiteX19" fmla="*/ 64292 w 316100"/>
              <a:gd name="connsiteY19" fmla="*/ 147334 h 296007"/>
              <a:gd name="connsiteX20" fmla="*/ 158050 w 316100"/>
              <a:gd name="connsiteY20" fmla="*/ 125903 h 296007"/>
              <a:gd name="connsiteX21" fmla="*/ 93758 w 316100"/>
              <a:gd name="connsiteY21" fmla="*/ 190194 h 296007"/>
              <a:gd name="connsiteX22" fmla="*/ 158050 w 316100"/>
              <a:gd name="connsiteY22" fmla="*/ 254485 h 296007"/>
              <a:gd name="connsiteX23" fmla="*/ 222341 w 316100"/>
              <a:gd name="connsiteY23" fmla="*/ 190194 h 296007"/>
              <a:gd name="connsiteX24" fmla="*/ 158050 w 316100"/>
              <a:gd name="connsiteY24" fmla="*/ 125903 h 296007"/>
              <a:gd name="connsiteX25" fmla="*/ 158050 w 316100"/>
              <a:gd name="connsiteY25" fmla="*/ 112509 h 296007"/>
              <a:gd name="connsiteX26" fmla="*/ 235735 w 316100"/>
              <a:gd name="connsiteY26" fmla="*/ 190194 h 296007"/>
              <a:gd name="connsiteX27" fmla="*/ 158050 w 316100"/>
              <a:gd name="connsiteY27" fmla="*/ 267879 h 296007"/>
              <a:gd name="connsiteX28" fmla="*/ 80364 w 316100"/>
              <a:gd name="connsiteY28" fmla="*/ 190194 h 296007"/>
              <a:gd name="connsiteX29" fmla="*/ 158050 w 316100"/>
              <a:gd name="connsiteY29" fmla="*/ 112509 h 296007"/>
              <a:gd name="connsiteX30" fmla="*/ 225021 w 316100"/>
              <a:gd name="connsiteY30" fmla="*/ 109831 h 296007"/>
              <a:gd name="connsiteX31" fmla="*/ 246451 w 316100"/>
              <a:gd name="connsiteY31" fmla="*/ 133940 h 296007"/>
              <a:gd name="connsiteX32" fmla="*/ 302706 w 316100"/>
              <a:gd name="connsiteY32" fmla="*/ 133940 h 296007"/>
              <a:gd name="connsiteX33" fmla="*/ 302706 w 316100"/>
              <a:gd name="connsiteY33" fmla="*/ 115188 h 296007"/>
              <a:gd name="connsiteX34" fmla="*/ 297349 w 316100"/>
              <a:gd name="connsiteY34" fmla="*/ 109831 h 296007"/>
              <a:gd name="connsiteX35" fmla="*/ 21431 w 316100"/>
              <a:gd name="connsiteY35" fmla="*/ 109831 h 296007"/>
              <a:gd name="connsiteX36" fmla="*/ 16073 w 316100"/>
              <a:gd name="connsiteY36" fmla="*/ 112510 h 296007"/>
              <a:gd name="connsiteX37" fmla="*/ 13394 w 316100"/>
              <a:gd name="connsiteY37" fmla="*/ 117867 h 296007"/>
              <a:gd name="connsiteX38" fmla="*/ 13394 w 316100"/>
              <a:gd name="connsiteY38" fmla="*/ 136619 h 296007"/>
              <a:gd name="connsiteX39" fmla="*/ 69649 w 316100"/>
              <a:gd name="connsiteY39" fmla="*/ 136619 h 296007"/>
              <a:gd name="connsiteX40" fmla="*/ 93759 w 316100"/>
              <a:gd name="connsiteY40" fmla="*/ 109831 h 296007"/>
              <a:gd name="connsiteX41" fmla="*/ 166045 w 316100"/>
              <a:gd name="connsiteY41" fmla="*/ 98404 h 296007"/>
              <a:gd name="connsiteX42" fmla="*/ 91080 w 316100"/>
              <a:gd name="connsiteY42" fmla="*/ 125904 h 296007"/>
              <a:gd name="connsiteX43" fmla="*/ 72328 w 316100"/>
              <a:gd name="connsiteY43" fmla="*/ 227698 h 296007"/>
              <a:gd name="connsiteX44" fmla="*/ 158050 w 316100"/>
              <a:gd name="connsiteY44" fmla="*/ 283953 h 296007"/>
              <a:gd name="connsiteX45" fmla="*/ 222342 w 316100"/>
              <a:gd name="connsiteY45" fmla="*/ 254486 h 296007"/>
              <a:gd name="connsiteX46" fmla="*/ 249130 w 316100"/>
              <a:gd name="connsiteY46" fmla="*/ 190195 h 296007"/>
              <a:gd name="connsiteX47" fmla="*/ 192875 w 316100"/>
              <a:gd name="connsiteY47" fmla="*/ 104473 h 296007"/>
              <a:gd name="connsiteX48" fmla="*/ 166045 w 316100"/>
              <a:gd name="connsiteY48" fmla="*/ 98404 h 296007"/>
              <a:gd name="connsiteX49" fmla="*/ 267882 w 316100"/>
              <a:gd name="connsiteY49" fmla="*/ 85722 h 296007"/>
              <a:gd name="connsiteX50" fmla="*/ 259845 w 316100"/>
              <a:gd name="connsiteY50" fmla="*/ 93758 h 296007"/>
              <a:gd name="connsiteX51" fmla="*/ 259845 w 316100"/>
              <a:gd name="connsiteY51" fmla="*/ 99116 h 296007"/>
              <a:gd name="connsiteX52" fmla="*/ 275918 w 316100"/>
              <a:gd name="connsiteY52" fmla="*/ 99116 h 296007"/>
              <a:gd name="connsiteX53" fmla="*/ 275918 w 316100"/>
              <a:gd name="connsiteY53" fmla="*/ 93758 h 296007"/>
              <a:gd name="connsiteX54" fmla="*/ 273239 w 316100"/>
              <a:gd name="connsiteY54" fmla="*/ 88400 h 296007"/>
              <a:gd name="connsiteX55" fmla="*/ 267882 w 316100"/>
              <a:gd name="connsiteY55" fmla="*/ 85722 h 296007"/>
              <a:gd name="connsiteX56" fmla="*/ 50898 w 316100"/>
              <a:gd name="connsiteY56" fmla="*/ 85722 h 296007"/>
              <a:gd name="connsiteX57" fmla="*/ 45540 w 316100"/>
              <a:gd name="connsiteY57" fmla="*/ 93758 h 296007"/>
              <a:gd name="connsiteX58" fmla="*/ 45540 w 316100"/>
              <a:gd name="connsiteY58" fmla="*/ 99116 h 296007"/>
              <a:gd name="connsiteX59" fmla="*/ 58934 w 316100"/>
              <a:gd name="connsiteY59" fmla="*/ 99116 h 296007"/>
              <a:gd name="connsiteX60" fmla="*/ 58934 w 316100"/>
              <a:gd name="connsiteY60" fmla="*/ 93758 h 296007"/>
              <a:gd name="connsiteX61" fmla="*/ 50898 w 316100"/>
              <a:gd name="connsiteY61" fmla="*/ 85722 h 296007"/>
              <a:gd name="connsiteX62" fmla="*/ 139298 w 316100"/>
              <a:gd name="connsiteY62" fmla="*/ 75006 h 296007"/>
              <a:gd name="connsiteX63" fmla="*/ 139298 w 316100"/>
              <a:gd name="connsiteY63" fmla="*/ 88400 h 296007"/>
              <a:gd name="connsiteX64" fmla="*/ 176802 w 316100"/>
              <a:gd name="connsiteY64" fmla="*/ 88400 h 296007"/>
              <a:gd name="connsiteX65" fmla="*/ 176802 w 316100"/>
              <a:gd name="connsiteY65" fmla="*/ 75006 h 296007"/>
              <a:gd name="connsiteX66" fmla="*/ 107153 w 316100"/>
              <a:gd name="connsiteY66" fmla="*/ 10715 h 296007"/>
              <a:gd name="connsiteX67" fmla="*/ 101795 w 316100"/>
              <a:gd name="connsiteY67" fmla="*/ 13394 h 296007"/>
              <a:gd name="connsiteX68" fmla="*/ 99116 w 316100"/>
              <a:gd name="connsiteY68" fmla="*/ 18752 h 296007"/>
              <a:gd name="connsiteX69" fmla="*/ 99116 w 316100"/>
              <a:gd name="connsiteY69" fmla="*/ 53576 h 296007"/>
              <a:gd name="connsiteX70" fmla="*/ 101795 w 316100"/>
              <a:gd name="connsiteY70" fmla="*/ 58934 h 296007"/>
              <a:gd name="connsiteX71" fmla="*/ 107153 w 316100"/>
              <a:gd name="connsiteY71" fmla="*/ 61612 h 296007"/>
              <a:gd name="connsiteX72" fmla="*/ 206269 w 316100"/>
              <a:gd name="connsiteY72" fmla="*/ 64291 h 296007"/>
              <a:gd name="connsiteX73" fmla="*/ 211627 w 316100"/>
              <a:gd name="connsiteY73" fmla="*/ 61612 h 296007"/>
              <a:gd name="connsiteX74" fmla="*/ 214305 w 316100"/>
              <a:gd name="connsiteY74" fmla="*/ 56255 h 296007"/>
              <a:gd name="connsiteX75" fmla="*/ 214305 w 316100"/>
              <a:gd name="connsiteY75" fmla="*/ 18752 h 296007"/>
              <a:gd name="connsiteX76" fmla="*/ 211627 w 316100"/>
              <a:gd name="connsiteY76" fmla="*/ 13394 h 296007"/>
              <a:gd name="connsiteX77" fmla="*/ 206269 w 316100"/>
              <a:gd name="connsiteY77" fmla="*/ 10715 h 296007"/>
              <a:gd name="connsiteX78" fmla="*/ 107153 w 316100"/>
              <a:gd name="connsiteY78" fmla="*/ 0 h 296007"/>
              <a:gd name="connsiteX79" fmla="*/ 206269 w 316100"/>
              <a:gd name="connsiteY79" fmla="*/ 0 h 296007"/>
              <a:gd name="connsiteX80" fmla="*/ 219663 w 316100"/>
              <a:gd name="connsiteY80" fmla="*/ 5358 h 296007"/>
              <a:gd name="connsiteX81" fmla="*/ 225021 w 316100"/>
              <a:gd name="connsiteY81" fmla="*/ 18752 h 296007"/>
              <a:gd name="connsiteX82" fmla="*/ 225021 w 316100"/>
              <a:gd name="connsiteY82" fmla="*/ 56255 h 296007"/>
              <a:gd name="connsiteX83" fmla="*/ 219663 w 316100"/>
              <a:gd name="connsiteY83" fmla="*/ 69649 h 296007"/>
              <a:gd name="connsiteX84" fmla="*/ 206269 w 316100"/>
              <a:gd name="connsiteY84" fmla="*/ 75006 h 296007"/>
              <a:gd name="connsiteX85" fmla="*/ 187517 w 316100"/>
              <a:gd name="connsiteY85" fmla="*/ 75006 h 296007"/>
              <a:gd name="connsiteX86" fmla="*/ 187517 w 316100"/>
              <a:gd name="connsiteY86" fmla="*/ 91079 h 296007"/>
              <a:gd name="connsiteX87" fmla="*/ 206269 w 316100"/>
              <a:gd name="connsiteY87" fmla="*/ 99116 h 296007"/>
              <a:gd name="connsiteX88" fmla="*/ 246451 w 316100"/>
              <a:gd name="connsiteY88" fmla="*/ 99116 h 296007"/>
              <a:gd name="connsiteX89" fmla="*/ 246451 w 316100"/>
              <a:gd name="connsiteY89" fmla="*/ 93758 h 296007"/>
              <a:gd name="connsiteX90" fmla="*/ 267882 w 316100"/>
              <a:gd name="connsiteY90" fmla="*/ 75006 h 296007"/>
              <a:gd name="connsiteX91" fmla="*/ 289312 w 316100"/>
              <a:gd name="connsiteY91" fmla="*/ 93758 h 296007"/>
              <a:gd name="connsiteX92" fmla="*/ 289312 w 316100"/>
              <a:gd name="connsiteY92" fmla="*/ 99116 h 296007"/>
              <a:gd name="connsiteX93" fmla="*/ 297349 w 316100"/>
              <a:gd name="connsiteY93" fmla="*/ 99116 h 296007"/>
              <a:gd name="connsiteX94" fmla="*/ 316100 w 316100"/>
              <a:gd name="connsiteY94" fmla="*/ 117867 h 296007"/>
              <a:gd name="connsiteX95" fmla="*/ 316100 w 316100"/>
              <a:gd name="connsiteY95" fmla="*/ 265201 h 296007"/>
              <a:gd name="connsiteX96" fmla="*/ 297349 w 316100"/>
              <a:gd name="connsiteY96" fmla="*/ 283953 h 296007"/>
              <a:gd name="connsiteX97" fmla="*/ 206269 w 316100"/>
              <a:gd name="connsiteY97" fmla="*/ 283953 h 296007"/>
              <a:gd name="connsiteX98" fmla="*/ 107153 w 316100"/>
              <a:gd name="connsiteY98" fmla="*/ 283953 h 296007"/>
              <a:gd name="connsiteX99" fmla="*/ 18752 w 316100"/>
              <a:gd name="connsiteY99" fmla="*/ 283953 h 296007"/>
              <a:gd name="connsiteX100" fmla="*/ 5358 w 316100"/>
              <a:gd name="connsiteY100" fmla="*/ 278595 h 296007"/>
              <a:gd name="connsiteX101" fmla="*/ 0 w 316100"/>
              <a:gd name="connsiteY101" fmla="*/ 265201 h 296007"/>
              <a:gd name="connsiteX102" fmla="*/ 0 w 316100"/>
              <a:gd name="connsiteY102" fmla="*/ 117867 h 296007"/>
              <a:gd name="connsiteX103" fmla="*/ 18752 w 316100"/>
              <a:gd name="connsiteY103" fmla="*/ 99116 h 296007"/>
              <a:gd name="connsiteX104" fmla="*/ 29467 w 316100"/>
              <a:gd name="connsiteY104" fmla="*/ 99116 h 296007"/>
              <a:gd name="connsiteX105" fmla="*/ 29467 w 316100"/>
              <a:gd name="connsiteY105" fmla="*/ 93758 h 296007"/>
              <a:gd name="connsiteX106" fmla="*/ 50898 w 316100"/>
              <a:gd name="connsiteY106" fmla="*/ 75006 h 296007"/>
              <a:gd name="connsiteX107" fmla="*/ 72328 w 316100"/>
              <a:gd name="connsiteY107" fmla="*/ 93758 h 296007"/>
              <a:gd name="connsiteX108" fmla="*/ 72328 w 316100"/>
              <a:gd name="connsiteY108" fmla="*/ 99116 h 296007"/>
              <a:gd name="connsiteX109" fmla="*/ 83043 w 316100"/>
              <a:gd name="connsiteY109" fmla="*/ 99116 h 296007"/>
              <a:gd name="connsiteX110" fmla="*/ 83043 w 316100"/>
              <a:gd name="connsiteY110" fmla="*/ 93758 h 296007"/>
              <a:gd name="connsiteX111" fmla="*/ 85722 w 316100"/>
              <a:gd name="connsiteY111" fmla="*/ 91079 h 296007"/>
              <a:gd name="connsiteX112" fmla="*/ 88401 w 316100"/>
              <a:gd name="connsiteY112" fmla="*/ 88400 h 296007"/>
              <a:gd name="connsiteX113" fmla="*/ 99116 w 316100"/>
              <a:gd name="connsiteY113" fmla="*/ 88400 h 296007"/>
              <a:gd name="connsiteX114" fmla="*/ 101795 w 316100"/>
              <a:gd name="connsiteY114" fmla="*/ 91079 h 296007"/>
              <a:gd name="connsiteX115" fmla="*/ 104474 w 316100"/>
              <a:gd name="connsiteY115" fmla="*/ 93758 h 296007"/>
              <a:gd name="connsiteX116" fmla="*/ 104474 w 316100"/>
              <a:gd name="connsiteY116" fmla="*/ 99116 h 296007"/>
              <a:gd name="connsiteX117" fmla="*/ 107153 w 316100"/>
              <a:gd name="connsiteY117" fmla="*/ 99116 h 296007"/>
              <a:gd name="connsiteX118" fmla="*/ 125904 w 316100"/>
              <a:gd name="connsiteY118" fmla="*/ 91079 h 296007"/>
              <a:gd name="connsiteX119" fmla="*/ 125904 w 316100"/>
              <a:gd name="connsiteY119" fmla="*/ 75006 h 296007"/>
              <a:gd name="connsiteX120" fmla="*/ 107153 w 316100"/>
              <a:gd name="connsiteY120" fmla="*/ 75006 h 296007"/>
              <a:gd name="connsiteX121" fmla="*/ 96437 w 316100"/>
              <a:gd name="connsiteY121" fmla="*/ 69649 h 296007"/>
              <a:gd name="connsiteX122" fmla="*/ 91080 w 316100"/>
              <a:gd name="connsiteY122" fmla="*/ 56255 h 296007"/>
              <a:gd name="connsiteX123" fmla="*/ 91080 w 316100"/>
              <a:gd name="connsiteY123" fmla="*/ 18752 h 296007"/>
              <a:gd name="connsiteX124" fmla="*/ 107153 w 316100"/>
              <a:gd name="connsiteY124" fmla="*/ 0 h 29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316100" h="296007">
                <a:moveTo>
                  <a:pt x="246451" y="246450"/>
                </a:moveTo>
                <a:cubicBezTo>
                  <a:pt x="241094" y="254486"/>
                  <a:pt x="233057" y="265201"/>
                  <a:pt x="225021" y="270559"/>
                </a:cubicBezTo>
                <a:lnTo>
                  <a:pt x="297349" y="270559"/>
                </a:lnTo>
                <a:cubicBezTo>
                  <a:pt x="300027" y="270559"/>
                  <a:pt x="302706" y="267880"/>
                  <a:pt x="302706" y="265201"/>
                </a:cubicBezTo>
                <a:lnTo>
                  <a:pt x="302706" y="246450"/>
                </a:lnTo>
                <a:close/>
                <a:moveTo>
                  <a:pt x="10715" y="246450"/>
                </a:moveTo>
                <a:lnTo>
                  <a:pt x="10715" y="262522"/>
                </a:lnTo>
                <a:cubicBezTo>
                  <a:pt x="10715" y="265201"/>
                  <a:pt x="13394" y="267880"/>
                  <a:pt x="13394" y="267880"/>
                </a:cubicBezTo>
                <a:cubicBezTo>
                  <a:pt x="16073" y="270559"/>
                  <a:pt x="16073" y="270559"/>
                  <a:pt x="18752" y="270559"/>
                </a:cubicBezTo>
                <a:lnTo>
                  <a:pt x="88401" y="270559"/>
                </a:lnTo>
                <a:cubicBezTo>
                  <a:pt x="80365" y="265201"/>
                  <a:pt x="72328" y="257165"/>
                  <a:pt x="66970" y="246450"/>
                </a:cubicBezTo>
                <a:close/>
                <a:moveTo>
                  <a:pt x="254488" y="147334"/>
                </a:moveTo>
                <a:cubicBezTo>
                  <a:pt x="267882" y="174122"/>
                  <a:pt x="267882" y="206268"/>
                  <a:pt x="254488" y="233056"/>
                </a:cubicBezTo>
                <a:lnTo>
                  <a:pt x="302706" y="233056"/>
                </a:lnTo>
                <a:lnTo>
                  <a:pt x="305385" y="233056"/>
                </a:lnTo>
                <a:lnTo>
                  <a:pt x="305385" y="147334"/>
                </a:lnTo>
                <a:close/>
                <a:moveTo>
                  <a:pt x="13394" y="147334"/>
                </a:moveTo>
                <a:lnTo>
                  <a:pt x="13394" y="233056"/>
                </a:lnTo>
                <a:lnTo>
                  <a:pt x="64292" y="233056"/>
                </a:lnTo>
                <a:cubicBezTo>
                  <a:pt x="50898" y="206268"/>
                  <a:pt x="50898" y="174122"/>
                  <a:pt x="64292" y="147334"/>
                </a:cubicBezTo>
                <a:close/>
                <a:moveTo>
                  <a:pt x="158050" y="125903"/>
                </a:moveTo>
                <a:cubicBezTo>
                  <a:pt x="123225" y="125903"/>
                  <a:pt x="93758" y="155370"/>
                  <a:pt x="93758" y="190194"/>
                </a:cubicBezTo>
                <a:cubicBezTo>
                  <a:pt x="93758" y="225019"/>
                  <a:pt x="123225" y="254485"/>
                  <a:pt x="158050" y="254485"/>
                </a:cubicBezTo>
                <a:cubicBezTo>
                  <a:pt x="192874" y="254485"/>
                  <a:pt x="222341" y="225019"/>
                  <a:pt x="222341" y="190194"/>
                </a:cubicBezTo>
                <a:cubicBezTo>
                  <a:pt x="222341" y="155370"/>
                  <a:pt x="192874" y="125903"/>
                  <a:pt x="158050" y="125903"/>
                </a:cubicBezTo>
                <a:close/>
                <a:moveTo>
                  <a:pt x="158050" y="112509"/>
                </a:moveTo>
                <a:cubicBezTo>
                  <a:pt x="200911" y="112509"/>
                  <a:pt x="235735" y="147333"/>
                  <a:pt x="235735" y="190194"/>
                </a:cubicBezTo>
                <a:cubicBezTo>
                  <a:pt x="235735" y="233055"/>
                  <a:pt x="200911" y="267879"/>
                  <a:pt x="158050" y="267879"/>
                </a:cubicBezTo>
                <a:cubicBezTo>
                  <a:pt x="115189" y="267879"/>
                  <a:pt x="80364" y="233055"/>
                  <a:pt x="80364" y="190194"/>
                </a:cubicBezTo>
                <a:cubicBezTo>
                  <a:pt x="80364" y="147333"/>
                  <a:pt x="115189" y="112509"/>
                  <a:pt x="158050" y="112509"/>
                </a:cubicBezTo>
                <a:close/>
                <a:moveTo>
                  <a:pt x="225021" y="109831"/>
                </a:moveTo>
                <a:cubicBezTo>
                  <a:pt x="233057" y="117867"/>
                  <a:pt x="241094" y="125904"/>
                  <a:pt x="246451" y="133940"/>
                </a:cubicBezTo>
                <a:lnTo>
                  <a:pt x="302706" y="133940"/>
                </a:lnTo>
                <a:lnTo>
                  <a:pt x="302706" y="115188"/>
                </a:lnTo>
                <a:cubicBezTo>
                  <a:pt x="302706" y="112510"/>
                  <a:pt x="300027" y="109831"/>
                  <a:pt x="297349" y="109831"/>
                </a:cubicBezTo>
                <a:close/>
                <a:moveTo>
                  <a:pt x="21431" y="109831"/>
                </a:moveTo>
                <a:cubicBezTo>
                  <a:pt x="18752" y="109831"/>
                  <a:pt x="16073" y="112510"/>
                  <a:pt x="16073" y="112510"/>
                </a:cubicBezTo>
                <a:cubicBezTo>
                  <a:pt x="13394" y="115188"/>
                  <a:pt x="13394" y="115188"/>
                  <a:pt x="13394" y="117867"/>
                </a:cubicBezTo>
                <a:lnTo>
                  <a:pt x="13394" y="136619"/>
                </a:lnTo>
                <a:lnTo>
                  <a:pt x="69649" y="136619"/>
                </a:lnTo>
                <a:cubicBezTo>
                  <a:pt x="75007" y="125904"/>
                  <a:pt x="83043" y="117867"/>
                  <a:pt x="93759" y="109831"/>
                </a:cubicBezTo>
                <a:close/>
                <a:moveTo>
                  <a:pt x="166045" y="98404"/>
                </a:moveTo>
                <a:cubicBezTo>
                  <a:pt x="138796" y="96270"/>
                  <a:pt x="111171" y="105813"/>
                  <a:pt x="91080" y="125904"/>
                </a:cubicBezTo>
                <a:cubicBezTo>
                  <a:pt x="66970" y="152692"/>
                  <a:pt x="58934" y="192874"/>
                  <a:pt x="72328" y="227698"/>
                </a:cubicBezTo>
                <a:cubicBezTo>
                  <a:pt x="85722" y="262522"/>
                  <a:pt x="120547" y="283953"/>
                  <a:pt x="158050" y="283953"/>
                </a:cubicBezTo>
                <a:cubicBezTo>
                  <a:pt x="182160" y="283953"/>
                  <a:pt x="206269" y="273238"/>
                  <a:pt x="222342" y="254486"/>
                </a:cubicBezTo>
                <a:cubicBezTo>
                  <a:pt x="238415" y="238413"/>
                  <a:pt x="249130" y="214304"/>
                  <a:pt x="249130" y="190195"/>
                </a:cubicBezTo>
                <a:cubicBezTo>
                  <a:pt x="249130" y="152692"/>
                  <a:pt x="227699" y="117867"/>
                  <a:pt x="192875" y="104473"/>
                </a:cubicBezTo>
                <a:cubicBezTo>
                  <a:pt x="184169" y="101125"/>
                  <a:pt x="175128" y="99116"/>
                  <a:pt x="166045" y="98404"/>
                </a:cubicBezTo>
                <a:close/>
                <a:moveTo>
                  <a:pt x="267882" y="85722"/>
                </a:moveTo>
                <a:cubicBezTo>
                  <a:pt x="262524" y="85722"/>
                  <a:pt x="259845" y="91079"/>
                  <a:pt x="259845" y="93758"/>
                </a:cubicBezTo>
                <a:cubicBezTo>
                  <a:pt x="259845" y="96437"/>
                  <a:pt x="259845" y="99116"/>
                  <a:pt x="259845" y="99116"/>
                </a:cubicBezTo>
                <a:lnTo>
                  <a:pt x="275918" y="99116"/>
                </a:lnTo>
                <a:cubicBezTo>
                  <a:pt x="275918" y="96437"/>
                  <a:pt x="275918" y="96437"/>
                  <a:pt x="275918" y="93758"/>
                </a:cubicBezTo>
                <a:cubicBezTo>
                  <a:pt x="275918" y="91079"/>
                  <a:pt x="275918" y="91079"/>
                  <a:pt x="273239" y="88400"/>
                </a:cubicBezTo>
                <a:cubicBezTo>
                  <a:pt x="273239" y="85722"/>
                  <a:pt x="270561" y="85722"/>
                  <a:pt x="267882" y="85722"/>
                </a:cubicBezTo>
                <a:close/>
                <a:moveTo>
                  <a:pt x="50898" y="85722"/>
                </a:moveTo>
                <a:cubicBezTo>
                  <a:pt x="48219" y="85722"/>
                  <a:pt x="42861" y="91079"/>
                  <a:pt x="45540" y="93758"/>
                </a:cubicBezTo>
                <a:cubicBezTo>
                  <a:pt x="45540" y="96437"/>
                  <a:pt x="45540" y="99116"/>
                  <a:pt x="45540" y="99116"/>
                </a:cubicBezTo>
                <a:lnTo>
                  <a:pt x="58934" y="99116"/>
                </a:lnTo>
                <a:cubicBezTo>
                  <a:pt x="58934" y="96437"/>
                  <a:pt x="58934" y="96437"/>
                  <a:pt x="58934" y="93758"/>
                </a:cubicBezTo>
                <a:cubicBezTo>
                  <a:pt x="58934" y="88400"/>
                  <a:pt x="56255" y="85722"/>
                  <a:pt x="50898" y="85722"/>
                </a:cubicBezTo>
                <a:close/>
                <a:moveTo>
                  <a:pt x="139298" y="75006"/>
                </a:moveTo>
                <a:lnTo>
                  <a:pt x="139298" y="88400"/>
                </a:lnTo>
                <a:cubicBezTo>
                  <a:pt x="152693" y="85722"/>
                  <a:pt x="163408" y="85722"/>
                  <a:pt x="176802" y="88400"/>
                </a:cubicBezTo>
                <a:lnTo>
                  <a:pt x="176802" y="75006"/>
                </a:lnTo>
                <a:close/>
                <a:moveTo>
                  <a:pt x="107153" y="10715"/>
                </a:moveTo>
                <a:cubicBezTo>
                  <a:pt x="104474" y="10715"/>
                  <a:pt x="101795" y="13394"/>
                  <a:pt x="101795" y="13394"/>
                </a:cubicBezTo>
                <a:cubicBezTo>
                  <a:pt x="99116" y="16073"/>
                  <a:pt x="99116" y="16073"/>
                  <a:pt x="99116" y="18752"/>
                </a:cubicBezTo>
                <a:lnTo>
                  <a:pt x="99116" y="53576"/>
                </a:lnTo>
                <a:cubicBezTo>
                  <a:pt x="99116" y="56255"/>
                  <a:pt x="101795" y="58934"/>
                  <a:pt x="101795" y="58934"/>
                </a:cubicBezTo>
                <a:cubicBezTo>
                  <a:pt x="104474" y="61612"/>
                  <a:pt x="104474" y="61612"/>
                  <a:pt x="107153" y="61612"/>
                </a:cubicBezTo>
                <a:lnTo>
                  <a:pt x="206269" y="64291"/>
                </a:lnTo>
                <a:cubicBezTo>
                  <a:pt x="208948" y="64291"/>
                  <a:pt x="211627" y="61612"/>
                  <a:pt x="211627" y="61612"/>
                </a:cubicBezTo>
                <a:cubicBezTo>
                  <a:pt x="214305" y="58934"/>
                  <a:pt x="214305" y="58934"/>
                  <a:pt x="214305" y="56255"/>
                </a:cubicBezTo>
                <a:lnTo>
                  <a:pt x="214305" y="18752"/>
                </a:lnTo>
                <a:cubicBezTo>
                  <a:pt x="214305" y="16073"/>
                  <a:pt x="211627" y="13394"/>
                  <a:pt x="211627" y="13394"/>
                </a:cubicBezTo>
                <a:cubicBezTo>
                  <a:pt x="208948" y="10715"/>
                  <a:pt x="208948" y="10715"/>
                  <a:pt x="206269" y="10715"/>
                </a:cubicBezTo>
                <a:close/>
                <a:moveTo>
                  <a:pt x="107153" y="0"/>
                </a:moveTo>
                <a:lnTo>
                  <a:pt x="206269" y="0"/>
                </a:lnTo>
                <a:cubicBezTo>
                  <a:pt x="211627" y="0"/>
                  <a:pt x="216984" y="2679"/>
                  <a:pt x="219663" y="5358"/>
                </a:cubicBezTo>
                <a:cubicBezTo>
                  <a:pt x="222342" y="8036"/>
                  <a:pt x="225021" y="13394"/>
                  <a:pt x="225021" y="18752"/>
                </a:cubicBezTo>
                <a:lnTo>
                  <a:pt x="225021" y="56255"/>
                </a:lnTo>
                <a:cubicBezTo>
                  <a:pt x="225021" y="61612"/>
                  <a:pt x="222342" y="66970"/>
                  <a:pt x="219663" y="69649"/>
                </a:cubicBezTo>
                <a:cubicBezTo>
                  <a:pt x="216984" y="72328"/>
                  <a:pt x="211627" y="75006"/>
                  <a:pt x="206269" y="75006"/>
                </a:cubicBezTo>
                <a:lnTo>
                  <a:pt x="187517" y="75006"/>
                </a:lnTo>
                <a:lnTo>
                  <a:pt x="187517" y="91079"/>
                </a:lnTo>
                <a:cubicBezTo>
                  <a:pt x="195554" y="93758"/>
                  <a:pt x="200911" y="96437"/>
                  <a:pt x="206269" y="99116"/>
                </a:cubicBezTo>
                <a:lnTo>
                  <a:pt x="246451" y="99116"/>
                </a:lnTo>
                <a:cubicBezTo>
                  <a:pt x="246451" y="96437"/>
                  <a:pt x="246451" y="96437"/>
                  <a:pt x="246451" y="93758"/>
                </a:cubicBezTo>
                <a:cubicBezTo>
                  <a:pt x="246451" y="83043"/>
                  <a:pt x="257166" y="75006"/>
                  <a:pt x="267882" y="75006"/>
                </a:cubicBezTo>
                <a:cubicBezTo>
                  <a:pt x="278597" y="75006"/>
                  <a:pt x="289312" y="83043"/>
                  <a:pt x="289312" y="93758"/>
                </a:cubicBezTo>
                <a:cubicBezTo>
                  <a:pt x="289312" y="96437"/>
                  <a:pt x="289312" y="96437"/>
                  <a:pt x="289312" y="99116"/>
                </a:cubicBezTo>
                <a:lnTo>
                  <a:pt x="297349" y="99116"/>
                </a:lnTo>
                <a:cubicBezTo>
                  <a:pt x="308064" y="99116"/>
                  <a:pt x="316100" y="107152"/>
                  <a:pt x="316100" y="117867"/>
                </a:cubicBezTo>
                <a:lnTo>
                  <a:pt x="316100" y="265201"/>
                </a:lnTo>
                <a:cubicBezTo>
                  <a:pt x="316100" y="275916"/>
                  <a:pt x="308064" y="283953"/>
                  <a:pt x="297349" y="283953"/>
                </a:cubicBezTo>
                <a:lnTo>
                  <a:pt x="206269" y="283953"/>
                </a:lnTo>
                <a:cubicBezTo>
                  <a:pt x="174123" y="300026"/>
                  <a:pt x="139298" y="300026"/>
                  <a:pt x="107153" y="283953"/>
                </a:cubicBezTo>
                <a:lnTo>
                  <a:pt x="18752" y="283953"/>
                </a:lnTo>
                <a:cubicBezTo>
                  <a:pt x="13394" y="283953"/>
                  <a:pt x="8036" y="281274"/>
                  <a:pt x="5358" y="278595"/>
                </a:cubicBezTo>
                <a:cubicBezTo>
                  <a:pt x="2679" y="275916"/>
                  <a:pt x="0" y="270559"/>
                  <a:pt x="0" y="265201"/>
                </a:cubicBezTo>
                <a:lnTo>
                  <a:pt x="0" y="117867"/>
                </a:lnTo>
                <a:cubicBezTo>
                  <a:pt x="0" y="107152"/>
                  <a:pt x="8036" y="99116"/>
                  <a:pt x="18752" y="99116"/>
                </a:cubicBezTo>
                <a:lnTo>
                  <a:pt x="29467" y="99116"/>
                </a:lnTo>
                <a:cubicBezTo>
                  <a:pt x="29467" y="96437"/>
                  <a:pt x="29467" y="96437"/>
                  <a:pt x="29467" y="93758"/>
                </a:cubicBezTo>
                <a:cubicBezTo>
                  <a:pt x="29467" y="83043"/>
                  <a:pt x="40182" y="75006"/>
                  <a:pt x="50898" y="75006"/>
                </a:cubicBezTo>
                <a:cubicBezTo>
                  <a:pt x="61613" y="75006"/>
                  <a:pt x="72328" y="83043"/>
                  <a:pt x="72328" y="93758"/>
                </a:cubicBezTo>
                <a:cubicBezTo>
                  <a:pt x="72328" y="96437"/>
                  <a:pt x="72328" y="96437"/>
                  <a:pt x="72328" y="99116"/>
                </a:cubicBezTo>
                <a:lnTo>
                  <a:pt x="83043" y="99116"/>
                </a:lnTo>
                <a:lnTo>
                  <a:pt x="83043" y="93758"/>
                </a:lnTo>
                <a:cubicBezTo>
                  <a:pt x="83043" y="93758"/>
                  <a:pt x="85722" y="91079"/>
                  <a:pt x="85722" y="91079"/>
                </a:cubicBezTo>
                <a:cubicBezTo>
                  <a:pt x="85722" y="88400"/>
                  <a:pt x="85722" y="88400"/>
                  <a:pt x="88401" y="88400"/>
                </a:cubicBezTo>
                <a:lnTo>
                  <a:pt x="99116" y="88400"/>
                </a:lnTo>
                <a:cubicBezTo>
                  <a:pt x="99116" y="88400"/>
                  <a:pt x="101795" y="91079"/>
                  <a:pt x="101795" y="91079"/>
                </a:cubicBezTo>
                <a:cubicBezTo>
                  <a:pt x="104474" y="91079"/>
                  <a:pt x="104474" y="91079"/>
                  <a:pt x="104474" y="93758"/>
                </a:cubicBezTo>
                <a:lnTo>
                  <a:pt x="104474" y="99116"/>
                </a:lnTo>
                <a:lnTo>
                  <a:pt x="107153" y="99116"/>
                </a:lnTo>
                <a:cubicBezTo>
                  <a:pt x="115189" y="96437"/>
                  <a:pt x="120547" y="93758"/>
                  <a:pt x="125904" y="91079"/>
                </a:cubicBezTo>
                <a:lnTo>
                  <a:pt x="125904" y="75006"/>
                </a:lnTo>
                <a:lnTo>
                  <a:pt x="107153" y="75006"/>
                </a:lnTo>
                <a:cubicBezTo>
                  <a:pt x="104474" y="75006"/>
                  <a:pt x="99116" y="72328"/>
                  <a:pt x="96437" y="69649"/>
                </a:cubicBezTo>
                <a:cubicBezTo>
                  <a:pt x="93759" y="66970"/>
                  <a:pt x="91080" y="61612"/>
                  <a:pt x="91080" y="56255"/>
                </a:cubicBezTo>
                <a:lnTo>
                  <a:pt x="91080" y="18752"/>
                </a:lnTo>
                <a:cubicBezTo>
                  <a:pt x="91080" y="8036"/>
                  <a:pt x="99116" y="0"/>
                  <a:pt x="107153" y="0"/>
                </a:cubicBezTo>
                <a:close/>
              </a:path>
            </a:pathLst>
          </a:custGeom>
          <a:solidFill>
            <a:schemeClr val="accent1"/>
          </a:solidFill>
          <a:ln w="2619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sp>
        <p:nvSpPr>
          <p:cNvPr id="152" name="任意多边形: 形状 151">
            <a:extLst>
              <a:ext uri="{FF2B5EF4-FFF2-40B4-BE49-F238E27FC236}">
                <a16:creationId xmlns:a16="http://schemas.microsoft.com/office/drawing/2014/main" id="{CF6D0EF0-6858-4400-9423-5F2598A9024B}"/>
              </a:ext>
            </a:extLst>
          </p:cNvPr>
          <p:cNvSpPr/>
          <p:nvPr/>
        </p:nvSpPr>
        <p:spPr>
          <a:xfrm>
            <a:off x="4600118" y="4449239"/>
            <a:ext cx="75006" cy="75006"/>
          </a:xfrm>
          <a:custGeom>
            <a:avLst/>
            <a:gdLst>
              <a:gd name="connsiteX0" fmla="*/ 75007 w 75006"/>
              <a:gd name="connsiteY0" fmla="*/ 37503 h 75006"/>
              <a:gd name="connsiteX1" fmla="*/ 37503 w 75006"/>
              <a:gd name="connsiteY1" fmla="*/ 75006 h 75006"/>
              <a:gd name="connsiteX2" fmla="*/ 0 w 75006"/>
              <a:gd name="connsiteY2" fmla="*/ 37503 h 75006"/>
              <a:gd name="connsiteX3" fmla="*/ 37503 w 75006"/>
              <a:gd name="connsiteY3" fmla="*/ 0 h 75006"/>
              <a:gd name="connsiteX4" fmla="*/ 75007 w 75006"/>
              <a:gd name="connsiteY4" fmla="*/ 37503 h 7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006" h="75006">
                <a:moveTo>
                  <a:pt x="75007" y="37503"/>
                </a:moveTo>
                <a:cubicBezTo>
                  <a:pt x="75007" y="58216"/>
                  <a:pt x="58216" y="75006"/>
                  <a:pt x="37503" y="75006"/>
                </a:cubicBezTo>
                <a:cubicBezTo>
                  <a:pt x="16791" y="75006"/>
                  <a:pt x="0" y="58216"/>
                  <a:pt x="0" y="37503"/>
                </a:cubicBezTo>
                <a:cubicBezTo>
                  <a:pt x="0" y="16791"/>
                  <a:pt x="16791" y="0"/>
                  <a:pt x="37503" y="0"/>
                </a:cubicBezTo>
                <a:cubicBezTo>
                  <a:pt x="58216" y="0"/>
                  <a:pt x="75007" y="16791"/>
                  <a:pt x="75007" y="37503"/>
                </a:cubicBezTo>
                <a:close/>
              </a:path>
            </a:pathLst>
          </a:custGeom>
          <a:solidFill>
            <a:schemeClr val="accent2"/>
          </a:solidFill>
          <a:ln w="2619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矩形 19">
            <a:extLst>
              <a:ext uri="{FF2B5EF4-FFF2-40B4-BE49-F238E27FC236}">
                <a16:creationId xmlns:a16="http://schemas.microsoft.com/office/drawing/2014/main" id="{27E41719-4C30-4AE9-A786-A0EED0F70D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165700" y="4916838"/>
            <a:ext cx="2772000" cy="446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业边缘计算服务器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配上算法授权加密狗</a:t>
            </a:r>
          </a:p>
        </p:txBody>
      </p:sp>
      <p:grpSp>
        <p:nvGrpSpPr>
          <p:cNvPr id="252" name="组合 251">
            <a:extLst>
              <a:ext uri="{FF2B5EF4-FFF2-40B4-BE49-F238E27FC236}">
                <a16:creationId xmlns:a16="http://schemas.microsoft.com/office/drawing/2014/main" id="{4144B102-05DD-43EB-9BDB-67BEFA899C56}"/>
              </a:ext>
            </a:extLst>
          </p:cNvPr>
          <p:cNvGrpSpPr/>
          <p:nvPr/>
        </p:nvGrpSpPr>
        <p:grpSpPr>
          <a:xfrm>
            <a:off x="7394597" y="4271082"/>
            <a:ext cx="308278" cy="308277"/>
            <a:chOff x="7394597" y="4271082"/>
            <a:chExt cx="308278" cy="308277"/>
          </a:xfrm>
        </p:grpSpPr>
        <p:grpSp>
          <p:nvGrpSpPr>
            <p:cNvPr id="193" name="组合 192">
              <a:extLst>
                <a:ext uri="{FF2B5EF4-FFF2-40B4-BE49-F238E27FC236}">
                  <a16:creationId xmlns:a16="http://schemas.microsoft.com/office/drawing/2014/main" id="{2D58ED0D-3E76-49E5-A675-854D9B0553CE}"/>
                </a:ext>
              </a:extLst>
            </p:cNvPr>
            <p:cNvGrpSpPr/>
            <p:nvPr/>
          </p:nvGrpSpPr>
          <p:grpSpPr>
            <a:xfrm>
              <a:off x="7418311" y="4330366"/>
              <a:ext cx="260851" cy="195637"/>
              <a:chOff x="7418311" y="4282241"/>
              <a:chExt cx="260851" cy="195637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B4C46525-0049-490B-AE43-478A617AF007}"/>
                  </a:ext>
                </a:extLst>
              </p:cNvPr>
              <p:cNvSpPr/>
              <p:nvPr/>
            </p:nvSpPr>
            <p:spPr>
              <a:xfrm>
                <a:off x="7634699" y="4288169"/>
                <a:ext cx="44463" cy="17785"/>
              </a:xfrm>
              <a:custGeom>
                <a:avLst/>
                <a:gdLst>
                  <a:gd name="connsiteX0" fmla="*/ 0 w 44463"/>
                  <a:gd name="connsiteY0" fmla="*/ 17785 h 17785"/>
                  <a:gd name="connsiteX1" fmla="*/ 35571 w 44463"/>
                  <a:gd name="connsiteY1" fmla="*/ 17785 h 17785"/>
                  <a:gd name="connsiteX2" fmla="*/ 41499 w 44463"/>
                  <a:gd name="connsiteY2" fmla="*/ 14821 h 17785"/>
                  <a:gd name="connsiteX3" fmla="*/ 44463 w 44463"/>
                  <a:gd name="connsiteY3" fmla="*/ 8893 h 17785"/>
                  <a:gd name="connsiteX4" fmla="*/ 44463 w 44463"/>
                  <a:gd name="connsiteY4" fmla="*/ 0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0" y="17785"/>
                    </a:moveTo>
                    <a:lnTo>
                      <a:pt x="35571" y="17785"/>
                    </a:lnTo>
                    <a:cubicBezTo>
                      <a:pt x="38535" y="17785"/>
                      <a:pt x="41499" y="17785"/>
                      <a:pt x="41499" y="14821"/>
                    </a:cubicBezTo>
                    <a:cubicBezTo>
                      <a:pt x="44463" y="11857"/>
                      <a:pt x="44463" y="8893"/>
                      <a:pt x="44463" y="8893"/>
                    </a:cubicBezTo>
                    <a:lnTo>
                      <a:pt x="44463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5F759376-08B4-41C2-8B51-96AA6B6E4784}"/>
                  </a:ext>
                </a:extLst>
              </p:cNvPr>
              <p:cNvSpPr/>
              <p:nvPr/>
            </p:nvSpPr>
            <p:spPr>
              <a:xfrm>
                <a:off x="7418311" y="4288169"/>
                <a:ext cx="44463" cy="17785"/>
              </a:xfrm>
              <a:custGeom>
                <a:avLst/>
                <a:gdLst>
                  <a:gd name="connsiteX0" fmla="*/ 44463 w 44463"/>
                  <a:gd name="connsiteY0" fmla="*/ 17785 h 17785"/>
                  <a:gd name="connsiteX1" fmla="*/ 8893 w 44463"/>
                  <a:gd name="connsiteY1" fmla="*/ 17785 h 17785"/>
                  <a:gd name="connsiteX2" fmla="*/ 2964 w 44463"/>
                  <a:gd name="connsiteY2" fmla="*/ 14821 h 17785"/>
                  <a:gd name="connsiteX3" fmla="*/ 0 w 44463"/>
                  <a:gd name="connsiteY3" fmla="*/ 8893 h 17785"/>
                  <a:gd name="connsiteX4" fmla="*/ 0 w 44463"/>
                  <a:gd name="connsiteY4" fmla="*/ 0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44463" y="17785"/>
                    </a:moveTo>
                    <a:lnTo>
                      <a:pt x="8893" y="17785"/>
                    </a:lnTo>
                    <a:cubicBezTo>
                      <a:pt x="8893" y="17785"/>
                      <a:pt x="5928" y="17785"/>
                      <a:pt x="2964" y="14821"/>
                    </a:cubicBezTo>
                    <a:cubicBezTo>
                      <a:pt x="0" y="14821"/>
                      <a:pt x="0" y="11857"/>
                      <a:pt x="0" y="8893"/>
                    </a:cubicBezTo>
                    <a:lnTo>
                      <a:pt x="0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53E261E4-373D-4014-86A4-87BDB540D79B}"/>
                  </a:ext>
                </a:extLst>
              </p:cNvPr>
              <p:cNvSpPr/>
              <p:nvPr/>
            </p:nvSpPr>
            <p:spPr>
              <a:xfrm>
                <a:off x="7634699" y="4448236"/>
                <a:ext cx="44463" cy="17785"/>
              </a:xfrm>
              <a:custGeom>
                <a:avLst/>
                <a:gdLst>
                  <a:gd name="connsiteX0" fmla="*/ 0 w 44463"/>
                  <a:gd name="connsiteY0" fmla="*/ 0 h 17785"/>
                  <a:gd name="connsiteX1" fmla="*/ 35571 w 44463"/>
                  <a:gd name="connsiteY1" fmla="*/ 0 h 17785"/>
                  <a:gd name="connsiteX2" fmla="*/ 41499 w 44463"/>
                  <a:gd name="connsiteY2" fmla="*/ 2964 h 17785"/>
                  <a:gd name="connsiteX3" fmla="*/ 44463 w 44463"/>
                  <a:gd name="connsiteY3" fmla="*/ 8893 h 17785"/>
                  <a:gd name="connsiteX4" fmla="*/ 44463 w 44463"/>
                  <a:gd name="connsiteY4" fmla="*/ 17785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0" y="0"/>
                    </a:moveTo>
                    <a:lnTo>
                      <a:pt x="35571" y="0"/>
                    </a:lnTo>
                    <a:cubicBezTo>
                      <a:pt x="38535" y="0"/>
                      <a:pt x="41499" y="0"/>
                      <a:pt x="41499" y="2964"/>
                    </a:cubicBezTo>
                    <a:cubicBezTo>
                      <a:pt x="41499" y="2964"/>
                      <a:pt x="44463" y="5928"/>
                      <a:pt x="44463" y="8893"/>
                    </a:cubicBezTo>
                    <a:lnTo>
                      <a:pt x="44463" y="17785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621A49E9-1636-4F79-A6D4-E3E6E8408534}"/>
                  </a:ext>
                </a:extLst>
              </p:cNvPr>
              <p:cNvSpPr/>
              <p:nvPr/>
            </p:nvSpPr>
            <p:spPr>
              <a:xfrm>
                <a:off x="7418311" y="4448236"/>
                <a:ext cx="44463" cy="17785"/>
              </a:xfrm>
              <a:custGeom>
                <a:avLst/>
                <a:gdLst>
                  <a:gd name="connsiteX0" fmla="*/ 44463 w 44463"/>
                  <a:gd name="connsiteY0" fmla="*/ 0 h 17785"/>
                  <a:gd name="connsiteX1" fmla="*/ 8893 w 44463"/>
                  <a:gd name="connsiteY1" fmla="*/ 0 h 17785"/>
                  <a:gd name="connsiteX2" fmla="*/ 2964 w 44463"/>
                  <a:gd name="connsiteY2" fmla="*/ 2964 h 17785"/>
                  <a:gd name="connsiteX3" fmla="*/ 0 w 44463"/>
                  <a:gd name="connsiteY3" fmla="*/ 8893 h 17785"/>
                  <a:gd name="connsiteX4" fmla="*/ 0 w 44463"/>
                  <a:gd name="connsiteY4" fmla="*/ 17785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44463" y="0"/>
                    </a:moveTo>
                    <a:lnTo>
                      <a:pt x="8893" y="0"/>
                    </a:lnTo>
                    <a:cubicBezTo>
                      <a:pt x="5928" y="0"/>
                      <a:pt x="2964" y="0"/>
                      <a:pt x="2964" y="2964"/>
                    </a:cubicBezTo>
                    <a:cubicBezTo>
                      <a:pt x="0" y="2964"/>
                      <a:pt x="0" y="5928"/>
                      <a:pt x="0" y="8893"/>
                    </a:cubicBezTo>
                    <a:lnTo>
                      <a:pt x="0" y="17785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F2C71472-03EE-4FA2-898F-74CF32EAE821}"/>
                  </a:ext>
                </a:extLst>
              </p:cNvPr>
              <p:cNvSpPr/>
              <p:nvPr/>
            </p:nvSpPr>
            <p:spPr>
              <a:xfrm>
                <a:off x="7477595" y="4353382"/>
                <a:ext cx="142282" cy="8892"/>
              </a:xfrm>
              <a:custGeom>
                <a:avLst/>
                <a:gdLst>
                  <a:gd name="connsiteX0" fmla="*/ 142282 w 142282"/>
                  <a:gd name="connsiteY0" fmla="*/ 8893 h 8892"/>
                  <a:gd name="connsiteX1" fmla="*/ 142282 w 142282"/>
                  <a:gd name="connsiteY1" fmla="*/ 0 h 8892"/>
                  <a:gd name="connsiteX2" fmla="*/ 0 w 142282"/>
                  <a:gd name="connsiteY2" fmla="*/ 0 h 8892"/>
                  <a:gd name="connsiteX3" fmla="*/ 0 w 142282"/>
                  <a:gd name="connsiteY3" fmla="*/ 8893 h 8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282" h="8892">
                    <a:moveTo>
                      <a:pt x="142282" y="8893"/>
                    </a:moveTo>
                    <a:lnTo>
                      <a:pt x="142282" y="0"/>
                    </a:lnTo>
                    <a:lnTo>
                      <a:pt x="0" y="0"/>
                    </a:lnTo>
                    <a:lnTo>
                      <a:pt x="0" y="8893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4AED364C-B734-4771-A0B5-DB747C1773CB}"/>
                  </a:ext>
                </a:extLst>
              </p:cNvPr>
              <p:cNvSpPr/>
              <p:nvPr/>
            </p:nvSpPr>
            <p:spPr>
              <a:xfrm>
                <a:off x="7477595" y="4391916"/>
                <a:ext cx="142282" cy="8892"/>
              </a:xfrm>
              <a:custGeom>
                <a:avLst/>
                <a:gdLst>
                  <a:gd name="connsiteX0" fmla="*/ 142282 w 142282"/>
                  <a:gd name="connsiteY0" fmla="*/ 0 h 8892"/>
                  <a:gd name="connsiteX1" fmla="*/ 142282 w 142282"/>
                  <a:gd name="connsiteY1" fmla="*/ 8893 h 8892"/>
                  <a:gd name="connsiteX2" fmla="*/ 0 w 142282"/>
                  <a:gd name="connsiteY2" fmla="*/ 8893 h 8892"/>
                  <a:gd name="connsiteX3" fmla="*/ 0 w 142282"/>
                  <a:gd name="connsiteY3" fmla="*/ 0 h 8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282" h="8892">
                    <a:moveTo>
                      <a:pt x="142282" y="0"/>
                    </a:moveTo>
                    <a:lnTo>
                      <a:pt x="142282" y="8893"/>
                    </a:lnTo>
                    <a:lnTo>
                      <a:pt x="0" y="8893"/>
                    </a:lnTo>
                    <a:lnTo>
                      <a:pt x="0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9" name="图形 32">
                <a:extLst>
                  <a:ext uri="{FF2B5EF4-FFF2-40B4-BE49-F238E27FC236}">
                    <a16:creationId xmlns:a16="http://schemas.microsoft.com/office/drawing/2014/main" id="{CCEFE844-E8C2-4F18-9D2E-E7806B726724}"/>
                  </a:ext>
                </a:extLst>
              </p:cNvPr>
              <p:cNvGrpSpPr/>
              <p:nvPr/>
            </p:nvGrpSpPr>
            <p:grpSpPr>
              <a:xfrm>
                <a:off x="7525023" y="4377095"/>
                <a:ext cx="47427" cy="29642"/>
                <a:chOff x="7525023" y="4377095"/>
                <a:chExt cx="47427" cy="29642"/>
              </a:xfrm>
            </p:grpSpPr>
            <p:sp>
              <p:nvSpPr>
                <p:cNvPr id="170" name="任意多边形: 形状 169">
                  <a:extLst>
                    <a:ext uri="{FF2B5EF4-FFF2-40B4-BE49-F238E27FC236}">
                      <a16:creationId xmlns:a16="http://schemas.microsoft.com/office/drawing/2014/main" id="{81899018-7E0B-4260-938C-A17DB69B613B}"/>
                    </a:ext>
                  </a:extLst>
                </p:cNvPr>
                <p:cNvSpPr/>
                <p:nvPr/>
              </p:nvSpPr>
              <p:spPr>
                <a:xfrm>
                  <a:off x="7525023" y="437709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任意多边形: 形状 170">
                  <a:extLst>
                    <a:ext uri="{FF2B5EF4-FFF2-40B4-BE49-F238E27FC236}">
                      <a16:creationId xmlns:a16="http://schemas.microsoft.com/office/drawing/2014/main" id="{6D91A98C-295F-4A52-97F6-C0CD59DAC408}"/>
                    </a:ext>
                  </a:extLst>
                </p:cNvPr>
                <p:cNvSpPr/>
                <p:nvPr/>
              </p:nvSpPr>
              <p:spPr>
                <a:xfrm>
                  <a:off x="7542808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2" name="任意多边形: 形状 171">
                  <a:extLst>
                    <a:ext uri="{FF2B5EF4-FFF2-40B4-BE49-F238E27FC236}">
                      <a16:creationId xmlns:a16="http://schemas.microsoft.com/office/drawing/2014/main" id="{E547E2B1-D0C1-4FDA-B23C-01CD950DE6A3}"/>
                    </a:ext>
                  </a:extLst>
                </p:cNvPr>
                <p:cNvSpPr/>
                <p:nvPr/>
              </p:nvSpPr>
              <p:spPr>
                <a:xfrm>
                  <a:off x="7563557" y="437709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F40A3724-921C-4071-BBDC-CB6C9232ECF6}"/>
                  </a:ext>
                </a:extLst>
              </p:cNvPr>
              <p:cNvSpPr/>
              <p:nvPr/>
            </p:nvSpPr>
            <p:spPr>
              <a:xfrm>
                <a:off x="7477595" y="4282241"/>
                <a:ext cx="139318" cy="50391"/>
              </a:xfrm>
              <a:custGeom>
                <a:avLst/>
                <a:gdLst>
                  <a:gd name="connsiteX0" fmla="*/ 0 w 139318"/>
                  <a:gd name="connsiteY0" fmla="*/ 0 h 50391"/>
                  <a:gd name="connsiteX1" fmla="*/ 139318 w 139318"/>
                  <a:gd name="connsiteY1" fmla="*/ 0 h 50391"/>
                  <a:gd name="connsiteX2" fmla="*/ 139318 w 139318"/>
                  <a:gd name="connsiteY2" fmla="*/ 50391 h 50391"/>
                  <a:gd name="connsiteX3" fmla="*/ 0 w 139318"/>
                  <a:gd name="connsiteY3" fmla="*/ 50391 h 5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318" h="50391">
                    <a:moveTo>
                      <a:pt x="0" y="0"/>
                    </a:moveTo>
                    <a:lnTo>
                      <a:pt x="139318" y="0"/>
                    </a:lnTo>
                    <a:lnTo>
                      <a:pt x="139318" y="50391"/>
                    </a:lnTo>
                    <a:lnTo>
                      <a:pt x="0" y="50391"/>
                    </a:lnTo>
                    <a:close/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74" name="图形 32">
                <a:extLst>
                  <a:ext uri="{FF2B5EF4-FFF2-40B4-BE49-F238E27FC236}">
                    <a16:creationId xmlns:a16="http://schemas.microsoft.com/office/drawing/2014/main" id="{D7ECE9AF-D6EC-478F-AAF3-F40EC0173F0E}"/>
                  </a:ext>
                </a:extLst>
              </p:cNvPr>
              <p:cNvGrpSpPr/>
              <p:nvPr/>
            </p:nvGrpSpPr>
            <p:grpSpPr>
              <a:xfrm>
                <a:off x="7525023" y="4305955"/>
                <a:ext cx="47427" cy="29642"/>
                <a:chOff x="7525023" y="4305955"/>
                <a:chExt cx="47427" cy="29642"/>
              </a:xfrm>
            </p:grpSpPr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C44988A9-BB99-44A3-91E4-1834A5DADA6A}"/>
                    </a:ext>
                  </a:extLst>
                </p:cNvPr>
                <p:cNvSpPr/>
                <p:nvPr/>
              </p:nvSpPr>
              <p:spPr>
                <a:xfrm>
                  <a:off x="7525023" y="430595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A0F14904-E221-4B15-9B23-31D5A049DEA0}"/>
                    </a:ext>
                  </a:extLst>
                </p:cNvPr>
                <p:cNvSpPr/>
                <p:nvPr/>
              </p:nvSpPr>
              <p:spPr>
                <a:xfrm>
                  <a:off x="7542808" y="430595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F7C92053-15A2-4040-8CEF-414832830273}"/>
                    </a:ext>
                  </a:extLst>
                </p:cNvPr>
                <p:cNvSpPr/>
                <p:nvPr/>
              </p:nvSpPr>
              <p:spPr>
                <a:xfrm>
                  <a:off x="7563557" y="430595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5F70B7EB-E93A-401D-AC4F-EF7EA548D3C1}"/>
                  </a:ext>
                </a:extLst>
              </p:cNvPr>
              <p:cNvSpPr/>
              <p:nvPr/>
            </p:nvSpPr>
            <p:spPr>
              <a:xfrm>
                <a:off x="7477595" y="4421558"/>
                <a:ext cx="139318" cy="50391"/>
              </a:xfrm>
              <a:custGeom>
                <a:avLst/>
                <a:gdLst>
                  <a:gd name="connsiteX0" fmla="*/ 0 w 139318"/>
                  <a:gd name="connsiteY0" fmla="*/ 0 h 50391"/>
                  <a:gd name="connsiteX1" fmla="*/ 139318 w 139318"/>
                  <a:gd name="connsiteY1" fmla="*/ 0 h 50391"/>
                  <a:gd name="connsiteX2" fmla="*/ 139318 w 139318"/>
                  <a:gd name="connsiteY2" fmla="*/ 50391 h 50391"/>
                  <a:gd name="connsiteX3" fmla="*/ 0 w 139318"/>
                  <a:gd name="connsiteY3" fmla="*/ 50391 h 5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318" h="50391">
                    <a:moveTo>
                      <a:pt x="0" y="0"/>
                    </a:moveTo>
                    <a:lnTo>
                      <a:pt x="139318" y="0"/>
                    </a:lnTo>
                    <a:lnTo>
                      <a:pt x="139318" y="50391"/>
                    </a:lnTo>
                    <a:lnTo>
                      <a:pt x="0" y="50391"/>
                    </a:lnTo>
                    <a:close/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79" name="图形 32">
                <a:extLst>
                  <a:ext uri="{FF2B5EF4-FFF2-40B4-BE49-F238E27FC236}">
                    <a16:creationId xmlns:a16="http://schemas.microsoft.com/office/drawing/2014/main" id="{C15B300A-4CA3-4B77-8FF4-34B1EA8D03B9}"/>
                  </a:ext>
                </a:extLst>
              </p:cNvPr>
              <p:cNvGrpSpPr/>
              <p:nvPr/>
            </p:nvGrpSpPr>
            <p:grpSpPr>
              <a:xfrm>
                <a:off x="7525023" y="4448236"/>
                <a:ext cx="47427" cy="29642"/>
                <a:chOff x="7525023" y="4448236"/>
                <a:chExt cx="47427" cy="29642"/>
              </a:xfrm>
            </p:grpSpPr>
            <p:sp>
              <p:nvSpPr>
                <p:cNvPr id="180" name="任意多边形: 形状 179">
                  <a:extLst>
                    <a:ext uri="{FF2B5EF4-FFF2-40B4-BE49-F238E27FC236}">
                      <a16:creationId xmlns:a16="http://schemas.microsoft.com/office/drawing/2014/main" id="{B3A13BAF-7A47-43CB-B449-A0712BC4C186}"/>
                    </a:ext>
                  </a:extLst>
                </p:cNvPr>
                <p:cNvSpPr/>
                <p:nvPr/>
              </p:nvSpPr>
              <p:spPr>
                <a:xfrm>
                  <a:off x="7525023" y="4448236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1" name="任意多边形: 形状 180">
                  <a:extLst>
                    <a:ext uri="{FF2B5EF4-FFF2-40B4-BE49-F238E27FC236}">
                      <a16:creationId xmlns:a16="http://schemas.microsoft.com/office/drawing/2014/main" id="{3E32A8C9-CB08-417D-B887-50932F2670CE}"/>
                    </a:ext>
                  </a:extLst>
                </p:cNvPr>
                <p:cNvSpPr/>
                <p:nvPr/>
              </p:nvSpPr>
              <p:spPr>
                <a:xfrm>
                  <a:off x="7542808" y="4448236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2" name="任意多边形: 形状 181">
                  <a:extLst>
                    <a:ext uri="{FF2B5EF4-FFF2-40B4-BE49-F238E27FC236}">
                      <a16:creationId xmlns:a16="http://schemas.microsoft.com/office/drawing/2014/main" id="{06C10A69-A1AE-4729-A021-A09E74749832}"/>
                    </a:ext>
                  </a:extLst>
                </p:cNvPr>
                <p:cNvSpPr/>
                <p:nvPr/>
              </p:nvSpPr>
              <p:spPr>
                <a:xfrm>
                  <a:off x="7563557" y="4448236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E3A30425-E7FD-4FAE-9EFA-7BCF648C0A9B}"/>
                  </a:ext>
                </a:extLst>
              </p:cNvPr>
              <p:cNvSpPr/>
              <p:nvPr/>
            </p:nvSpPr>
            <p:spPr>
              <a:xfrm>
                <a:off x="7613949" y="4377095"/>
                <a:ext cx="38534" cy="29642"/>
              </a:xfrm>
              <a:custGeom>
                <a:avLst/>
                <a:gdLst>
                  <a:gd name="connsiteX0" fmla="*/ 38535 w 38534"/>
                  <a:gd name="connsiteY0" fmla="*/ 0 h 29642"/>
                  <a:gd name="connsiteX1" fmla="*/ 0 w 38534"/>
                  <a:gd name="connsiteY1" fmla="*/ 0 h 2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4" h="29642">
                    <a:moveTo>
                      <a:pt x="38535" y="0"/>
                    </a:moveTo>
                    <a:lnTo>
                      <a:pt x="0" y="0"/>
                    </a:lnTo>
                  </a:path>
                </a:pathLst>
              </a:custGeom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EA4A84F7-C1E2-4745-9B3D-23F963E608B6}"/>
                  </a:ext>
                </a:extLst>
              </p:cNvPr>
              <p:cNvSpPr/>
              <p:nvPr/>
            </p:nvSpPr>
            <p:spPr>
              <a:xfrm>
                <a:off x="7444989" y="4377095"/>
                <a:ext cx="38534" cy="29642"/>
              </a:xfrm>
              <a:custGeom>
                <a:avLst/>
                <a:gdLst>
                  <a:gd name="connsiteX0" fmla="*/ 0 w 38534"/>
                  <a:gd name="connsiteY0" fmla="*/ 0 h 29642"/>
                  <a:gd name="connsiteX1" fmla="*/ 38535 w 38534"/>
                  <a:gd name="connsiteY1" fmla="*/ 0 h 2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4" h="29642">
                    <a:moveTo>
                      <a:pt x="0" y="0"/>
                    </a:moveTo>
                    <a:lnTo>
                      <a:pt x="38535" y="0"/>
                    </a:lnTo>
                  </a:path>
                </a:pathLst>
              </a:custGeom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92" name="组合 191">
              <a:extLst>
                <a:ext uri="{FF2B5EF4-FFF2-40B4-BE49-F238E27FC236}">
                  <a16:creationId xmlns:a16="http://schemas.microsoft.com/office/drawing/2014/main" id="{93CB2782-D380-4CBC-9509-01461AC390BF}"/>
                </a:ext>
              </a:extLst>
            </p:cNvPr>
            <p:cNvGrpSpPr/>
            <p:nvPr/>
          </p:nvGrpSpPr>
          <p:grpSpPr>
            <a:xfrm>
              <a:off x="7394597" y="4271082"/>
              <a:ext cx="308278" cy="308277"/>
              <a:chOff x="7394597" y="4222957"/>
              <a:chExt cx="308278" cy="308277"/>
            </a:xfrm>
          </p:grpSpPr>
          <p:grpSp>
            <p:nvGrpSpPr>
              <p:cNvPr id="190" name="组合 189">
                <a:extLst>
                  <a:ext uri="{FF2B5EF4-FFF2-40B4-BE49-F238E27FC236}">
                    <a16:creationId xmlns:a16="http://schemas.microsoft.com/office/drawing/2014/main" id="{2B1FECD0-DE7D-498F-99F2-4F5BBE4A010B}"/>
                  </a:ext>
                </a:extLst>
              </p:cNvPr>
              <p:cNvGrpSpPr/>
              <p:nvPr/>
            </p:nvGrpSpPr>
            <p:grpSpPr>
              <a:xfrm>
                <a:off x="7652484" y="4222957"/>
                <a:ext cx="50391" cy="308277"/>
                <a:chOff x="7652484" y="4222957"/>
                <a:chExt cx="50391" cy="308277"/>
              </a:xfrm>
            </p:grpSpPr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8A026D54-AE9C-4766-A89C-BF030922CD96}"/>
                    </a:ext>
                  </a:extLst>
                </p:cNvPr>
                <p:cNvSpPr/>
                <p:nvPr/>
              </p:nvSpPr>
              <p:spPr>
                <a:xfrm>
                  <a:off x="7655448" y="4222957"/>
                  <a:ext cx="47427" cy="47427"/>
                </a:xfrm>
                <a:custGeom>
                  <a:avLst/>
                  <a:gdLst>
                    <a:gd name="connsiteX0" fmla="*/ 47428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8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8" y="23714"/>
                      </a:moveTo>
                      <a:cubicBezTo>
                        <a:pt x="47428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8" y="10617"/>
                        <a:pt x="47428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D5F269CE-E268-40AB-91FF-0994A09C75B1}"/>
                    </a:ext>
                  </a:extLst>
                </p:cNvPr>
                <p:cNvSpPr/>
                <p:nvPr/>
              </p:nvSpPr>
              <p:spPr>
                <a:xfrm>
                  <a:off x="7673233" y="424074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CDF97E3A-96B5-434E-834B-F11077C0605F}"/>
                    </a:ext>
                  </a:extLst>
                </p:cNvPr>
                <p:cNvSpPr/>
                <p:nvPr/>
              </p:nvSpPr>
              <p:spPr>
                <a:xfrm>
                  <a:off x="7655448" y="4483807"/>
                  <a:ext cx="47427" cy="47427"/>
                </a:xfrm>
                <a:custGeom>
                  <a:avLst/>
                  <a:gdLst>
                    <a:gd name="connsiteX0" fmla="*/ 47428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8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8" y="23714"/>
                      </a:moveTo>
                      <a:cubicBezTo>
                        <a:pt x="47428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8" y="10617"/>
                        <a:pt x="47428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>
                  <a:extLst>
                    <a:ext uri="{FF2B5EF4-FFF2-40B4-BE49-F238E27FC236}">
                      <a16:creationId xmlns:a16="http://schemas.microsoft.com/office/drawing/2014/main" id="{6B834B53-0FE1-42C8-9B53-B88B430D8B99}"/>
                    </a:ext>
                  </a:extLst>
                </p:cNvPr>
                <p:cNvSpPr/>
                <p:nvPr/>
              </p:nvSpPr>
              <p:spPr>
                <a:xfrm>
                  <a:off x="7673233" y="450159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6" name="任意多边形: 形状 185">
                  <a:extLst>
                    <a:ext uri="{FF2B5EF4-FFF2-40B4-BE49-F238E27FC236}">
                      <a16:creationId xmlns:a16="http://schemas.microsoft.com/office/drawing/2014/main" id="{C672136B-2F4A-4599-A5BC-3A3986D73A75}"/>
                    </a:ext>
                  </a:extLst>
                </p:cNvPr>
                <p:cNvSpPr/>
                <p:nvPr/>
              </p:nvSpPr>
              <p:spPr>
                <a:xfrm>
                  <a:off x="7652484" y="4353382"/>
                  <a:ext cx="50391" cy="50391"/>
                </a:xfrm>
                <a:custGeom>
                  <a:avLst/>
                  <a:gdLst>
                    <a:gd name="connsiteX0" fmla="*/ 0 w 50391"/>
                    <a:gd name="connsiteY0" fmla="*/ 0 h 50391"/>
                    <a:gd name="connsiteX1" fmla="*/ 50392 w 50391"/>
                    <a:gd name="connsiteY1" fmla="*/ 0 h 50391"/>
                    <a:gd name="connsiteX2" fmla="*/ 50392 w 50391"/>
                    <a:gd name="connsiteY2" fmla="*/ 50391 h 50391"/>
                    <a:gd name="connsiteX3" fmla="*/ 0 w 50391"/>
                    <a:gd name="connsiteY3" fmla="*/ 50391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91" h="50391">
                      <a:moveTo>
                        <a:pt x="0" y="0"/>
                      </a:moveTo>
                      <a:lnTo>
                        <a:pt x="50392" y="0"/>
                      </a:lnTo>
                      <a:lnTo>
                        <a:pt x="50392" y="50391"/>
                      </a:lnTo>
                      <a:lnTo>
                        <a:pt x="0" y="50391"/>
                      </a:ln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87" name="任意多边形: 形状 186">
                  <a:extLst>
                    <a:ext uri="{FF2B5EF4-FFF2-40B4-BE49-F238E27FC236}">
                      <a16:creationId xmlns:a16="http://schemas.microsoft.com/office/drawing/2014/main" id="{14410FAD-2E8C-4200-88AC-B9BB299F7F9B}"/>
                    </a:ext>
                  </a:extLst>
                </p:cNvPr>
                <p:cNvSpPr/>
                <p:nvPr/>
              </p:nvSpPr>
              <p:spPr>
                <a:xfrm>
                  <a:off x="7673233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91" name="组合 190">
                <a:extLst>
                  <a:ext uri="{FF2B5EF4-FFF2-40B4-BE49-F238E27FC236}">
                    <a16:creationId xmlns:a16="http://schemas.microsoft.com/office/drawing/2014/main" id="{99072808-5264-4864-984F-422EB93940CC}"/>
                  </a:ext>
                </a:extLst>
              </p:cNvPr>
              <p:cNvGrpSpPr/>
              <p:nvPr/>
            </p:nvGrpSpPr>
            <p:grpSpPr>
              <a:xfrm>
                <a:off x="7394597" y="4222957"/>
                <a:ext cx="50391" cy="308277"/>
                <a:chOff x="7394597" y="4222957"/>
                <a:chExt cx="50391" cy="308277"/>
              </a:xfrm>
            </p:grpSpPr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710C047C-27E0-4F59-BA2D-F67F47EC9FED}"/>
                    </a:ext>
                  </a:extLst>
                </p:cNvPr>
                <p:cNvSpPr/>
                <p:nvPr/>
              </p:nvSpPr>
              <p:spPr>
                <a:xfrm>
                  <a:off x="7394597" y="4222957"/>
                  <a:ext cx="47427" cy="47427"/>
                </a:xfrm>
                <a:custGeom>
                  <a:avLst/>
                  <a:gdLst>
                    <a:gd name="connsiteX0" fmla="*/ 47427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7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7" y="23714"/>
                      </a:moveTo>
                      <a:cubicBezTo>
                        <a:pt x="47427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7" y="10617"/>
                        <a:pt x="47427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E1474201-5B65-4642-AEBB-5F6B205F5267}"/>
                    </a:ext>
                  </a:extLst>
                </p:cNvPr>
                <p:cNvSpPr/>
                <p:nvPr/>
              </p:nvSpPr>
              <p:spPr>
                <a:xfrm>
                  <a:off x="7412382" y="424074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855BF371-6221-4750-ACEE-E7BDE9B77359}"/>
                    </a:ext>
                  </a:extLst>
                </p:cNvPr>
                <p:cNvSpPr/>
                <p:nvPr/>
              </p:nvSpPr>
              <p:spPr>
                <a:xfrm>
                  <a:off x="7394597" y="4483807"/>
                  <a:ext cx="47427" cy="47427"/>
                </a:xfrm>
                <a:custGeom>
                  <a:avLst/>
                  <a:gdLst>
                    <a:gd name="connsiteX0" fmla="*/ 47427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7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7" y="23714"/>
                      </a:moveTo>
                      <a:cubicBezTo>
                        <a:pt x="47427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7" y="10617"/>
                        <a:pt x="47427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B2FE1881-6F05-44B7-8514-B9C17D6B2438}"/>
                    </a:ext>
                  </a:extLst>
                </p:cNvPr>
                <p:cNvSpPr/>
                <p:nvPr/>
              </p:nvSpPr>
              <p:spPr>
                <a:xfrm>
                  <a:off x="7412382" y="450159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任意多边形: 形状 184">
                  <a:extLst>
                    <a:ext uri="{FF2B5EF4-FFF2-40B4-BE49-F238E27FC236}">
                      <a16:creationId xmlns:a16="http://schemas.microsoft.com/office/drawing/2014/main" id="{F3A3C22A-1385-4F55-9CA8-A65D785F14C9}"/>
                    </a:ext>
                  </a:extLst>
                </p:cNvPr>
                <p:cNvSpPr/>
                <p:nvPr/>
              </p:nvSpPr>
              <p:spPr>
                <a:xfrm>
                  <a:off x="7412382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8" name="任意多边形: 形状 187">
                  <a:extLst>
                    <a:ext uri="{FF2B5EF4-FFF2-40B4-BE49-F238E27FC236}">
                      <a16:creationId xmlns:a16="http://schemas.microsoft.com/office/drawing/2014/main" id="{CE5906E0-A98E-4CB9-82AA-9B08A2D81C7F}"/>
                    </a:ext>
                  </a:extLst>
                </p:cNvPr>
                <p:cNvSpPr/>
                <p:nvPr/>
              </p:nvSpPr>
              <p:spPr>
                <a:xfrm>
                  <a:off x="7394597" y="4353382"/>
                  <a:ext cx="50391" cy="50391"/>
                </a:xfrm>
                <a:custGeom>
                  <a:avLst/>
                  <a:gdLst>
                    <a:gd name="connsiteX0" fmla="*/ 0 w 50391"/>
                    <a:gd name="connsiteY0" fmla="*/ 0 h 50391"/>
                    <a:gd name="connsiteX1" fmla="*/ 50392 w 50391"/>
                    <a:gd name="connsiteY1" fmla="*/ 0 h 50391"/>
                    <a:gd name="connsiteX2" fmla="*/ 50392 w 50391"/>
                    <a:gd name="connsiteY2" fmla="*/ 50391 h 50391"/>
                    <a:gd name="connsiteX3" fmla="*/ 0 w 50391"/>
                    <a:gd name="connsiteY3" fmla="*/ 50391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91" h="50391">
                      <a:moveTo>
                        <a:pt x="0" y="0"/>
                      </a:moveTo>
                      <a:lnTo>
                        <a:pt x="50392" y="0"/>
                      </a:lnTo>
                      <a:lnTo>
                        <a:pt x="50392" y="50391"/>
                      </a:lnTo>
                      <a:lnTo>
                        <a:pt x="0" y="50391"/>
                      </a:ln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</p:grpSp>
        </p:grpSp>
      </p:grpSp>
      <p:sp>
        <p:nvSpPr>
          <p:cNvPr id="35" name="矩形 34">
            <a:extLst>
              <a:ext uri="{FF2B5EF4-FFF2-40B4-BE49-F238E27FC236}">
                <a16:creationId xmlns:a16="http://schemas.microsoft.com/office/drawing/2014/main" id="{048BE0F0-2A8F-4C25-9E7C-278BF82971D9}"/>
              </a:ext>
            </a:extLst>
          </p:cNvPr>
          <p:cNvSpPr/>
          <p:nvPr/>
        </p:nvSpPr>
        <p:spPr>
          <a:xfrm>
            <a:off x="4986596" y="6098379"/>
            <a:ext cx="22188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详细价格请咨询</a:t>
            </a:r>
            <a:r>
              <a:rPr lang="zh-CN" altLang="en-US" sz="105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销售人员</a:t>
            </a:r>
            <a:endParaRPr lang="en-US" altLang="zh-CN" sz="105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19">
            <a:extLst>
              <a:ext uri="{FF2B5EF4-FFF2-40B4-BE49-F238E27FC236}">
                <a16:creationId xmlns:a16="http://schemas.microsoft.com/office/drawing/2014/main" id="{0A039968-2DD6-4819-AF6F-771C42621CE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77100" y="4916838"/>
            <a:ext cx="2772000" cy="630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en-US" altLang="zh-CN" sz="12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More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Insight 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推理产品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实时显示字符识别结果、产线良率分析、机器出错预警</a:t>
            </a:r>
          </a:p>
        </p:txBody>
      </p:sp>
      <p:grpSp>
        <p:nvGrpSpPr>
          <p:cNvPr id="219" name="组合 218">
            <a:extLst>
              <a:ext uri="{FF2B5EF4-FFF2-40B4-BE49-F238E27FC236}">
                <a16:creationId xmlns:a16="http://schemas.microsoft.com/office/drawing/2014/main" id="{E9754B0C-576A-413D-B90A-5F9C26EE5764}"/>
              </a:ext>
            </a:extLst>
          </p:cNvPr>
          <p:cNvGrpSpPr/>
          <p:nvPr/>
        </p:nvGrpSpPr>
        <p:grpSpPr>
          <a:xfrm>
            <a:off x="10299178" y="4257189"/>
            <a:ext cx="318564" cy="312376"/>
            <a:chOff x="10299178" y="4209064"/>
            <a:chExt cx="318564" cy="312376"/>
          </a:xfrm>
        </p:grpSpPr>
        <p:grpSp>
          <p:nvGrpSpPr>
            <p:cNvPr id="195" name="图形 37">
              <a:extLst>
                <a:ext uri="{FF2B5EF4-FFF2-40B4-BE49-F238E27FC236}">
                  <a16:creationId xmlns:a16="http://schemas.microsoft.com/office/drawing/2014/main" id="{ABF81C75-92C2-4975-89BD-A9DA610EA827}"/>
                </a:ext>
              </a:extLst>
            </p:cNvPr>
            <p:cNvGrpSpPr/>
            <p:nvPr/>
          </p:nvGrpSpPr>
          <p:grpSpPr>
            <a:xfrm>
              <a:off x="10299178" y="4311128"/>
              <a:ext cx="318564" cy="210312"/>
              <a:chOff x="10299178" y="4311128"/>
              <a:chExt cx="318564" cy="210312"/>
            </a:xfrm>
            <a:noFill/>
          </p:grpSpPr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43614DF5-2908-40F4-933E-EEA3FF8D0058}"/>
                  </a:ext>
                </a:extLst>
              </p:cNvPr>
              <p:cNvSpPr/>
              <p:nvPr/>
            </p:nvSpPr>
            <p:spPr>
              <a:xfrm>
                <a:off x="10589907" y="4366799"/>
                <a:ext cx="30928" cy="123713"/>
              </a:xfrm>
              <a:custGeom>
                <a:avLst/>
                <a:gdLst>
                  <a:gd name="connsiteX0" fmla="*/ 0 w 30928"/>
                  <a:gd name="connsiteY0" fmla="*/ 123713 h 123713"/>
                  <a:gd name="connsiteX1" fmla="*/ 0 w 30928"/>
                  <a:gd name="connsiteY1" fmla="*/ 0 h 12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28" h="123713">
                    <a:moveTo>
                      <a:pt x="0" y="123713"/>
                    </a:moveTo>
                    <a:lnTo>
                      <a:pt x="0" y="0"/>
                    </a:lnTo>
                  </a:path>
                </a:pathLst>
              </a:custGeom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F99CF67A-25FE-4FBE-ABB4-5751B47EEB83}"/>
                  </a:ext>
                </a:extLst>
              </p:cNvPr>
              <p:cNvSpPr/>
              <p:nvPr/>
            </p:nvSpPr>
            <p:spPr>
              <a:xfrm>
                <a:off x="10299178" y="4490512"/>
                <a:ext cx="318564" cy="30928"/>
              </a:xfrm>
              <a:custGeom>
                <a:avLst/>
                <a:gdLst>
                  <a:gd name="connsiteX0" fmla="*/ 201036 w 318564"/>
                  <a:gd name="connsiteY0" fmla="*/ 0 h 30928"/>
                  <a:gd name="connsiteX1" fmla="*/ 191757 w 318564"/>
                  <a:gd name="connsiteY1" fmla="*/ 9279 h 30928"/>
                  <a:gd name="connsiteX2" fmla="*/ 126807 w 318564"/>
                  <a:gd name="connsiteY2" fmla="*/ 9279 h 30928"/>
                  <a:gd name="connsiteX3" fmla="*/ 117528 w 318564"/>
                  <a:gd name="connsiteY3" fmla="*/ 0 h 30928"/>
                  <a:gd name="connsiteX4" fmla="*/ 0 w 318564"/>
                  <a:gd name="connsiteY4" fmla="*/ 0 h 30928"/>
                  <a:gd name="connsiteX5" fmla="*/ 0 w 318564"/>
                  <a:gd name="connsiteY5" fmla="*/ 9279 h 30928"/>
                  <a:gd name="connsiteX6" fmla="*/ 6186 w 318564"/>
                  <a:gd name="connsiteY6" fmla="*/ 24743 h 30928"/>
                  <a:gd name="connsiteX7" fmla="*/ 21650 w 318564"/>
                  <a:gd name="connsiteY7" fmla="*/ 30928 h 30928"/>
                  <a:gd name="connsiteX8" fmla="*/ 296914 w 318564"/>
                  <a:gd name="connsiteY8" fmla="*/ 30928 h 30928"/>
                  <a:gd name="connsiteX9" fmla="*/ 312378 w 318564"/>
                  <a:gd name="connsiteY9" fmla="*/ 24743 h 30928"/>
                  <a:gd name="connsiteX10" fmla="*/ 318564 w 318564"/>
                  <a:gd name="connsiteY10" fmla="*/ 9279 h 30928"/>
                  <a:gd name="connsiteX11" fmla="*/ 318564 w 318564"/>
                  <a:gd name="connsiteY11" fmla="*/ 0 h 30928"/>
                  <a:gd name="connsiteX12" fmla="*/ 201036 w 318564"/>
                  <a:gd name="connsiteY12" fmla="*/ 0 h 3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8564" h="30928">
                    <a:moveTo>
                      <a:pt x="201036" y="0"/>
                    </a:moveTo>
                    <a:lnTo>
                      <a:pt x="191757" y="9279"/>
                    </a:lnTo>
                    <a:lnTo>
                      <a:pt x="126807" y="9279"/>
                    </a:lnTo>
                    <a:lnTo>
                      <a:pt x="117528" y="0"/>
                    </a:lnTo>
                    <a:lnTo>
                      <a:pt x="0" y="0"/>
                    </a:lnTo>
                    <a:lnTo>
                      <a:pt x="0" y="9279"/>
                    </a:lnTo>
                    <a:cubicBezTo>
                      <a:pt x="0" y="15464"/>
                      <a:pt x="3093" y="21650"/>
                      <a:pt x="6186" y="24743"/>
                    </a:cubicBezTo>
                    <a:cubicBezTo>
                      <a:pt x="9279" y="27836"/>
                      <a:pt x="15464" y="30928"/>
                      <a:pt x="21650" y="30928"/>
                    </a:cubicBezTo>
                    <a:lnTo>
                      <a:pt x="296914" y="30928"/>
                    </a:lnTo>
                    <a:cubicBezTo>
                      <a:pt x="303100" y="30928"/>
                      <a:pt x="309285" y="27836"/>
                      <a:pt x="312378" y="24743"/>
                    </a:cubicBezTo>
                    <a:cubicBezTo>
                      <a:pt x="315471" y="21650"/>
                      <a:pt x="318564" y="15464"/>
                      <a:pt x="318564" y="9279"/>
                    </a:cubicBezTo>
                    <a:lnTo>
                      <a:pt x="318564" y="0"/>
                    </a:lnTo>
                    <a:lnTo>
                      <a:pt x="201036" y="0"/>
                    </a:lnTo>
                    <a:close/>
                  </a:path>
                </a:pathLst>
              </a:custGeom>
              <a:noFill/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A77C72A0-19D1-4E18-B7EA-33D7F4E28D1F}"/>
                  </a:ext>
                </a:extLst>
              </p:cNvPr>
              <p:cNvSpPr/>
              <p:nvPr/>
            </p:nvSpPr>
            <p:spPr>
              <a:xfrm>
                <a:off x="10323921" y="4311128"/>
                <a:ext cx="262892" cy="179384"/>
              </a:xfrm>
              <a:custGeom>
                <a:avLst/>
                <a:gdLst>
                  <a:gd name="connsiteX0" fmla="*/ 0 w 262892"/>
                  <a:gd name="connsiteY0" fmla="*/ 98971 h 179384"/>
                  <a:gd name="connsiteX1" fmla="*/ 0 w 262892"/>
                  <a:gd name="connsiteY1" fmla="*/ 9279 h 179384"/>
                  <a:gd name="connsiteX2" fmla="*/ 3093 w 262892"/>
                  <a:gd name="connsiteY2" fmla="*/ 3093 h 179384"/>
                  <a:gd name="connsiteX3" fmla="*/ 9279 w 262892"/>
                  <a:gd name="connsiteY3" fmla="*/ 0 h 179384"/>
                  <a:gd name="connsiteX4" fmla="*/ 253614 w 262892"/>
                  <a:gd name="connsiteY4" fmla="*/ 0 h 179384"/>
                  <a:gd name="connsiteX5" fmla="*/ 259800 w 262892"/>
                  <a:gd name="connsiteY5" fmla="*/ 3093 h 179384"/>
                  <a:gd name="connsiteX6" fmla="*/ 262893 w 262892"/>
                  <a:gd name="connsiteY6" fmla="*/ 9279 h 179384"/>
                  <a:gd name="connsiteX7" fmla="*/ 262893 w 262892"/>
                  <a:gd name="connsiteY7" fmla="*/ 30928 h 179384"/>
                  <a:gd name="connsiteX8" fmla="*/ 207221 w 262892"/>
                  <a:gd name="connsiteY8" fmla="*/ 89692 h 179384"/>
                  <a:gd name="connsiteX9" fmla="*/ 167014 w 262892"/>
                  <a:gd name="connsiteY9" fmla="*/ 46393 h 179384"/>
                  <a:gd name="connsiteX10" fmla="*/ 102064 w 262892"/>
                  <a:gd name="connsiteY10" fmla="*/ 108249 h 179384"/>
                  <a:gd name="connsiteX11" fmla="*/ 58764 w 262892"/>
                  <a:gd name="connsiteY11" fmla="*/ 68042 h 179384"/>
                  <a:gd name="connsiteX12" fmla="*/ 0 w 262892"/>
                  <a:gd name="connsiteY12" fmla="*/ 126806 h 179384"/>
                  <a:gd name="connsiteX13" fmla="*/ 0 w 262892"/>
                  <a:gd name="connsiteY13" fmla="*/ 179385 h 179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2892" h="179384">
                    <a:moveTo>
                      <a:pt x="0" y="98971"/>
                    </a:moveTo>
                    <a:lnTo>
                      <a:pt x="0" y="9279"/>
                    </a:lnTo>
                    <a:cubicBezTo>
                      <a:pt x="0" y="6186"/>
                      <a:pt x="0" y="3093"/>
                      <a:pt x="3093" y="3093"/>
                    </a:cubicBezTo>
                    <a:cubicBezTo>
                      <a:pt x="6186" y="0"/>
                      <a:pt x="9279" y="0"/>
                      <a:pt x="9279" y="0"/>
                    </a:cubicBezTo>
                    <a:lnTo>
                      <a:pt x="253614" y="0"/>
                    </a:lnTo>
                    <a:cubicBezTo>
                      <a:pt x="256707" y="0"/>
                      <a:pt x="259800" y="0"/>
                      <a:pt x="259800" y="3093"/>
                    </a:cubicBezTo>
                    <a:cubicBezTo>
                      <a:pt x="262893" y="6186"/>
                      <a:pt x="262893" y="9279"/>
                      <a:pt x="262893" y="9279"/>
                    </a:cubicBezTo>
                    <a:lnTo>
                      <a:pt x="262893" y="30928"/>
                    </a:lnTo>
                    <a:lnTo>
                      <a:pt x="207221" y="89692"/>
                    </a:lnTo>
                    <a:lnTo>
                      <a:pt x="167014" y="46393"/>
                    </a:lnTo>
                    <a:lnTo>
                      <a:pt x="102064" y="108249"/>
                    </a:lnTo>
                    <a:lnTo>
                      <a:pt x="58764" y="68042"/>
                    </a:lnTo>
                    <a:lnTo>
                      <a:pt x="0" y="126806"/>
                    </a:lnTo>
                    <a:lnTo>
                      <a:pt x="0" y="179385"/>
                    </a:lnTo>
                  </a:path>
                </a:pathLst>
              </a:custGeom>
              <a:noFill/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99" name="图形 37">
                <a:extLst>
                  <a:ext uri="{FF2B5EF4-FFF2-40B4-BE49-F238E27FC236}">
                    <a16:creationId xmlns:a16="http://schemas.microsoft.com/office/drawing/2014/main" id="{2EE86CDE-6651-4CA8-ACDE-B5DAE961D7C7}"/>
                  </a:ext>
                </a:extLst>
              </p:cNvPr>
              <p:cNvGrpSpPr/>
              <p:nvPr/>
            </p:nvGrpSpPr>
            <p:grpSpPr>
              <a:xfrm>
                <a:off x="10351757" y="4394634"/>
                <a:ext cx="213406" cy="74228"/>
                <a:chOff x="10351757" y="4394634"/>
                <a:chExt cx="213406" cy="74228"/>
              </a:xfrm>
            </p:grpSpPr>
            <p:sp>
              <p:nvSpPr>
                <p:cNvPr id="200" name="任意多边形: 形状 199">
                  <a:extLst>
                    <a:ext uri="{FF2B5EF4-FFF2-40B4-BE49-F238E27FC236}">
                      <a16:creationId xmlns:a16="http://schemas.microsoft.com/office/drawing/2014/main" id="{B12180A0-1DFF-4F6C-93F3-814F8B109DEC}"/>
                    </a:ext>
                  </a:extLst>
                </p:cNvPr>
                <p:cNvSpPr/>
                <p:nvPr/>
              </p:nvSpPr>
              <p:spPr>
                <a:xfrm>
                  <a:off x="10351757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1" name="任意多边形: 形状 200">
                  <a:extLst>
                    <a:ext uri="{FF2B5EF4-FFF2-40B4-BE49-F238E27FC236}">
                      <a16:creationId xmlns:a16="http://schemas.microsoft.com/office/drawing/2014/main" id="{40340E72-06C0-49AD-9E1E-956D319D7041}"/>
                    </a:ext>
                  </a:extLst>
                </p:cNvPr>
                <p:cNvSpPr/>
                <p:nvPr/>
              </p:nvSpPr>
              <p:spPr>
                <a:xfrm>
                  <a:off x="10373407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2" name="任意多边形: 形状 201">
                  <a:extLst>
                    <a:ext uri="{FF2B5EF4-FFF2-40B4-BE49-F238E27FC236}">
                      <a16:creationId xmlns:a16="http://schemas.microsoft.com/office/drawing/2014/main" id="{75129587-87DE-4D41-AB1D-61F5BE1710EA}"/>
                    </a:ext>
                  </a:extLst>
                </p:cNvPr>
                <p:cNvSpPr/>
                <p:nvPr/>
              </p:nvSpPr>
              <p:spPr>
                <a:xfrm>
                  <a:off x="10395057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3" name="任意多边形: 形状 202">
                  <a:extLst>
                    <a:ext uri="{FF2B5EF4-FFF2-40B4-BE49-F238E27FC236}">
                      <a16:creationId xmlns:a16="http://schemas.microsoft.com/office/drawing/2014/main" id="{E6BE01CE-65B1-47B1-A747-B7F0A2DBD6B9}"/>
                    </a:ext>
                  </a:extLst>
                </p:cNvPr>
                <p:cNvSpPr/>
                <p:nvPr/>
              </p:nvSpPr>
              <p:spPr>
                <a:xfrm>
                  <a:off x="10416707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4" name="任意多边形: 形状 203">
                  <a:extLst>
                    <a:ext uri="{FF2B5EF4-FFF2-40B4-BE49-F238E27FC236}">
                      <a16:creationId xmlns:a16="http://schemas.microsoft.com/office/drawing/2014/main" id="{C7CC9905-2718-4E0C-99FA-D8DBFDE37C27}"/>
                    </a:ext>
                  </a:extLst>
                </p:cNvPr>
                <p:cNvSpPr/>
                <p:nvPr/>
              </p:nvSpPr>
              <p:spPr>
                <a:xfrm>
                  <a:off x="10435264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5" name="任意多边形: 形状 204">
                  <a:extLst>
                    <a:ext uri="{FF2B5EF4-FFF2-40B4-BE49-F238E27FC236}">
                      <a16:creationId xmlns:a16="http://schemas.microsoft.com/office/drawing/2014/main" id="{FB0540B4-F6CD-47CC-BD72-3BEC79F1A8CF}"/>
                    </a:ext>
                  </a:extLst>
                </p:cNvPr>
                <p:cNvSpPr/>
                <p:nvPr/>
              </p:nvSpPr>
              <p:spPr>
                <a:xfrm>
                  <a:off x="1045691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6" name="任意多边形: 形状 205">
                  <a:extLst>
                    <a:ext uri="{FF2B5EF4-FFF2-40B4-BE49-F238E27FC236}">
                      <a16:creationId xmlns:a16="http://schemas.microsoft.com/office/drawing/2014/main" id="{9A8DA332-183E-4980-A9F4-EA31AC093798}"/>
                    </a:ext>
                  </a:extLst>
                </p:cNvPr>
                <p:cNvSpPr/>
                <p:nvPr/>
              </p:nvSpPr>
              <p:spPr>
                <a:xfrm>
                  <a:off x="1047856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7" name="任意多边形: 形状 206">
                  <a:extLst>
                    <a:ext uri="{FF2B5EF4-FFF2-40B4-BE49-F238E27FC236}">
                      <a16:creationId xmlns:a16="http://schemas.microsoft.com/office/drawing/2014/main" id="{DB2BDC0B-DC48-41CB-9C77-416CBC60EE6D}"/>
                    </a:ext>
                  </a:extLst>
                </p:cNvPr>
                <p:cNvSpPr/>
                <p:nvPr/>
              </p:nvSpPr>
              <p:spPr>
                <a:xfrm>
                  <a:off x="1050021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8" name="任意多边形: 形状 207">
                  <a:extLst>
                    <a:ext uri="{FF2B5EF4-FFF2-40B4-BE49-F238E27FC236}">
                      <a16:creationId xmlns:a16="http://schemas.microsoft.com/office/drawing/2014/main" id="{9775978F-F3E9-4A60-A460-7C1076AE94BB}"/>
                    </a:ext>
                  </a:extLst>
                </p:cNvPr>
                <p:cNvSpPr/>
                <p:nvPr/>
              </p:nvSpPr>
              <p:spPr>
                <a:xfrm>
                  <a:off x="1052186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9" name="任意多边形: 形状 208">
                  <a:extLst>
                    <a:ext uri="{FF2B5EF4-FFF2-40B4-BE49-F238E27FC236}">
                      <a16:creationId xmlns:a16="http://schemas.microsoft.com/office/drawing/2014/main" id="{20DC73AD-8CD9-478B-BDB7-13F8152B0FA7}"/>
                    </a:ext>
                  </a:extLst>
                </p:cNvPr>
                <p:cNvSpPr/>
                <p:nvPr/>
              </p:nvSpPr>
              <p:spPr>
                <a:xfrm>
                  <a:off x="1054351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0" name="任意多边形: 形状 209">
                  <a:extLst>
                    <a:ext uri="{FF2B5EF4-FFF2-40B4-BE49-F238E27FC236}">
                      <a16:creationId xmlns:a16="http://schemas.microsoft.com/office/drawing/2014/main" id="{CD89DC08-9650-4EE1-9888-96B1E826BE4E}"/>
                    </a:ext>
                  </a:extLst>
                </p:cNvPr>
                <p:cNvSpPr/>
                <p:nvPr/>
              </p:nvSpPr>
              <p:spPr>
                <a:xfrm>
                  <a:off x="1056516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11" name="图形 37">
                <a:extLst>
                  <a:ext uri="{FF2B5EF4-FFF2-40B4-BE49-F238E27FC236}">
                    <a16:creationId xmlns:a16="http://schemas.microsoft.com/office/drawing/2014/main" id="{DC69DC5A-7349-4CC6-8626-7B7FFA9BA5D4}"/>
                  </a:ext>
                </a:extLst>
              </p:cNvPr>
              <p:cNvGrpSpPr/>
              <p:nvPr/>
            </p:nvGrpSpPr>
            <p:grpSpPr>
              <a:xfrm>
                <a:off x="10345571" y="4335870"/>
                <a:ext cx="52578" cy="30928"/>
                <a:chOff x="10345571" y="4335870"/>
                <a:chExt cx="52578" cy="30928"/>
              </a:xfrm>
            </p:grpSpPr>
            <p:sp>
              <p:nvSpPr>
                <p:cNvPr id="212" name="任意多边形: 形状 211">
                  <a:extLst>
                    <a:ext uri="{FF2B5EF4-FFF2-40B4-BE49-F238E27FC236}">
                      <a16:creationId xmlns:a16="http://schemas.microsoft.com/office/drawing/2014/main" id="{0082DFCC-67FA-429A-A3DF-9A6CA8800EEC}"/>
                    </a:ext>
                  </a:extLst>
                </p:cNvPr>
                <p:cNvSpPr/>
                <p:nvPr/>
              </p:nvSpPr>
              <p:spPr>
                <a:xfrm>
                  <a:off x="10345571" y="4335870"/>
                  <a:ext cx="12371" cy="30928"/>
                </a:xfrm>
                <a:custGeom>
                  <a:avLst/>
                  <a:gdLst>
                    <a:gd name="connsiteX0" fmla="*/ 0 w 12371"/>
                    <a:gd name="connsiteY0" fmla="*/ 0 h 30928"/>
                    <a:gd name="connsiteX1" fmla="*/ 12371 w 12371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71" h="30928">
                      <a:moveTo>
                        <a:pt x="0" y="0"/>
                      </a:moveTo>
                      <a:lnTo>
                        <a:pt x="12371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3" name="任意多边形: 形状 212">
                  <a:extLst>
                    <a:ext uri="{FF2B5EF4-FFF2-40B4-BE49-F238E27FC236}">
                      <a16:creationId xmlns:a16="http://schemas.microsoft.com/office/drawing/2014/main" id="{7B79350C-530A-4A46-AD79-C6285E3A3F3F}"/>
                    </a:ext>
                  </a:extLst>
                </p:cNvPr>
                <p:cNvSpPr/>
                <p:nvPr/>
              </p:nvSpPr>
              <p:spPr>
                <a:xfrm>
                  <a:off x="10367221" y="4335870"/>
                  <a:ext cx="9278" cy="30928"/>
                </a:xfrm>
                <a:custGeom>
                  <a:avLst/>
                  <a:gdLst>
                    <a:gd name="connsiteX0" fmla="*/ 0 w 9278"/>
                    <a:gd name="connsiteY0" fmla="*/ 0 h 30928"/>
                    <a:gd name="connsiteX1" fmla="*/ 9279 w 927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278" h="30928">
                      <a:moveTo>
                        <a:pt x="0" y="0"/>
                      </a:moveTo>
                      <a:lnTo>
                        <a:pt x="9279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4" name="任意多边形: 形状 213">
                  <a:extLst>
                    <a:ext uri="{FF2B5EF4-FFF2-40B4-BE49-F238E27FC236}">
                      <a16:creationId xmlns:a16="http://schemas.microsoft.com/office/drawing/2014/main" id="{BCB8931E-C904-4C9E-8069-3CE2E27CCC2C}"/>
                    </a:ext>
                  </a:extLst>
                </p:cNvPr>
                <p:cNvSpPr/>
                <p:nvPr/>
              </p:nvSpPr>
              <p:spPr>
                <a:xfrm>
                  <a:off x="10388871" y="4335870"/>
                  <a:ext cx="9278" cy="30928"/>
                </a:xfrm>
                <a:custGeom>
                  <a:avLst/>
                  <a:gdLst>
                    <a:gd name="connsiteX0" fmla="*/ 0 w 9278"/>
                    <a:gd name="connsiteY0" fmla="*/ 0 h 30928"/>
                    <a:gd name="connsiteX1" fmla="*/ 9279 w 927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278" h="30928">
                      <a:moveTo>
                        <a:pt x="0" y="0"/>
                      </a:moveTo>
                      <a:lnTo>
                        <a:pt x="9279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15" name="图形 37">
              <a:extLst>
                <a:ext uri="{FF2B5EF4-FFF2-40B4-BE49-F238E27FC236}">
                  <a16:creationId xmlns:a16="http://schemas.microsoft.com/office/drawing/2014/main" id="{B66DDD8B-0B98-4BCC-8C66-1CD35CE7D840}"/>
                </a:ext>
              </a:extLst>
            </p:cNvPr>
            <p:cNvGrpSpPr/>
            <p:nvPr/>
          </p:nvGrpSpPr>
          <p:grpSpPr>
            <a:xfrm>
              <a:off x="10373407" y="4209064"/>
              <a:ext cx="170107" cy="83506"/>
              <a:chOff x="10373407" y="4209064"/>
              <a:chExt cx="170107" cy="83506"/>
            </a:xfrm>
            <a:noFill/>
          </p:grpSpPr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475C4F8D-2251-413B-8933-9C059DDFA91E}"/>
                  </a:ext>
                </a:extLst>
              </p:cNvPr>
              <p:cNvSpPr/>
              <p:nvPr/>
            </p:nvSpPr>
            <p:spPr>
              <a:xfrm>
                <a:off x="10373407" y="4209064"/>
                <a:ext cx="170107" cy="83506"/>
              </a:xfrm>
              <a:custGeom>
                <a:avLst/>
                <a:gdLst>
                  <a:gd name="connsiteX0" fmla="*/ 170107 w 170107"/>
                  <a:gd name="connsiteY0" fmla="*/ 83507 h 83506"/>
                  <a:gd name="connsiteX1" fmla="*/ 170107 w 170107"/>
                  <a:gd name="connsiteY1" fmla="*/ 74228 h 83506"/>
                  <a:gd name="connsiteX2" fmla="*/ 145364 w 170107"/>
                  <a:gd name="connsiteY2" fmla="*/ 68042 h 83506"/>
                  <a:gd name="connsiteX3" fmla="*/ 139178 w 170107"/>
                  <a:gd name="connsiteY3" fmla="*/ 52578 h 83506"/>
                  <a:gd name="connsiteX4" fmla="*/ 154643 w 170107"/>
                  <a:gd name="connsiteY4" fmla="*/ 30928 h 83506"/>
                  <a:gd name="connsiteX5" fmla="*/ 136086 w 170107"/>
                  <a:gd name="connsiteY5" fmla="*/ 15464 h 83506"/>
                  <a:gd name="connsiteX6" fmla="*/ 117528 w 170107"/>
                  <a:gd name="connsiteY6" fmla="*/ 30928 h 83506"/>
                  <a:gd name="connsiteX7" fmla="*/ 98971 w 170107"/>
                  <a:gd name="connsiteY7" fmla="*/ 21650 h 83506"/>
                  <a:gd name="connsiteX8" fmla="*/ 95878 w 170107"/>
                  <a:gd name="connsiteY8" fmla="*/ 0 h 83506"/>
                  <a:gd name="connsiteX9" fmla="*/ 74229 w 170107"/>
                  <a:gd name="connsiteY9" fmla="*/ 0 h 83506"/>
                  <a:gd name="connsiteX10" fmla="*/ 68043 w 170107"/>
                  <a:gd name="connsiteY10" fmla="*/ 21650 h 83506"/>
                  <a:gd name="connsiteX11" fmla="*/ 52579 w 170107"/>
                  <a:gd name="connsiteY11" fmla="*/ 30928 h 83506"/>
                  <a:gd name="connsiteX12" fmla="*/ 30929 w 170107"/>
                  <a:gd name="connsiteY12" fmla="*/ 15464 h 83506"/>
                  <a:gd name="connsiteX13" fmla="*/ 15464 w 170107"/>
                  <a:gd name="connsiteY13" fmla="*/ 30928 h 83506"/>
                  <a:gd name="connsiteX14" fmla="*/ 30929 w 170107"/>
                  <a:gd name="connsiteY14" fmla="*/ 52578 h 83506"/>
                  <a:gd name="connsiteX15" fmla="*/ 21650 w 170107"/>
                  <a:gd name="connsiteY15" fmla="*/ 68042 h 83506"/>
                  <a:gd name="connsiteX16" fmla="*/ 0 w 170107"/>
                  <a:gd name="connsiteY16" fmla="*/ 74228 h 83506"/>
                  <a:gd name="connsiteX17" fmla="*/ 0 w 170107"/>
                  <a:gd name="connsiteY17" fmla="*/ 83507 h 83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0107" h="83506">
                    <a:moveTo>
                      <a:pt x="170107" y="83507"/>
                    </a:moveTo>
                    <a:lnTo>
                      <a:pt x="170107" y="74228"/>
                    </a:lnTo>
                    <a:lnTo>
                      <a:pt x="145364" y="68042"/>
                    </a:lnTo>
                    <a:cubicBezTo>
                      <a:pt x="145364" y="61857"/>
                      <a:pt x="142271" y="55671"/>
                      <a:pt x="139178" y="52578"/>
                    </a:cubicBezTo>
                    <a:lnTo>
                      <a:pt x="154643" y="30928"/>
                    </a:lnTo>
                    <a:lnTo>
                      <a:pt x="136086" y="15464"/>
                    </a:lnTo>
                    <a:lnTo>
                      <a:pt x="117528" y="30928"/>
                    </a:lnTo>
                    <a:cubicBezTo>
                      <a:pt x="111343" y="27836"/>
                      <a:pt x="105157" y="24743"/>
                      <a:pt x="98971" y="21650"/>
                    </a:cubicBezTo>
                    <a:lnTo>
                      <a:pt x="95878" y="0"/>
                    </a:lnTo>
                    <a:lnTo>
                      <a:pt x="74229" y="0"/>
                    </a:lnTo>
                    <a:lnTo>
                      <a:pt x="68043" y="21650"/>
                    </a:lnTo>
                    <a:cubicBezTo>
                      <a:pt x="61857" y="24743"/>
                      <a:pt x="55671" y="27836"/>
                      <a:pt x="52579" y="30928"/>
                    </a:cubicBezTo>
                    <a:lnTo>
                      <a:pt x="30929" y="15464"/>
                    </a:lnTo>
                    <a:lnTo>
                      <a:pt x="15464" y="30928"/>
                    </a:lnTo>
                    <a:lnTo>
                      <a:pt x="30929" y="52578"/>
                    </a:lnTo>
                    <a:cubicBezTo>
                      <a:pt x="27836" y="55671"/>
                      <a:pt x="24743" y="61857"/>
                      <a:pt x="21650" y="68042"/>
                    </a:cubicBezTo>
                    <a:lnTo>
                      <a:pt x="0" y="74228"/>
                    </a:lnTo>
                    <a:lnTo>
                      <a:pt x="0" y="83507"/>
                    </a:ln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B45B589D-5E09-4929-9DF2-57BE838257C8}"/>
                  </a:ext>
                </a:extLst>
              </p:cNvPr>
              <p:cNvSpPr/>
              <p:nvPr/>
            </p:nvSpPr>
            <p:spPr>
              <a:xfrm>
                <a:off x="10416707" y="4249271"/>
                <a:ext cx="86599" cy="43299"/>
              </a:xfrm>
              <a:custGeom>
                <a:avLst/>
                <a:gdLst>
                  <a:gd name="connsiteX0" fmla="*/ 0 w 86599"/>
                  <a:gd name="connsiteY0" fmla="*/ 43300 h 43299"/>
                  <a:gd name="connsiteX1" fmla="*/ 43300 w 86599"/>
                  <a:gd name="connsiteY1" fmla="*/ 0 h 43299"/>
                  <a:gd name="connsiteX2" fmla="*/ 86600 w 86599"/>
                  <a:gd name="connsiteY2" fmla="*/ 43300 h 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599" h="43299">
                    <a:moveTo>
                      <a:pt x="0" y="43300"/>
                    </a:moveTo>
                    <a:cubicBezTo>
                      <a:pt x="0" y="18557"/>
                      <a:pt x="18557" y="0"/>
                      <a:pt x="43300" y="0"/>
                    </a:cubicBezTo>
                    <a:cubicBezTo>
                      <a:pt x="68043" y="0"/>
                      <a:pt x="86600" y="18557"/>
                      <a:pt x="86600" y="43300"/>
                    </a:cubicBez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7903B340-CFE7-4B50-AA63-3A290B1C43B9}"/>
                  </a:ext>
                </a:extLst>
              </p:cNvPr>
              <p:cNvSpPr/>
              <p:nvPr/>
            </p:nvSpPr>
            <p:spPr>
              <a:xfrm>
                <a:off x="10447635" y="4283292"/>
                <a:ext cx="18557" cy="9278"/>
              </a:xfrm>
              <a:custGeom>
                <a:avLst/>
                <a:gdLst>
                  <a:gd name="connsiteX0" fmla="*/ 0 w 18557"/>
                  <a:gd name="connsiteY0" fmla="*/ 9279 h 9278"/>
                  <a:gd name="connsiteX1" fmla="*/ 9279 w 18557"/>
                  <a:gd name="connsiteY1" fmla="*/ 0 h 9278"/>
                  <a:gd name="connsiteX2" fmla="*/ 18557 w 18557"/>
                  <a:gd name="connsiteY2" fmla="*/ 9279 h 9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557" h="9278">
                    <a:moveTo>
                      <a:pt x="0" y="9279"/>
                    </a:moveTo>
                    <a:cubicBezTo>
                      <a:pt x="0" y="3093"/>
                      <a:pt x="6186" y="0"/>
                      <a:pt x="9279" y="0"/>
                    </a:cubicBezTo>
                    <a:cubicBezTo>
                      <a:pt x="15464" y="0"/>
                      <a:pt x="18557" y="6186"/>
                      <a:pt x="18557" y="9279"/>
                    </a:cubicBez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64" name="标题 1">
            <a:extLst>
              <a:ext uri="{FF2B5EF4-FFF2-40B4-BE49-F238E27FC236}">
                <a16:creationId xmlns:a16="http://schemas.microsoft.com/office/drawing/2014/main" id="{990B7173-3346-44BA-9057-4523D929071B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Option B</a:t>
            </a:r>
            <a:r>
              <a:rPr lang="zh-CN" altLang="en-US" dirty="0"/>
              <a:t>：</a:t>
            </a:r>
            <a:r>
              <a:rPr lang="en-US" altLang="zh-CN" dirty="0" err="1"/>
              <a:t>SMore</a:t>
            </a:r>
            <a:r>
              <a:rPr lang="en-US" altLang="zh-CN" dirty="0"/>
              <a:t> OCR Edge </a:t>
            </a:r>
            <a:r>
              <a:rPr lang="zh-CN" altLang="en-US" dirty="0"/>
              <a:t>版</a:t>
            </a:r>
          </a:p>
        </p:txBody>
      </p:sp>
      <p:pic>
        <p:nvPicPr>
          <p:cNvPr id="66" name="图片 65">
            <a:extLst>
              <a:ext uri="{FF2B5EF4-FFF2-40B4-BE49-F238E27FC236}">
                <a16:creationId xmlns:a16="http://schemas.microsoft.com/office/drawing/2014/main" id="{30EBDD5E-BCEE-4D0C-B04A-3BD5515DE128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510" b="92795" l="3312" r="96042">
                        <a14:foregroundMark x1="3312" y1="45821" x2="4523" y2="78098"/>
                        <a14:foregroundMark x1="11874" y1="23631" x2="56139" y2="39769"/>
                        <a14:foregroundMark x1="56139" y1="39769" x2="85784" y2="25072"/>
                        <a14:foregroundMark x1="19305" y1="10375" x2="84976" y2="20749"/>
                        <a14:foregroundMark x1="96042" y1="41210" x2="94830" y2="92795"/>
                        <a14:foregroundMark x1="4120" y1="88473" x2="48061" y2="80980"/>
                        <a14:foregroundMark x1="48061" y1="80980" x2="95638" y2="8991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92802" y="2065556"/>
            <a:ext cx="1908248" cy="533324"/>
          </a:xfrm>
          <a:prstGeom prst="rect">
            <a:avLst/>
          </a:prstGeom>
        </p:spPr>
      </p:pic>
      <p:pic>
        <p:nvPicPr>
          <p:cNvPr id="67" name="图片 66">
            <a:extLst>
              <a:ext uri="{FF2B5EF4-FFF2-40B4-BE49-F238E27FC236}">
                <a16:creationId xmlns:a16="http://schemas.microsoft.com/office/drawing/2014/main" id="{E06CAA28-EB99-4F07-A6F6-1003C6C35CFF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01" b="98198" l="1606" r="89960">
                        <a14:foregroundMark x1="14458" y1="11261" x2="12048" y2="88739"/>
                        <a14:foregroundMark x1="4016" y1="12162" x2="61847" y2="7658"/>
                        <a14:foregroundMark x1="61847" y1="7658" x2="85141" y2="65766"/>
                        <a14:foregroundMark x1="85141" y1="65766" x2="59036" y2="95946"/>
                        <a14:foregroundMark x1="82731" y1="33333" x2="77510" y2="13514"/>
                        <a14:foregroundMark x1="69478" y1="4054" x2="2811" y2="901"/>
                        <a14:foregroundMark x1="50602" y1="3153" x2="68273" y2="1802"/>
                        <a14:foregroundMark x1="2008" y1="4054" x2="7229" y2="82883"/>
                        <a14:foregroundMark x1="64257" y1="98198" x2="68273" y2="96847"/>
                        <a14:foregroundMark x1="10040" y1="93694" x2="12048" y2="94595"/>
                      </a14:backgroundRemoval>
                    </a14:imgEffect>
                  </a14:imgLayer>
                </a14:imgProps>
              </a:ext>
            </a:extLst>
          </a:blip>
          <a:srcRect l="1637" r="9783" b="3251"/>
          <a:stretch>
            <a:fillRect/>
          </a:stretch>
        </p:blipFill>
        <p:spPr>
          <a:xfrm>
            <a:off x="673141" y="1924532"/>
            <a:ext cx="833958" cy="815373"/>
          </a:xfrm>
          <a:prstGeom prst="rect">
            <a:avLst/>
          </a:prstGeom>
        </p:spPr>
      </p:pic>
      <p:pic>
        <p:nvPicPr>
          <p:cNvPr id="68" name="图片 67">
            <a:extLst>
              <a:ext uri="{FF2B5EF4-FFF2-40B4-BE49-F238E27FC236}">
                <a16:creationId xmlns:a16="http://schemas.microsoft.com/office/drawing/2014/main" id="{BC817CE0-C948-449E-945C-373BD00B0F9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7851" b="88843" l="5231" r="93231">
                        <a14:foregroundMark x1="5538" y1="78099" x2="9846" y2="51240"/>
                        <a14:foregroundMark x1="73231" y1="8264" x2="80000" y2="9504"/>
                        <a14:foregroundMark x1="92308" y1="39669" x2="93231" y2="21074"/>
                      </a14:backgroundRemoval>
                    </a14:imgEffect>
                  </a14:imgLayer>
                </a14:imgProps>
              </a:ext>
            </a:extLst>
          </a:blip>
          <a:srcRect t="911" r="3004" b="3863"/>
          <a:stretch>
            <a:fillRect/>
          </a:stretch>
        </p:blipFill>
        <p:spPr>
          <a:xfrm flipH="1">
            <a:off x="1595517" y="1922553"/>
            <a:ext cx="1117356" cy="819330"/>
          </a:xfrm>
          <a:prstGeom prst="rect">
            <a:avLst/>
          </a:prstGeom>
        </p:spPr>
      </p:pic>
      <p:pic>
        <p:nvPicPr>
          <p:cNvPr id="69" name="图片 68">
            <a:extLst>
              <a:ext uri="{FF2B5EF4-FFF2-40B4-BE49-F238E27FC236}">
                <a16:creationId xmlns:a16="http://schemas.microsoft.com/office/drawing/2014/main" id="{222EBD9E-36B4-4CE5-A6DF-92C053C405F4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2F1F2"/>
              </a:clrFrom>
              <a:clrTo>
                <a:srgbClr val="F2F1F2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8939" b="88827" l="6468" r="96517">
                        <a14:foregroundMark x1="83085" y1="28492" x2="91542" y2="59777"/>
                        <a14:foregroundMark x1="7463" y1="50279" x2="7463" y2="59777"/>
                        <a14:foregroundMark x1="6468" y1="60894" x2="7463" y2="68715"/>
                        <a14:foregroundMark x1="7463" y1="67598" x2="9453" y2="66480"/>
                        <a14:foregroundMark x1="94527" y1="17318" x2="96517" y2="62011"/>
                      </a14:backgroundRemoval>
                    </a14:imgEffect>
                  </a14:imgLayer>
                </a14:imgProps>
              </a:ext>
            </a:extLst>
          </a:blip>
          <a:srcRect l="4306" t="6696" b="10659"/>
          <a:stretch>
            <a:fillRect/>
          </a:stretch>
        </p:blipFill>
        <p:spPr>
          <a:xfrm>
            <a:off x="3613399" y="1906762"/>
            <a:ext cx="1107020" cy="850912"/>
          </a:xfrm>
          <a:prstGeom prst="rect">
            <a:avLst/>
          </a:prstGeom>
        </p:spPr>
      </p:pic>
      <p:pic>
        <p:nvPicPr>
          <p:cNvPr id="70" name="图片 69">
            <a:extLst>
              <a:ext uri="{FF2B5EF4-FFF2-40B4-BE49-F238E27FC236}">
                <a16:creationId xmlns:a16="http://schemas.microsoft.com/office/drawing/2014/main" id="{A0D9B1C7-D9E1-4DA4-81E1-BEB29DEA8336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8784" b="92230" l="3687" r="89862">
                        <a14:foregroundMark x1="35945" y1="13176" x2="80645" y2="26014"/>
                        <a14:foregroundMark x1="4147" y1="44595" x2="18433" y2="46622"/>
                        <a14:foregroundMark x1="26267" y1="80405" x2="75576" y2="80405"/>
                        <a14:foregroundMark x1="52074" y1="90878" x2="26267" y2="79392"/>
                        <a14:foregroundMark x1="26267" y1="81419" x2="13825" y2="72297"/>
                        <a14:foregroundMark x1="78802" y1="86149" x2="78802" y2="71284"/>
                        <a14:foregroundMark x1="83871" y1="88514" x2="85253" y2="73311"/>
                        <a14:foregroundMark x1="39631" y1="8784" x2="61751" y2="8784"/>
                        <a14:foregroundMark x1="44700" y1="92230" x2="67742" y2="87162"/>
                        <a14:foregroundMark x1="75576" y1="75676" x2="61751" y2="85473"/>
                        <a14:foregroundMark x1="70507" y1="80405" x2="63594" y2="87838"/>
                        <a14:foregroundMark x1="21659" y1="78378" x2="49309" y2="82095"/>
                        <a14:foregroundMark x1="30415" y1="80743" x2="42857" y2="8513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33266" y="1841827"/>
            <a:ext cx="715706" cy="980783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C1195AB5-DAAF-4A8C-93E5-283173DD2472}"/>
              </a:ext>
            </a:extLst>
          </p:cNvPr>
          <p:cNvGrpSpPr/>
          <p:nvPr/>
        </p:nvGrpSpPr>
        <p:grpSpPr>
          <a:xfrm>
            <a:off x="9276799" y="1547479"/>
            <a:ext cx="2340526" cy="1277378"/>
            <a:chOff x="7335739" y="1199025"/>
            <a:chExt cx="4691161" cy="2560277"/>
          </a:xfrm>
        </p:grpSpPr>
        <p:pic>
          <p:nvPicPr>
            <p:cNvPr id="71" name="Picture 1">
              <a:extLst>
                <a:ext uri="{FF2B5EF4-FFF2-40B4-BE49-F238E27FC236}">
                  <a16:creationId xmlns:a16="http://schemas.microsoft.com/office/drawing/2014/main" id="{76665689-8C38-48AB-AEF7-198127276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739" y="1199025"/>
              <a:ext cx="4691161" cy="2560277"/>
            </a:xfrm>
            <a:prstGeom prst="rect">
              <a:avLst/>
            </a:prstGeom>
          </p:spPr>
        </p:pic>
        <p:pic>
          <p:nvPicPr>
            <p:cNvPr id="65" name="图片 64">
              <a:extLst>
                <a:ext uri="{FF2B5EF4-FFF2-40B4-BE49-F238E27FC236}">
                  <a16:creationId xmlns:a16="http://schemas.microsoft.com/office/drawing/2014/main" id="{8ED1DC32-664C-472E-8289-7BA4A812D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914608" y="1375693"/>
              <a:ext cx="3533422" cy="2094581"/>
            </a:xfrm>
            <a:prstGeom prst="rect">
              <a:avLst/>
            </a:prstGeom>
          </p:spPr>
        </p:pic>
      </p:grpSp>
      <p:sp>
        <p:nvSpPr>
          <p:cNvPr id="120" name="矩形 19">
            <a:extLst>
              <a:ext uri="{FF2B5EF4-FFF2-40B4-BE49-F238E27FC236}">
                <a16:creationId xmlns:a16="http://schemas.microsoft.com/office/drawing/2014/main" id="{CF65EB49-3C72-4B2E-AF72-C7D8FB8A6F1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46419" y="2910462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条形光源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23" name="矩形 19">
            <a:extLst>
              <a:ext uri="{FF2B5EF4-FFF2-40B4-BE49-F238E27FC236}">
                <a16:creationId xmlns:a16="http://schemas.microsoft.com/office/drawing/2014/main" id="{D0A8C9BE-CBF8-428C-BBAA-F4190507AE6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05399" y="2910462"/>
            <a:ext cx="769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光源控制器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25" name="矩形 19">
            <a:extLst>
              <a:ext uri="{FF2B5EF4-FFF2-40B4-BE49-F238E27FC236}">
                <a16:creationId xmlns:a16="http://schemas.microsoft.com/office/drawing/2014/main" id="{91184E09-A503-4145-BF54-31AA493860B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13021" y="2910462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相机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26" name="矩形 19">
            <a:extLst>
              <a:ext uri="{FF2B5EF4-FFF2-40B4-BE49-F238E27FC236}">
                <a16:creationId xmlns:a16="http://schemas.microsoft.com/office/drawing/2014/main" id="{AD838F4A-552A-406B-96A4-B14ABA73A05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937231" y="2910462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镜头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29" name="矩形 19">
            <a:extLst>
              <a:ext uri="{FF2B5EF4-FFF2-40B4-BE49-F238E27FC236}">
                <a16:creationId xmlns:a16="http://schemas.microsoft.com/office/drawing/2014/main" id="{80662ADB-C18E-4767-8986-A53A157B440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54428" y="2910462"/>
            <a:ext cx="13849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业边缘计算服务器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30" name="矩形 19">
            <a:extLst>
              <a:ext uri="{FF2B5EF4-FFF2-40B4-BE49-F238E27FC236}">
                <a16:creationId xmlns:a16="http://schemas.microsoft.com/office/drawing/2014/main" id="{9700BB00-833F-407C-A3C7-B27B1593DB2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513544" y="2910462"/>
            <a:ext cx="168956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n-US" altLang="zh-CN" sz="12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More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Insight 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推理产品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31" name="十字形 130">
            <a:extLst>
              <a:ext uri="{FF2B5EF4-FFF2-40B4-BE49-F238E27FC236}">
                <a16:creationId xmlns:a16="http://schemas.microsoft.com/office/drawing/2014/main" id="{27A2B2BC-86E4-4669-9470-E2C1F46354C3}"/>
              </a:ext>
            </a:extLst>
          </p:cNvPr>
          <p:cNvSpPr/>
          <p:nvPr/>
        </p:nvSpPr>
        <p:spPr>
          <a:xfrm>
            <a:off x="2995591" y="2278592"/>
            <a:ext cx="290512" cy="290512"/>
          </a:xfrm>
          <a:prstGeom prst="plus">
            <a:avLst>
              <a:gd name="adj" fmla="val 4064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箭头: 右 131">
            <a:extLst>
              <a:ext uri="{FF2B5EF4-FFF2-40B4-BE49-F238E27FC236}">
                <a16:creationId xmlns:a16="http://schemas.microsoft.com/office/drawing/2014/main" id="{3460D68E-74C2-43A1-9F23-5ED761D6EFBD}"/>
              </a:ext>
            </a:extLst>
          </p:cNvPr>
          <p:cNvSpPr/>
          <p:nvPr/>
        </p:nvSpPr>
        <p:spPr>
          <a:xfrm>
            <a:off x="5614737" y="2185548"/>
            <a:ext cx="671513" cy="293341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0" scaled="1"/>
          </a:gradFill>
          <a:ln w="1270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箭头: 右 132">
            <a:extLst>
              <a:ext uri="{FF2B5EF4-FFF2-40B4-BE49-F238E27FC236}">
                <a16:creationId xmlns:a16="http://schemas.microsoft.com/office/drawing/2014/main" id="{E42B3981-E145-4D11-9C0E-66ED612CC6F6}"/>
              </a:ext>
            </a:extLst>
          </p:cNvPr>
          <p:cNvSpPr/>
          <p:nvPr/>
        </p:nvSpPr>
        <p:spPr>
          <a:xfrm>
            <a:off x="8542087" y="2185548"/>
            <a:ext cx="671513" cy="293341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0" scaled="1"/>
          </a:gradFill>
          <a:ln w="1270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22" name="组合 221">
            <a:extLst>
              <a:ext uri="{FF2B5EF4-FFF2-40B4-BE49-F238E27FC236}">
                <a16:creationId xmlns:a16="http://schemas.microsoft.com/office/drawing/2014/main" id="{3A563464-0E94-41FE-98E8-45A05CE628C1}"/>
              </a:ext>
            </a:extLst>
          </p:cNvPr>
          <p:cNvGrpSpPr/>
          <p:nvPr/>
        </p:nvGrpSpPr>
        <p:grpSpPr>
          <a:xfrm rot="16200000" flipH="1" flipV="1">
            <a:off x="1412072" y="3387957"/>
            <a:ext cx="633660" cy="352196"/>
            <a:chOff x="2610942" y="2505783"/>
            <a:chExt cx="976418" cy="314373"/>
          </a:xfrm>
        </p:grpSpPr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9709235F-3CCB-4299-A938-0FD71AF2C07F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24" name="直接连接符 223">
              <a:extLst>
                <a:ext uri="{FF2B5EF4-FFF2-40B4-BE49-F238E27FC236}">
                  <a16:creationId xmlns:a16="http://schemas.microsoft.com/office/drawing/2014/main" id="{90AAECCE-86E2-4425-9283-F768ECEAA45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1F8464B1-C4C4-4E7D-A291-A115AC843275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26" name="直接连接符 225">
              <a:extLst>
                <a:ext uri="{FF2B5EF4-FFF2-40B4-BE49-F238E27FC236}">
                  <a16:creationId xmlns:a16="http://schemas.microsoft.com/office/drawing/2014/main" id="{4983CAEF-EDAA-4D6E-AF9A-1D22BD37398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直接连接符 226">
              <a:extLst>
                <a:ext uri="{FF2B5EF4-FFF2-40B4-BE49-F238E27FC236}">
                  <a16:creationId xmlns:a16="http://schemas.microsoft.com/office/drawing/2014/main" id="{340EBF07-1F90-4BAD-B4EF-41F1E8E87C6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直接连接符 227">
              <a:extLst>
                <a:ext uri="{FF2B5EF4-FFF2-40B4-BE49-F238E27FC236}">
                  <a16:creationId xmlns:a16="http://schemas.microsoft.com/office/drawing/2014/main" id="{E442FFE4-084E-4A50-ACAA-5BDB03DC0C77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0" name="组合 229">
            <a:extLst>
              <a:ext uri="{FF2B5EF4-FFF2-40B4-BE49-F238E27FC236}">
                <a16:creationId xmlns:a16="http://schemas.microsoft.com/office/drawing/2014/main" id="{5339EF30-2F34-446A-93C6-FBB55455C8B8}"/>
              </a:ext>
            </a:extLst>
          </p:cNvPr>
          <p:cNvGrpSpPr/>
          <p:nvPr/>
        </p:nvGrpSpPr>
        <p:grpSpPr>
          <a:xfrm rot="16200000" flipH="1" flipV="1">
            <a:off x="4323472" y="3387957"/>
            <a:ext cx="633660" cy="352196"/>
            <a:chOff x="2610942" y="2505783"/>
            <a:chExt cx="976418" cy="314373"/>
          </a:xfrm>
        </p:grpSpPr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CFF5725B-0088-4C0E-9920-3B247DCBFCE6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32" name="直接连接符 231">
              <a:extLst>
                <a:ext uri="{FF2B5EF4-FFF2-40B4-BE49-F238E27FC236}">
                  <a16:creationId xmlns:a16="http://schemas.microsoft.com/office/drawing/2014/main" id="{EFBBBEBD-3FB3-4E27-BB78-F9C3EE3A2206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612DFA5C-4CD3-4433-8AFF-2FDA380E42FD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34" name="直接连接符 233">
              <a:extLst>
                <a:ext uri="{FF2B5EF4-FFF2-40B4-BE49-F238E27FC236}">
                  <a16:creationId xmlns:a16="http://schemas.microsoft.com/office/drawing/2014/main" id="{0109892A-CF33-4668-8318-D2E34C58976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直接连接符 234">
              <a:extLst>
                <a:ext uri="{FF2B5EF4-FFF2-40B4-BE49-F238E27FC236}">
                  <a16:creationId xmlns:a16="http://schemas.microsoft.com/office/drawing/2014/main" id="{B2F2D736-CE4F-4DF8-926A-DFC8DFC490DC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直接连接符 235">
              <a:extLst>
                <a:ext uri="{FF2B5EF4-FFF2-40B4-BE49-F238E27FC236}">
                  <a16:creationId xmlns:a16="http://schemas.microsoft.com/office/drawing/2014/main" id="{BE1500E0-DDF1-4EF6-96CF-03EC88CE9ED9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7" name="组合 236">
            <a:extLst>
              <a:ext uri="{FF2B5EF4-FFF2-40B4-BE49-F238E27FC236}">
                <a16:creationId xmlns:a16="http://schemas.microsoft.com/office/drawing/2014/main" id="{00AD3D79-2161-412A-886B-343051212C5A}"/>
              </a:ext>
            </a:extLst>
          </p:cNvPr>
          <p:cNvGrpSpPr/>
          <p:nvPr/>
        </p:nvGrpSpPr>
        <p:grpSpPr>
          <a:xfrm rot="16200000" flipH="1" flipV="1">
            <a:off x="7234871" y="3387957"/>
            <a:ext cx="633660" cy="352196"/>
            <a:chOff x="2610942" y="2505783"/>
            <a:chExt cx="976418" cy="314373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4036FA07-3984-4073-A023-B336BE50EFAC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39" name="直接连接符 238">
              <a:extLst>
                <a:ext uri="{FF2B5EF4-FFF2-40B4-BE49-F238E27FC236}">
                  <a16:creationId xmlns:a16="http://schemas.microsoft.com/office/drawing/2014/main" id="{342F054B-90DC-454E-AF32-D44CC1783FD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15B7773F-7D0C-4B76-8E6F-EEF3A7416288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41" name="直接连接符 240">
              <a:extLst>
                <a:ext uri="{FF2B5EF4-FFF2-40B4-BE49-F238E27FC236}">
                  <a16:creationId xmlns:a16="http://schemas.microsoft.com/office/drawing/2014/main" id="{8F71F97F-21C5-4C5A-8EFF-33F1F714FE4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直接连接符 241">
              <a:extLst>
                <a:ext uri="{FF2B5EF4-FFF2-40B4-BE49-F238E27FC236}">
                  <a16:creationId xmlns:a16="http://schemas.microsoft.com/office/drawing/2014/main" id="{DC8BD516-D483-4FD3-AF32-75167CC6D248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直接连接符 242">
              <a:extLst>
                <a:ext uri="{FF2B5EF4-FFF2-40B4-BE49-F238E27FC236}">
                  <a16:creationId xmlns:a16="http://schemas.microsoft.com/office/drawing/2014/main" id="{73279E52-183C-4930-80DB-4159EAB0EC28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4" name="组合 243">
            <a:extLst>
              <a:ext uri="{FF2B5EF4-FFF2-40B4-BE49-F238E27FC236}">
                <a16:creationId xmlns:a16="http://schemas.microsoft.com/office/drawing/2014/main" id="{5A7380A1-A9F8-4CC0-94B3-90E31AD137B3}"/>
              </a:ext>
            </a:extLst>
          </p:cNvPr>
          <p:cNvGrpSpPr/>
          <p:nvPr/>
        </p:nvGrpSpPr>
        <p:grpSpPr>
          <a:xfrm rot="16200000" flipH="1" flipV="1">
            <a:off x="10146270" y="3387957"/>
            <a:ext cx="633660" cy="352196"/>
            <a:chOff x="2610942" y="2505783"/>
            <a:chExt cx="976418" cy="314373"/>
          </a:xfrm>
        </p:grpSpPr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1538CE4D-7C2C-46C6-8443-6FD31C972C41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46" name="直接连接符 245">
              <a:extLst>
                <a:ext uri="{FF2B5EF4-FFF2-40B4-BE49-F238E27FC236}">
                  <a16:creationId xmlns:a16="http://schemas.microsoft.com/office/drawing/2014/main" id="{A1A4E5B3-753C-4453-89CA-BA0180789512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87475A81-FA03-4301-A5EB-C6505CA1ACC0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248" name="直接连接符 247">
              <a:extLst>
                <a:ext uri="{FF2B5EF4-FFF2-40B4-BE49-F238E27FC236}">
                  <a16:creationId xmlns:a16="http://schemas.microsoft.com/office/drawing/2014/main" id="{32784476-CC0A-4C8C-A6D5-39082DCDDB2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直接连接符 248">
              <a:extLst>
                <a:ext uri="{FF2B5EF4-FFF2-40B4-BE49-F238E27FC236}">
                  <a16:creationId xmlns:a16="http://schemas.microsoft.com/office/drawing/2014/main" id="{95125CD5-724A-459F-9871-92A9558FA42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直接连接符 249">
              <a:extLst>
                <a:ext uri="{FF2B5EF4-FFF2-40B4-BE49-F238E27FC236}">
                  <a16:creationId xmlns:a16="http://schemas.microsoft.com/office/drawing/2014/main" id="{E43E58C4-E7AF-40ED-B9E0-7E24D281F81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" name="矩形: 圆顶角 142">
            <a:extLst>
              <a:ext uri="{FF2B5EF4-FFF2-40B4-BE49-F238E27FC236}">
                <a16:creationId xmlns:a16="http://schemas.microsoft.com/office/drawing/2014/main" id="{C1C958ED-3DE6-4A6D-BD17-56FCE3D18669}"/>
              </a:ext>
            </a:extLst>
          </p:cNvPr>
          <p:cNvSpPr/>
          <p:nvPr/>
        </p:nvSpPr>
        <p:spPr>
          <a:xfrm>
            <a:off x="4596768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SDK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4" name="矩形: 圆顶角 143">
            <a:extLst>
              <a:ext uri="{FF2B5EF4-FFF2-40B4-BE49-F238E27FC236}">
                <a16:creationId xmlns:a16="http://schemas.microsoft.com/office/drawing/2014/main" id="{70CFAD8B-4D6A-44CF-910D-B2B4637D45AD}"/>
              </a:ext>
            </a:extLst>
          </p:cNvPr>
          <p:cNvSpPr/>
          <p:nvPr/>
        </p:nvSpPr>
        <p:spPr>
          <a:xfrm>
            <a:off x="5610000" y="6606000"/>
            <a:ext cx="972000" cy="252000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OCR Edge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45" name="矩形: 圆顶角 144">
            <a:extLst>
              <a:ext uri="{FF2B5EF4-FFF2-40B4-BE49-F238E27FC236}">
                <a16:creationId xmlns:a16="http://schemas.microsoft.com/office/drawing/2014/main" id="{68D4A5F2-87D8-4A3B-8CC3-4B3C1DC6FA4A}"/>
              </a:ext>
            </a:extLst>
          </p:cNvPr>
          <p:cNvSpPr/>
          <p:nvPr/>
        </p:nvSpPr>
        <p:spPr>
          <a:xfrm>
            <a:off x="6623232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Server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174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矩形: 圆角 106">
            <a:extLst>
              <a:ext uri="{FF2B5EF4-FFF2-40B4-BE49-F238E27FC236}">
                <a16:creationId xmlns:a16="http://schemas.microsoft.com/office/drawing/2014/main" id="{C6321338-8163-4B1F-A383-1727DDFD3C5F}"/>
              </a:ext>
            </a:extLst>
          </p:cNvPr>
          <p:cNvSpPr/>
          <p:nvPr/>
        </p:nvSpPr>
        <p:spPr>
          <a:xfrm>
            <a:off x="342900" y="1382559"/>
            <a:ext cx="6680200" cy="2448000"/>
          </a:xfrm>
          <a:prstGeom prst="roundRect">
            <a:avLst>
              <a:gd name="adj" fmla="val 300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873E1849-5123-4675-849B-83D7D81216A2}"/>
              </a:ext>
            </a:extLst>
          </p:cNvPr>
          <p:cNvSpPr/>
          <p:nvPr/>
        </p:nvSpPr>
        <p:spPr>
          <a:xfrm>
            <a:off x="9963162" y="12556462"/>
            <a:ext cx="221880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详细价格请咨询销售人员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标题 1">
            <a:extLst>
              <a:ext uri="{FF2B5EF4-FFF2-40B4-BE49-F238E27FC236}">
                <a16:creationId xmlns:a16="http://schemas.microsoft.com/office/drawing/2014/main" id="{614378F1-3A31-4391-AB24-D7B666BA13F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Option C</a:t>
            </a:r>
            <a:r>
              <a:rPr lang="zh-CN" altLang="en-US" dirty="0"/>
              <a:t>：</a:t>
            </a:r>
            <a:r>
              <a:rPr lang="en-US" altLang="zh-CN" dirty="0" err="1"/>
              <a:t>SMore</a:t>
            </a:r>
            <a:r>
              <a:rPr lang="en-US" altLang="zh-CN" dirty="0"/>
              <a:t> OCR Server </a:t>
            </a:r>
            <a:r>
              <a:rPr lang="zh-CN" altLang="en-US" dirty="0"/>
              <a:t>版</a:t>
            </a:r>
          </a:p>
        </p:txBody>
      </p:sp>
      <p:pic>
        <p:nvPicPr>
          <p:cNvPr id="95" name="图片 94">
            <a:extLst>
              <a:ext uri="{FF2B5EF4-FFF2-40B4-BE49-F238E27FC236}">
                <a16:creationId xmlns:a16="http://schemas.microsoft.com/office/drawing/2014/main" id="{1A2CEAC0-3D03-4FAD-9002-9B1D74FE470E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01" b="98198" l="1606" r="89960">
                        <a14:foregroundMark x1="14458" y1="11261" x2="12048" y2="88739"/>
                        <a14:foregroundMark x1="4016" y1="12162" x2="61847" y2="7658"/>
                        <a14:foregroundMark x1="61847" y1="7658" x2="85141" y2="65766"/>
                        <a14:foregroundMark x1="85141" y1="65766" x2="59036" y2="95946"/>
                        <a14:foregroundMark x1="82731" y1="33333" x2="77510" y2="13514"/>
                        <a14:foregroundMark x1="69478" y1="4054" x2="2811" y2="901"/>
                        <a14:foregroundMark x1="50602" y1="3153" x2="68273" y2="1802"/>
                        <a14:foregroundMark x1="2008" y1="4054" x2="7229" y2="82883"/>
                        <a14:foregroundMark x1="64257" y1="98198" x2="68273" y2="96847"/>
                        <a14:foregroundMark x1="10040" y1="93694" x2="12048" y2="94595"/>
                      </a14:backgroundRemoval>
                    </a14:imgEffect>
                  </a14:imgLayer>
                </a14:imgProps>
              </a:ext>
            </a:extLst>
          </a:blip>
          <a:srcRect l="1637" r="9783" b="3251"/>
          <a:stretch>
            <a:fillRect/>
          </a:stretch>
        </p:blipFill>
        <p:spPr>
          <a:xfrm>
            <a:off x="679813" y="1906476"/>
            <a:ext cx="621644" cy="607790"/>
          </a:xfrm>
          <a:prstGeom prst="rect">
            <a:avLst/>
          </a:prstGeom>
        </p:spPr>
      </p:pic>
      <p:pic>
        <p:nvPicPr>
          <p:cNvPr id="96" name="图片 95">
            <a:extLst>
              <a:ext uri="{FF2B5EF4-FFF2-40B4-BE49-F238E27FC236}">
                <a16:creationId xmlns:a16="http://schemas.microsoft.com/office/drawing/2014/main" id="{AEB1ECC3-C7CD-43F5-A7B1-230C264CE7BA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7851" b="88843" l="5231" r="93231">
                        <a14:foregroundMark x1="5538" y1="78099" x2="9846" y2="51240"/>
                        <a14:foregroundMark x1="73231" y1="8264" x2="80000" y2="9504"/>
                        <a14:foregroundMark x1="92308" y1="39669" x2="93231" y2="21074"/>
                      </a14:backgroundRemoval>
                    </a14:imgEffect>
                  </a14:imgLayer>
                </a14:imgProps>
              </a:ext>
            </a:extLst>
          </a:blip>
          <a:srcRect t="911" r="3004" b="3863"/>
          <a:stretch>
            <a:fillRect/>
          </a:stretch>
        </p:blipFill>
        <p:spPr>
          <a:xfrm flipH="1">
            <a:off x="1470867" y="1905000"/>
            <a:ext cx="832892" cy="610740"/>
          </a:xfrm>
          <a:prstGeom prst="rect">
            <a:avLst/>
          </a:prstGeom>
        </p:spPr>
      </p:pic>
      <p:pic>
        <p:nvPicPr>
          <p:cNvPr id="97" name="图片 96">
            <a:extLst>
              <a:ext uri="{FF2B5EF4-FFF2-40B4-BE49-F238E27FC236}">
                <a16:creationId xmlns:a16="http://schemas.microsoft.com/office/drawing/2014/main" id="{3171FCD1-9694-4CC5-9095-5B619070606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2F1F2"/>
              </a:clrFrom>
              <a:clrTo>
                <a:srgbClr val="F2F1F2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8939" b="88827" l="6468" r="96517">
                        <a14:foregroundMark x1="83085" y1="28492" x2="91542" y2="59777"/>
                        <a14:foregroundMark x1="7463" y1="50279" x2="7463" y2="59777"/>
                        <a14:foregroundMark x1="6468" y1="60894" x2="7463" y2="68715"/>
                        <a14:foregroundMark x1="7463" y1="67598" x2="9453" y2="66480"/>
                        <a14:foregroundMark x1="94527" y1="17318" x2="96517" y2="62011"/>
                      </a14:backgroundRemoval>
                    </a14:imgEffect>
                  </a14:imgLayer>
                </a14:imgProps>
              </a:ext>
            </a:extLst>
          </a:blip>
          <a:srcRect l="4306" t="6696" b="10659"/>
          <a:stretch>
            <a:fillRect/>
          </a:stretch>
        </p:blipFill>
        <p:spPr>
          <a:xfrm>
            <a:off x="578041" y="2602804"/>
            <a:ext cx="825188" cy="634282"/>
          </a:xfrm>
          <a:prstGeom prst="rect">
            <a:avLst/>
          </a:prstGeom>
        </p:spPr>
      </p:pic>
      <p:pic>
        <p:nvPicPr>
          <p:cNvPr id="98" name="图片 97">
            <a:extLst>
              <a:ext uri="{FF2B5EF4-FFF2-40B4-BE49-F238E27FC236}">
                <a16:creationId xmlns:a16="http://schemas.microsoft.com/office/drawing/2014/main" id="{06D8F271-0D76-40A7-BD87-8D90765675F4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784" b="92230" l="3687" r="89862">
                        <a14:foregroundMark x1="35945" y1="13176" x2="80645" y2="26014"/>
                        <a14:foregroundMark x1="4147" y1="44595" x2="18433" y2="46622"/>
                        <a14:foregroundMark x1="26267" y1="80405" x2="75576" y2="80405"/>
                        <a14:foregroundMark x1="52074" y1="90878" x2="26267" y2="79392"/>
                        <a14:foregroundMark x1="26267" y1="81419" x2="13825" y2="72297"/>
                        <a14:foregroundMark x1="78802" y1="86149" x2="78802" y2="71284"/>
                        <a14:foregroundMark x1="83871" y1="88514" x2="85253" y2="73311"/>
                        <a14:foregroundMark x1="39631" y1="8784" x2="61751" y2="8784"/>
                        <a14:foregroundMark x1="44700" y1="92230" x2="67742" y2="87162"/>
                        <a14:foregroundMark x1="75576" y1="75676" x2="61751" y2="85473"/>
                        <a14:foregroundMark x1="70507" y1="80405" x2="63594" y2="87838"/>
                        <a14:foregroundMark x1="21659" y1="78378" x2="49309" y2="82095"/>
                        <a14:foregroundMark x1="30415" y1="80743" x2="42857" y2="8513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20565" y="2509952"/>
            <a:ext cx="533496" cy="731088"/>
          </a:xfrm>
          <a:prstGeom prst="rect">
            <a:avLst/>
          </a:prstGeom>
        </p:spPr>
      </p:pic>
      <p:pic>
        <p:nvPicPr>
          <p:cNvPr id="103" name="图片 102">
            <a:extLst>
              <a:ext uri="{FF2B5EF4-FFF2-40B4-BE49-F238E27FC236}">
                <a16:creationId xmlns:a16="http://schemas.microsoft.com/office/drawing/2014/main" id="{C0068EE5-9186-4D84-A72F-92D413A0FF7F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9455" b="92364" l="7692" r="90237">
                        <a14:foregroundMark x1="42899" y1="17818" x2="47337" y2="34182"/>
                        <a14:foregroundMark x1="23077" y1="43636" x2="43491" y2="67273"/>
                        <a14:foregroundMark x1="18639" y1="36727" x2="33136" y2="67636"/>
                        <a14:foregroundMark x1="33136" y1="67636" x2="28402" y2="76000"/>
                        <a14:foregroundMark x1="31657" y1="36727" x2="32840" y2="51636"/>
                        <a14:foregroundMark x1="38462" y1="36364" x2="39645" y2="49818"/>
                        <a14:foregroundMark x1="90237" y1="25455" x2="90237" y2="76727"/>
                        <a14:foregroundMark x1="28994" y1="34182" x2="27515" y2="45091"/>
                        <a14:foregroundMark x1="7988" y1="16000" x2="10947" y2="83636"/>
                        <a14:foregroundMark x1="64201" y1="92364" x2="30769" y2="89818"/>
                      </a14:backgroundRemoval>
                    </a14:imgEffect>
                  </a14:imgLayer>
                </a14:imgProps>
              </a:ext>
            </a:extLst>
          </a:blip>
          <a:srcRect l="7778" t="9141" r="5666" b="5901"/>
          <a:stretch>
            <a:fillRect/>
          </a:stretch>
        </p:blipFill>
        <p:spPr>
          <a:xfrm>
            <a:off x="2980322" y="2025179"/>
            <a:ext cx="1576256" cy="1180668"/>
          </a:xfrm>
          <a:prstGeom prst="rect">
            <a:avLst/>
          </a:prstGeom>
        </p:spPr>
      </p:pic>
      <p:pic>
        <p:nvPicPr>
          <p:cNvPr id="106" name="图片 49">
            <a:extLst>
              <a:ext uri="{FF2B5EF4-FFF2-40B4-BE49-F238E27FC236}">
                <a16:creationId xmlns:a16="http://schemas.microsoft.com/office/drawing/2014/main" id="{DBBBCA54-0493-483E-997E-7B438375FCCB}"/>
              </a:ext>
            </a:extLst>
          </p:cNvPr>
          <p:cNvPicPr>
            <a:picLocks noChangeAspect="1"/>
          </p:cNvPicPr>
          <p:nvPr/>
        </p:nvPicPr>
        <p:blipFill>
          <a:blip r:embed="rId2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7071" b="95960" l="2679" r="95536">
                        <a14:foregroundMark x1="28571" y1="19192" x2="79911" y2="44949"/>
                        <a14:foregroundMark x1="24107" y1="19192" x2="42857" y2="11111"/>
                        <a14:foregroundMark x1="3571" y1="41919" x2="9821" y2="41919"/>
                        <a14:foregroundMark x1="17857" y1="50000" x2="78125" y2="64646"/>
                        <a14:foregroundMark x1="78125" y1="64646" x2="81250" y2="37879"/>
                        <a14:foregroundMark x1="58482" y1="77273" x2="15625" y2="51515"/>
                        <a14:foregroundMark x1="38393" y1="85354" x2="79018" y2="75758"/>
                        <a14:foregroundMark x1="89732" y1="43434" x2="79911" y2="31313"/>
                        <a14:foregroundMark x1="28571" y1="40909" x2="26339" y2="15152"/>
                        <a14:foregroundMark x1="47768" y1="19192" x2="33482" y2="7071"/>
                        <a14:foregroundMark x1="77679" y1="39394" x2="34821" y2="17677"/>
                        <a14:foregroundMark x1="38393" y1="95960" x2="47768" y2="93434"/>
                        <a14:foregroundMark x1="83482" y1="66162" x2="95536" y2="55556"/>
                        <a14:foregroundMark x1="82589" y1="51515" x2="94196" y2="50000"/>
                        <a14:foregroundMark x1="3571" y1="40909" x2="3571" y2="40909"/>
                        <a14:foregroundMark x1="2679" y1="36869" x2="2679" y2="368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74848" y="2098787"/>
            <a:ext cx="1242304" cy="1033452"/>
          </a:xfrm>
          <a:prstGeom prst="rect">
            <a:avLst/>
          </a:prstGeom>
        </p:spPr>
      </p:pic>
      <p:sp>
        <p:nvSpPr>
          <p:cNvPr id="108" name="矩形: 圆顶角 107">
            <a:extLst>
              <a:ext uri="{FF2B5EF4-FFF2-40B4-BE49-F238E27FC236}">
                <a16:creationId xmlns:a16="http://schemas.microsoft.com/office/drawing/2014/main" id="{7DAAE1C4-67D4-4AF6-BCE3-225E3E939B04}"/>
              </a:ext>
            </a:extLst>
          </p:cNvPr>
          <p:cNvSpPr/>
          <p:nvPr/>
        </p:nvSpPr>
        <p:spPr>
          <a:xfrm>
            <a:off x="342900" y="4523874"/>
            <a:ext cx="2196000" cy="1405744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矩形 19">
            <a:extLst>
              <a:ext uri="{FF2B5EF4-FFF2-40B4-BE49-F238E27FC236}">
                <a16:creationId xmlns:a16="http://schemas.microsoft.com/office/drawing/2014/main" id="{56AA8533-E121-4C86-8AE0-AF96761866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83729" y="3303164"/>
            <a:ext cx="769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工业服务器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111" name="矩形 19">
            <a:extLst>
              <a:ext uri="{FF2B5EF4-FFF2-40B4-BE49-F238E27FC236}">
                <a16:creationId xmlns:a16="http://schemas.microsoft.com/office/drawing/2014/main" id="{E7D186FF-F474-4205-861F-AE74909FE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057907" y="2758641"/>
            <a:ext cx="731288" cy="216000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训练平台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2" name="矩形 19">
            <a:extLst>
              <a:ext uri="{FF2B5EF4-FFF2-40B4-BE49-F238E27FC236}">
                <a16:creationId xmlns:a16="http://schemas.microsoft.com/office/drawing/2014/main" id="{0C55DDCC-90A8-4F42-93D5-04FFC1856A3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8224" y="3303164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算法</a:t>
            </a:r>
            <a:r>
              <a: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SDK</a:t>
            </a:r>
          </a:p>
        </p:txBody>
      </p:sp>
      <p:sp>
        <p:nvSpPr>
          <p:cNvPr id="113" name="矩形 19">
            <a:extLst>
              <a:ext uri="{FF2B5EF4-FFF2-40B4-BE49-F238E27FC236}">
                <a16:creationId xmlns:a16="http://schemas.microsoft.com/office/drawing/2014/main" id="{F2FF61C4-FFCA-4120-B78A-70E620B9790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385457" y="2101916"/>
            <a:ext cx="731288" cy="216000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运行平台</a:t>
            </a:r>
          </a:p>
        </p:txBody>
      </p:sp>
      <p:sp>
        <p:nvSpPr>
          <p:cNvPr id="116" name="矩形: 圆顶角 115">
            <a:extLst>
              <a:ext uri="{FF2B5EF4-FFF2-40B4-BE49-F238E27FC236}">
                <a16:creationId xmlns:a16="http://schemas.microsoft.com/office/drawing/2014/main" id="{5FA6F0BD-B250-4E48-B8F2-D2532231643D}"/>
              </a:ext>
            </a:extLst>
          </p:cNvPr>
          <p:cNvSpPr/>
          <p:nvPr/>
        </p:nvSpPr>
        <p:spPr>
          <a:xfrm>
            <a:off x="2670450" y="4523874"/>
            <a:ext cx="2196000" cy="1405744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: 圆顶角 116">
            <a:extLst>
              <a:ext uri="{FF2B5EF4-FFF2-40B4-BE49-F238E27FC236}">
                <a16:creationId xmlns:a16="http://schemas.microsoft.com/office/drawing/2014/main" id="{86EB17FF-9EDA-434C-BD93-CF3E4E92B107}"/>
              </a:ext>
            </a:extLst>
          </p:cNvPr>
          <p:cNvSpPr/>
          <p:nvPr/>
        </p:nvSpPr>
        <p:spPr>
          <a:xfrm>
            <a:off x="4998000" y="4523874"/>
            <a:ext cx="2196000" cy="1405744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8" name="矩形: 圆顶角 117">
            <a:extLst>
              <a:ext uri="{FF2B5EF4-FFF2-40B4-BE49-F238E27FC236}">
                <a16:creationId xmlns:a16="http://schemas.microsoft.com/office/drawing/2014/main" id="{242F1BF4-FDA4-4BF3-940B-7639D19381E4}"/>
              </a:ext>
            </a:extLst>
          </p:cNvPr>
          <p:cNvSpPr/>
          <p:nvPr/>
        </p:nvSpPr>
        <p:spPr>
          <a:xfrm>
            <a:off x="7325550" y="4523874"/>
            <a:ext cx="2196000" cy="1405744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矩形: 圆顶角 118">
            <a:extLst>
              <a:ext uri="{FF2B5EF4-FFF2-40B4-BE49-F238E27FC236}">
                <a16:creationId xmlns:a16="http://schemas.microsoft.com/office/drawing/2014/main" id="{AA9EABD7-41B6-4404-A860-1446AA346160}"/>
              </a:ext>
            </a:extLst>
          </p:cNvPr>
          <p:cNvSpPr/>
          <p:nvPr/>
        </p:nvSpPr>
        <p:spPr>
          <a:xfrm>
            <a:off x="9653100" y="4523874"/>
            <a:ext cx="2196000" cy="1405744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8E052690-4F4A-4E3B-9C2D-BF6FC19DD791}"/>
              </a:ext>
            </a:extLst>
          </p:cNvPr>
          <p:cNvSpPr txBox="1"/>
          <p:nvPr/>
        </p:nvSpPr>
        <p:spPr>
          <a:xfrm>
            <a:off x="342900" y="1382559"/>
            <a:ext cx="6680199" cy="324000"/>
          </a:xfrm>
          <a:prstGeom prst="round2SameRect">
            <a:avLst>
              <a:gd name="adj1" fmla="val 3077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软硬一体</a:t>
            </a:r>
            <a:r>
              <a:rPr lang="zh-CN" altLang="en-US"/>
              <a:t>解决方案</a:t>
            </a:r>
            <a:endParaRPr lang="en-US" altLang="zh-CN" dirty="0"/>
          </a:p>
        </p:txBody>
      </p:sp>
      <p:sp>
        <p:nvSpPr>
          <p:cNvPr id="122" name="矩形 19">
            <a:extLst>
              <a:ext uri="{FF2B5EF4-FFF2-40B4-BE49-F238E27FC236}">
                <a16:creationId xmlns:a16="http://schemas.microsoft.com/office/drawing/2014/main" id="{1993CE16-7637-4B43-AAB8-ED126F7F989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56179" y="3303164"/>
            <a:ext cx="769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光源及成像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</a:endParaRPr>
          </a:p>
        </p:txBody>
      </p:sp>
      <p:sp>
        <p:nvSpPr>
          <p:cNvPr id="124" name="箭头: 右 123">
            <a:extLst>
              <a:ext uri="{FF2B5EF4-FFF2-40B4-BE49-F238E27FC236}">
                <a16:creationId xmlns:a16="http://schemas.microsoft.com/office/drawing/2014/main" id="{BC89C3B5-4B91-4F00-B0F0-BFA3C48D0AD7}"/>
              </a:ext>
            </a:extLst>
          </p:cNvPr>
          <p:cNvSpPr/>
          <p:nvPr/>
        </p:nvSpPr>
        <p:spPr>
          <a:xfrm>
            <a:off x="2252978" y="2468843"/>
            <a:ext cx="671513" cy="293341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0" scaled="1"/>
          </a:gradFill>
          <a:ln w="1270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任意多边形: 形状 124">
            <a:extLst>
              <a:ext uri="{FF2B5EF4-FFF2-40B4-BE49-F238E27FC236}">
                <a16:creationId xmlns:a16="http://schemas.microsoft.com/office/drawing/2014/main" id="{629F99AB-1170-4987-AE20-72102CF765B3}"/>
              </a:ext>
            </a:extLst>
          </p:cNvPr>
          <p:cNvSpPr/>
          <p:nvPr/>
        </p:nvSpPr>
        <p:spPr>
          <a:xfrm>
            <a:off x="4566284" y="1823005"/>
            <a:ext cx="3068003" cy="486807"/>
          </a:xfrm>
          <a:custGeom>
            <a:avLst/>
            <a:gdLst>
              <a:gd name="connsiteX0" fmla="*/ 0 w 3063240"/>
              <a:gd name="connsiteY0" fmla="*/ 228600 h 228600"/>
              <a:gd name="connsiteX1" fmla="*/ 3063240 w 3063240"/>
              <a:gd name="connsiteY1" fmla="*/ 0 h 228600"/>
              <a:gd name="connsiteX0" fmla="*/ 0 w 3063240"/>
              <a:gd name="connsiteY0" fmla="*/ 243264 h 243264"/>
              <a:gd name="connsiteX1" fmla="*/ 3063240 w 3063240"/>
              <a:gd name="connsiteY1" fmla="*/ 14664 h 243264"/>
              <a:gd name="connsiteX0" fmla="*/ 0 w 3055620"/>
              <a:gd name="connsiteY0" fmla="*/ 297180 h 297180"/>
              <a:gd name="connsiteX1" fmla="*/ 3055620 w 3055620"/>
              <a:gd name="connsiteY1" fmla="*/ 0 h 297180"/>
              <a:gd name="connsiteX0" fmla="*/ 0 w 3055620"/>
              <a:gd name="connsiteY0" fmla="*/ 337251 h 337251"/>
              <a:gd name="connsiteX1" fmla="*/ 3055620 w 3055620"/>
              <a:gd name="connsiteY1" fmla="*/ 40071 h 337251"/>
              <a:gd name="connsiteX0" fmla="*/ 0 w 3055620"/>
              <a:gd name="connsiteY0" fmla="*/ 313827 h 313827"/>
              <a:gd name="connsiteX1" fmla="*/ 3055620 w 3055620"/>
              <a:gd name="connsiteY1" fmla="*/ 16647 h 313827"/>
              <a:gd name="connsiteX0" fmla="*/ 0 w 3055620"/>
              <a:gd name="connsiteY0" fmla="*/ 329119 h 329119"/>
              <a:gd name="connsiteX1" fmla="*/ 3055620 w 3055620"/>
              <a:gd name="connsiteY1" fmla="*/ 31939 h 329119"/>
              <a:gd name="connsiteX0" fmla="*/ 0 w 3084528"/>
              <a:gd name="connsiteY0" fmla="*/ 419110 h 419110"/>
              <a:gd name="connsiteX1" fmla="*/ 3084528 w 3084528"/>
              <a:gd name="connsiteY1" fmla="*/ 21917 h 419110"/>
              <a:gd name="connsiteX0" fmla="*/ 0 w 3103800"/>
              <a:gd name="connsiteY0" fmla="*/ 486363 h 486363"/>
              <a:gd name="connsiteX1" fmla="*/ 3103800 w 3103800"/>
              <a:gd name="connsiteY1" fmla="*/ 17733 h 486363"/>
              <a:gd name="connsiteX0" fmla="*/ 0 w 3103800"/>
              <a:gd name="connsiteY0" fmla="*/ 486363 h 486363"/>
              <a:gd name="connsiteX1" fmla="*/ 3103800 w 3103800"/>
              <a:gd name="connsiteY1" fmla="*/ 17733 h 486363"/>
              <a:gd name="connsiteX0" fmla="*/ 0 w 3103800"/>
              <a:gd name="connsiteY0" fmla="*/ 486807 h 486807"/>
              <a:gd name="connsiteX1" fmla="*/ 3103800 w 3103800"/>
              <a:gd name="connsiteY1" fmla="*/ 18177 h 486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800" h="486807">
                <a:moveTo>
                  <a:pt x="0" y="486807"/>
                </a:moveTo>
                <a:cubicBezTo>
                  <a:pt x="668068" y="195342"/>
                  <a:pt x="1655246" y="-73263"/>
                  <a:pt x="3103800" y="18177"/>
                </a:cubicBezTo>
              </a:path>
            </a:pathLst>
          </a:custGeom>
          <a:noFill/>
          <a:ln w="6350">
            <a:solidFill>
              <a:schemeClr val="accent2"/>
            </a:solidFill>
            <a:prstDash val="dash"/>
            <a:headEnd type="stealth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任意多边形: 形状 125">
            <a:extLst>
              <a:ext uri="{FF2B5EF4-FFF2-40B4-BE49-F238E27FC236}">
                <a16:creationId xmlns:a16="http://schemas.microsoft.com/office/drawing/2014/main" id="{AB30B2FC-7328-45F2-9573-244DFB92BBAF}"/>
              </a:ext>
            </a:extLst>
          </p:cNvPr>
          <p:cNvSpPr/>
          <p:nvPr/>
        </p:nvSpPr>
        <p:spPr>
          <a:xfrm>
            <a:off x="6758940" y="2234564"/>
            <a:ext cx="857250" cy="409575"/>
          </a:xfrm>
          <a:custGeom>
            <a:avLst/>
            <a:gdLst>
              <a:gd name="connsiteX0" fmla="*/ 838200 w 838200"/>
              <a:gd name="connsiteY0" fmla="*/ 0 h 381000"/>
              <a:gd name="connsiteX1" fmla="*/ 0 w 838200"/>
              <a:gd name="connsiteY1" fmla="*/ 381000 h 381000"/>
              <a:gd name="connsiteX0" fmla="*/ 857250 w 857250"/>
              <a:gd name="connsiteY0" fmla="*/ 0 h 409575"/>
              <a:gd name="connsiteX1" fmla="*/ 0 w 857250"/>
              <a:gd name="connsiteY1" fmla="*/ 409575 h 409575"/>
              <a:gd name="connsiteX0" fmla="*/ 857250 w 857250"/>
              <a:gd name="connsiteY0" fmla="*/ 0 h 409575"/>
              <a:gd name="connsiteX1" fmla="*/ 0 w 857250"/>
              <a:gd name="connsiteY1" fmla="*/ 409575 h 409575"/>
              <a:gd name="connsiteX0" fmla="*/ 857250 w 857250"/>
              <a:gd name="connsiteY0" fmla="*/ 0 h 409575"/>
              <a:gd name="connsiteX1" fmla="*/ 0 w 857250"/>
              <a:gd name="connsiteY1" fmla="*/ 409575 h 409575"/>
              <a:gd name="connsiteX0" fmla="*/ 857250 w 857250"/>
              <a:gd name="connsiteY0" fmla="*/ 0 h 409575"/>
              <a:gd name="connsiteX1" fmla="*/ 0 w 857250"/>
              <a:gd name="connsiteY1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7250" h="409575">
                <a:moveTo>
                  <a:pt x="857250" y="0"/>
                </a:moveTo>
                <a:cubicBezTo>
                  <a:pt x="673100" y="184150"/>
                  <a:pt x="371475" y="346075"/>
                  <a:pt x="0" y="409575"/>
                </a:cubicBezTo>
              </a:path>
            </a:pathLst>
          </a:custGeom>
          <a:noFill/>
          <a:ln w="6350">
            <a:solidFill>
              <a:schemeClr val="accent2"/>
            </a:solidFill>
            <a:prstDash val="dash"/>
            <a:headEnd type="none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任意多边形: 形状 126">
            <a:extLst>
              <a:ext uri="{FF2B5EF4-FFF2-40B4-BE49-F238E27FC236}">
                <a16:creationId xmlns:a16="http://schemas.microsoft.com/office/drawing/2014/main" id="{F17B8776-5F35-4F98-ACFF-2DFD634AF513}"/>
              </a:ext>
            </a:extLst>
          </p:cNvPr>
          <p:cNvSpPr/>
          <p:nvPr/>
        </p:nvSpPr>
        <p:spPr>
          <a:xfrm>
            <a:off x="6629400" y="2813050"/>
            <a:ext cx="3346450" cy="255221"/>
          </a:xfrm>
          <a:custGeom>
            <a:avLst/>
            <a:gdLst>
              <a:gd name="connsiteX0" fmla="*/ 0 w 3333750"/>
              <a:gd name="connsiteY0" fmla="*/ 0 h 203200"/>
              <a:gd name="connsiteX1" fmla="*/ 3333750 w 3333750"/>
              <a:gd name="connsiteY1" fmla="*/ 203200 h 203200"/>
              <a:gd name="connsiteX0" fmla="*/ 0 w 3333750"/>
              <a:gd name="connsiteY0" fmla="*/ 0 h 203200"/>
              <a:gd name="connsiteX1" fmla="*/ 3333750 w 3333750"/>
              <a:gd name="connsiteY1" fmla="*/ 203200 h 203200"/>
              <a:gd name="connsiteX0" fmla="*/ 0 w 3340100"/>
              <a:gd name="connsiteY0" fmla="*/ 0 h 146614"/>
              <a:gd name="connsiteX1" fmla="*/ 3340100 w 3340100"/>
              <a:gd name="connsiteY1" fmla="*/ 107950 h 146614"/>
              <a:gd name="connsiteX0" fmla="*/ 0 w 3340100"/>
              <a:gd name="connsiteY0" fmla="*/ 0 h 216566"/>
              <a:gd name="connsiteX1" fmla="*/ 3340100 w 3340100"/>
              <a:gd name="connsiteY1" fmla="*/ 107950 h 216566"/>
              <a:gd name="connsiteX0" fmla="*/ 0 w 3346450"/>
              <a:gd name="connsiteY0" fmla="*/ 0 h 172062"/>
              <a:gd name="connsiteX1" fmla="*/ 3346450 w 3346450"/>
              <a:gd name="connsiteY1" fmla="*/ 12700 h 172062"/>
              <a:gd name="connsiteX0" fmla="*/ 0 w 3346450"/>
              <a:gd name="connsiteY0" fmla="*/ 0 h 237691"/>
              <a:gd name="connsiteX1" fmla="*/ 3346450 w 3346450"/>
              <a:gd name="connsiteY1" fmla="*/ 12700 h 237691"/>
              <a:gd name="connsiteX0" fmla="*/ 0 w 3346450"/>
              <a:gd name="connsiteY0" fmla="*/ 0 h 237691"/>
              <a:gd name="connsiteX1" fmla="*/ 3346450 w 3346450"/>
              <a:gd name="connsiteY1" fmla="*/ 12700 h 237691"/>
              <a:gd name="connsiteX0" fmla="*/ 0 w 3346450"/>
              <a:gd name="connsiteY0" fmla="*/ 0 h 237691"/>
              <a:gd name="connsiteX1" fmla="*/ 3346450 w 3346450"/>
              <a:gd name="connsiteY1" fmla="*/ 12700 h 237691"/>
              <a:gd name="connsiteX0" fmla="*/ 0 w 3346450"/>
              <a:gd name="connsiteY0" fmla="*/ 0 h 255221"/>
              <a:gd name="connsiteX1" fmla="*/ 3346450 w 3346450"/>
              <a:gd name="connsiteY1" fmla="*/ 12700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46450" h="255221">
                <a:moveTo>
                  <a:pt x="0" y="0"/>
                </a:moveTo>
                <a:cubicBezTo>
                  <a:pt x="889000" y="296333"/>
                  <a:pt x="2025650" y="376767"/>
                  <a:pt x="3346450" y="12700"/>
                </a:cubicBezTo>
              </a:path>
            </a:pathLst>
          </a:custGeom>
          <a:noFill/>
          <a:ln w="6350">
            <a:solidFill>
              <a:schemeClr val="accent2"/>
            </a:solidFill>
            <a:prstDash val="dash"/>
            <a:headEnd type="stealth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任意多边形: 形状 127">
            <a:extLst>
              <a:ext uri="{FF2B5EF4-FFF2-40B4-BE49-F238E27FC236}">
                <a16:creationId xmlns:a16="http://schemas.microsoft.com/office/drawing/2014/main" id="{62B3CE0D-580F-40C1-BD1E-88A803146F78}"/>
              </a:ext>
            </a:extLst>
          </p:cNvPr>
          <p:cNvSpPr/>
          <p:nvPr/>
        </p:nvSpPr>
        <p:spPr>
          <a:xfrm>
            <a:off x="4335780" y="3139440"/>
            <a:ext cx="5608320" cy="506759"/>
          </a:xfrm>
          <a:custGeom>
            <a:avLst/>
            <a:gdLst>
              <a:gd name="connsiteX0" fmla="*/ 0 w 5608320"/>
              <a:gd name="connsiteY0" fmla="*/ 0 h 76200"/>
              <a:gd name="connsiteX1" fmla="*/ 5608320 w 5608320"/>
              <a:gd name="connsiteY1" fmla="*/ 76200 h 76200"/>
              <a:gd name="connsiteX0" fmla="*/ 0 w 5608320"/>
              <a:gd name="connsiteY0" fmla="*/ 0 h 435718"/>
              <a:gd name="connsiteX1" fmla="*/ 5608320 w 5608320"/>
              <a:gd name="connsiteY1" fmla="*/ 76200 h 435718"/>
              <a:gd name="connsiteX0" fmla="*/ 0 w 5608320"/>
              <a:gd name="connsiteY0" fmla="*/ 0 h 506759"/>
              <a:gd name="connsiteX1" fmla="*/ 5608320 w 5608320"/>
              <a:gd name="connsiteY1" fmla="*/ 76200 h 506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608320" h="506759">
                <a:moveTo>
                  <a:pt x="0" y="0"/>
                </a:moveTo>
                <a:cubicBezTo>
                  <a:pt x="1145540" y="1107440"/>
                  <a:pt x="3738880" y="50800"/>
                  <a:pt x="5608320" y="76200"/>
                </a:cubicBezTo>
              </a:path>
            </a:pathLst>
          </a:custGeom>
          <a:noFill/>
          <a:ln w="6350">
            <a:solidFill>
              <a:schemeClr val="accent2"/>
            </a:solidFill>
            <a:prstDash val="dash"/>
            <a:headEnd type="stealth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2" name="组合 131">
            <a:extLst>
              <a:ext uri="{FF2B5EF4-FFF2-40B4-BE49-F238E27FC236}">
                <a16:creationId xmlns:a16="http://schemas.microsoft.com/office/drawing/2014/main" id="{C744D2E7-E931-4876-8C0F-141B24028DE4}"/>
              </a:ext>
            </a:extLst>
          </p:cNvPr>
          <p:cNvGrpSpPr/>
          <p:nvPr/>
        </p:nvGrpSpPr>
        <p:grpSpPr>
          <a:xfrm>
            <a:off x="7664565" y="1382559"/>
            <a:ext cx="1517970" cy="1348282"/>
            <a:chOff x="7664565" y="1382559"/>
            <a:chExt cx="1517970" cy="1348282"/>
          </a:xfrm>
        </p:grpSpPr>
        <p:pic>
          <p:nvPicPr>
            <p:cNvPr id="104" name="图片 103">
              <a:extLst>
                <a:ext uri="{FF2B5EF4-FFF2-40B4-BE49-F238E27FC236}">
                  <a16:creationId xmlns:a16="http://schemas.microsoft.com/office/drawing/2014/main" id="{F3298264-226D-4855-A80D-D8184266A570}"/>
                </a:ext>
              </a:extLst>
            </p:cNvPr>
            <p:cNvPicPr>
              <a:picLocks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4565" y="1382559"/>
              <a:ext cx="1517970" cy="1348282"/>
            </a:xfrm>
            <a:prstGeom prst="rect">
              <a:avLst/>
            </a:prstGeom>
          </p:spPr>
        </p:pic>
        <p:pic>
          <p:nvPicPr>
            <p:cNvPr id="129" name="图片 128" descr="电脑萤幕的截图&#10;&#10;描述已自动生成">
              <a:extLst>
                <a:ext uri="{FF2B5EF4-FFF2-40B4-BE49-F238E27FC236}">
                  <a16:creationId xmlns:a16="http://schemas.microsoft.com/office/drawing/2014/main" id="{556C9D9B-B724-4742-BE34-FA0D47CA3A96}"/>
                </a:ext>
              </a:extLst>
            </p:cNvPr>
            <p:cNvPicPr>
              <a:picLocks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0975" y="1481736"/>
              <a:ext cx="1369913" cy="81855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3175" cap="sq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</p:pic>
      </p:grpSp>
      <p:grpSp>
        <p:nvGrpSpPr>
          <p:cNvPr id="131" name="组合 130">
            <a:extLst>
              <a:ext uri="{FF2B5EF4-FFF2-40B4-BE49-F238E27FC236}">
                <a16:creationId xmlns:a16="http://schemas.microsoft.com/office/drawing/2014/main" id="{40325713-7E45-4DF2-90A0-5CA4A3634035}"/>
              </a:ext>
            </a:extLst>
          </p:cNvPr>
          <p:cNvGrpSpPr/>
          <p:nvPr/>
        </p:nvGrpSpPr>
        <p:grpSpPr>
          <a:xfrm>
            <a:off x="9992115" y="2362493"/>
            <a:ext cx="1517970" cy="1348282"/>
            <a:chOff x="9992115" y="2439493"/>
            <a:chExt cx="1517970" cy="1348282"/>
          </a:xfrm>
        </p:grpSpPr>
        <p:pic>
          <p:nvPicPr>
            <p:cNvPr id="105" name="图片 104">
              <a:extLst>
                <a:ext uri="{FF2B5EF4-FFF2-40B4-BE49-F238E27FC236}">
                  <a16:creationId xmlns:a16="http://schemas.microsoft.com/office/drawing/2014/main" id="{DCA9060A-EC72-4311-9CA6-3713E8C8A00F}"/>
                </a:ext>
              </a:extLst>
            </p:cNvPr>
            <p:cNvPicPr>
              <a:picLocks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2115" y="2439493"/>
              <a:ext cx="1517970" cy="1348282"/>
            </a:xfrm>
            <a:prstGeom prst="rect">
              <a:avLst/>
            </a:prstGeom>
          </p:spPr>
        </p:pic>
        <p:pic>
          <p:nvPicPr>
            <p:cNvPr id="130" name="图片 129">
              <a:extLst>
                <a:ext uri="{FF2B5EF4-FFF2-40B4-BE49-F238E27FC236}">
                  <a16:creationId xmlns:a16="http://schemas.microsoft.com/office/drawing/2014/main" id="{4E9713E7-8E29-403F-AD85-6495DC4A6C70}"/>
                </a:ext>
              </a:extLst>
            </p:cNvPr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0068524" y="2534164"/>
              <a:ext cx="1369913" cy="818552"/>
            </a:xfrm>
            <a:prstGeom prst="rect">
              <a:avLst/>
            </a:prstGeom>
          </p:spPr>
        </p:pic>
      </p:grpSp>
      <p:grpSp>
        <p:nvGrpSpPr>
          <p:cNvPr id="133" name="组合 132">
            <a:extLst>
              <a:ext uri="{FF2B5EF4-FFF2-40B4-BE49-F238E27FC236}">
                <a16:creationId xmlns:a16="http://schemas.microsoft.com/office/drawing/2014/main" id="{AD84A87D-AFB5-4A99-AF31-CC1299038F71}"/>
              </a:ext>
            </a:extLst>
          </p:cNvPr>
          <p:cNvGrpSpPr/>
          <p:nvPr/>
        </p:nvGrpSpPr>
        <p:grpSpPr>
          <a:xfrm rot="16200000" flipH="1" flipV="1">
            <a:off x="1124070" y="3911432"/>
            <a:ext cx="633660" cy="352196"/>
            <a:chOff x="2610942" y="2505783"/>
            <a:chExt cx="976418" cy="314373"/>
          </a:xfrm>
        </p:grpSpPr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6EA16DF2-5F11-42CE-8E80-257591F849DF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35" name="直接连接符 134">
              <a:extLst>
                <a:ext uri="{FF2B5EF4-FFF2-40B4-BE49-F238E27FC236}">
                  <a16:creationId xmlns:a16="http://schemas.microsoft.com/office/drawing/2014/main" id="{E1784038-5356-46E3-AC2B-B25C6EF4FAC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F28E2B31-CCE0-451A-A27F-4C15F0BCCF12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37" name="直接连接符 136">
              <a:extLst>
                <a:ext uri="{FF2B5EF4-FFF2-40B4-BE49-F238E27FC236}">
                  <a16:creationId xmlns:a16="http://schemas.microsoft.com/office/drawing/2014/main" id="{D688BC2D-BAB1-41A2-BC0F-88EDFBBF20B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直接连接符 137">
              <a:extLst>
                <a:ext uri="{FF2B5EF4-FFF2-40B4-BE49-F238E27FC236}">
                  <a16:creationId xmlns:a16="http://schemas.microsoft.com/office/drawing/2014/main" id="{03295BE3-442B-44B6-ACC7-DBEC8CF4D08E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直接连接符 138">
              <a:extLst>
                <a:ext uri="{FF2B5EF4-FFF2-40B4-BE49-F238E27FC236}">
                  <a16:creationId xmlns:a16="http://schemas.microsoft.com/office/drawing/2014/main" id="{0CEB6F75-2912-400A-9BDD-6912DD62726F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组合 139">
            <a:extLst>
              <a:ext uri="{FF2B5EF4-FFF2-40B4-BE49-F238E27FC236}">
                <a16:creationId xmlns:a16="http://schemas.microsoft.com/office/drawing/2014/main" id="{C9F168EF-53A0-469B-8DF3-64DD564100B4}"/>
              </a:ext>
            </a:extLst>
          </p:cNvPr>
          <p:cNvGrpSpPr/>
          <p:nvPr/>
        </p:nvGrpSpPr>
        <p:grpSpPr>
          <a:xfrm rot="16200000" flipH="1" flipV="1">
            <a:off x="3451620" y="3911432"/>
            <a:ext cx="633660" cy="352196"/>
            <a:chOff x="2610942" y="2505783"/>
            <a:chExt cx="976418" cy="314373"/>
          </a:xfrm>
        </p:grpSpPr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07ECDCEB-396C-4D64-9EF2-EBB84D746548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42" name="直接连接符 141">
              <a:extLst>
                <a:ext uri="{FF2B5EF4-FFF2-40B4-BE49-F238E27FC236}">
                  <a16:creationId xmlns:a16="http://schemas.microsoft.com/office/drawing/2014/main" id="{344C447C-5D94-4DBB-B497-53470786C2B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535FD798-A49D-4594-8C7A-22AD80D59E2C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44" name="直接连接符 143">
              <a:extLst>
                <a:ext uri="{FF2B5EF4-FFF2-40B4-BE49-F238E27FC236}">
                  <a16:creationId xmlns:a16="http://schemas.microsoft.com/office/drawing/2014/main" id="{7379D3E8-90E2-4A51-9FA1-1EC84494B738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直接连接符 144">
              <a:extLst>
                <a:ext uri="{FF2B5EF4-FFF2-40B4-BE49-F238E27FC236}">
                  <a16:creationId xmlns:a16="http://schemas.microsoft.com/office/drawing/2014/main" id="{5A8022D8-0DBC-47C3-9940-CD28A6E2D87F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直接连接符 145">
              <a:extLst>
                <a:ext uri="{FF2B5EF4-FFF2-40B4-BE49-F238E27FC236}">
                  <a16:creationId xmlns:a16="http://schemas.microsoft.com/office/drawing/2014/main" id="{868890B7-AC3D-478E-B2E0-60EFC06DCDA0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7" name="组合 146">
            <a:extLst>
              <a:ext uri="{FF2B5EF4-FFF2-40B4-BE49-F238E27FC236}">
                <a16:creationId xmlns:a16="http://schemas.microsoft.com/office/drawing/2014/main" id="{4BA50BD5-F18F-42F2-B46A-2FD240CA6460}"/>
              </a:ext>
            </a:extLst>
          </p:cNvPr>
          <p:cNvGrpSpPr/>
          <p:nvPr/>
        </p:nvGrpSpPr>
        <p:grpSpPr>
          <a:xfrm rot="16200000" flipH="1" flipV="1">
            <a:off x="5779170" y="3911432"/>
            <a:ext cx="633660" cy="352196"/>
            <a:chOff x="2610942" y="2505783"/>
            <a:chExt cx="976418" cy="314373"/>
          </a:xfrm>
        </p:grpSpPr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5325A4A2-EB85-40A2-BC3D-0CC9F461D103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49" name="直接连接符 148">
              <a:extLst>
                <a:ext uri="{FF2B5EF4-FFF2-40B4-BE49-F238E27FC236}">
                  <a16:creationId xmlns:a16="http://schemas.microsoft.com/office/drawing/2014/main" id="{CC44A22A-32E1-4FED-B090-E8EB3FE1DA0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C8BE9774-3C64-4739-B89F-DEE8E1483851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51" name="直接连接符 150">
              <a:extLst>
                <a:ext uri="{FF2B5EF4-FFF2-40B4-BE49-F238E27FC236}">
                  <a16:creationId xmlns:a16="http://schemas.microsoft.com/office/drawing/2014/main" id="{4979E27C-B8B4-4F30-AC31-F6542BBB8B1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接连接符 151">
              <a:extLst>
                <a:ext uri="{FF2B5EF4-FFF2-40B4-BE49-F238E27FC236}">
                  <a16:creationId xmlns:a16="http://schemas.microsoft.com/office/drawing/2014/main" id="{20FF394A-05C8-4BA9-A823-41B7C7268C9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接连接符 152">
              <a:extLst>
                <a:ext uri="{FF2B5EF4-FFF2-40B4-BE49-F238E27FC236}">
                  <a16:creationId xmlns:a16="http://schemas.microsoft.com/office/drawing/2014/main" id="{0AE83A0A-4740-4878-9EA4-07FD43F1B9A1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组合 153">
            <a:extLst>
              <a:ext uri="{FF2B5EF4-FFF2-40B4-BE49-F238E27FC236}">
                <a16:creationId xmlns:a16="http://schemas.microsoft.com/office/drawing/2014/main" id="{66518CD7-330D-4155-BFD9-B717D0F81B82}"/>
              </a:ext>
            </a:extLst>
          </p:cNvPr>
          <p:cNvGrpSpPr/>
          <p:nvPr/>
        </p:nvGrpSpPr>
        <p:grpSpPr>
          <a:xfrm rot="16200000" flipH="1" flipV="1">
            <a:off x="8106720" y="3911432"/>
            <a:ext cx="633660" cy="352196"/>
            <a:chOff x="2610942" y="2505783"/>
            <a:chExt cx="976418" cy="314373"/>
          </a:xfrm>
        </p:grpSpPr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7DCABA3F-A1F7-45D0-927B-819173EC0A82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56" name="直接连接符 155">
              <a:extLst>
                <a:ext uri="{FF2B5EF4-FFF2-40B4-BE49-F238E27FC236}">
                  <a16:creationId xmlns:a16="http://schemas.microsoft.com/office/drawing/2014/main" id="{836AAB13-9C03-4015-8154-AC46C3768C3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7C0A05D8-964C-4215-8361-6060715B33D6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58" name="直接连接符 157">
              <a:extLst>
                <a:ext uri="{FF2B5EF4-FFF2-40B4-BE49-F238E27FC236}">
                  <a16:creationId xmlns:a16="http://schemas.microsoft.com/office/drawing/2014/main" id="{42EB5DB9-BA57-45C7-BEC3-028CDBCF5F3C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直接连接符 158">
              <a:extLst>
                <a:ext uri="{FF2B5EF4-FFF2-40B4-BE49-F238E27FC236}">
                  <a16:creationId xmlns:a16="http://schemas.microsoft.com/office/drawing/2014/main" id="{BF9D1ABC-036A-46FF-B9BC-E476A4253AD2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直接连接符 159">
              <a:extLst>
                <a:ext uri="{FF2B5EF4-FFF2-40B4-BE49-F238E27FC236}">
                  <a16:creationId xmlns:a16="http://schemas.microsoft.com/office/drawing/2014/main" id="{8593675F-4E01-42F7-B1CA-848F1A6F7DAF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404C380D-922A-4F75-B080-BE2801D0655E}"/>
              </a:ext>
            </a:extLst>
          </p:cNvPr>
          <p:cNvGrpSpPr/>
          <p:nvPr/>
        </p:nvGrpSpPr>
        <p:grpSpPr>
          <a:xfrm rot="16200000" flipH="1" flipV="1">
            <a:off x="10434270" y="3911432"/>
            <a:ext cx="633660" cy="352196"/>
            <a:chOff x="2610942" y="2505783"/>
            <a:chExt cx="976418" cy="314373"/>
          </a:xfrm>
        </p:grpSpPr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43F3D049-6E7B-48C0-955C-D24B56E9A567}"/>
                </a:ext>
              </a:extLst>
            </p:cNvPr>
            <p:cNvSpPr/>
            <p:nvPr/>
          </p:nvSpPr>
          <p:spPr>
            <a:xfrm>
              <a:off x="2925706" y="2595900"/>
              <a:ext cx="661654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63" name="直接连接符 162">
              <a:extLst>
                <a:ext uri="{FF2B5EF4-FFF2-40B4-BE49-F238E27FC236}">
                  <a16:creationId xmlns:a16="http://schemas.microsoft.com/office/drawing/2014/main" id="{7BCF2F3A-5A5D-4D9E-BE4B-4983F83D5E5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10942" y="2567172"/>
              <a:ext cx="370393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0B8B8D25-3D83-408C-BC44-DAFBEA3C4C8B}"/>
                </a:ext>
              </a:extLst>
            </p:cNvPr>
            <p:cNvSpPr/>
            <p:nvPr/>
          </p:nvSpPr>
          <p:spPr>
            <a:xfrm flipV="1">
              <a:off x="2794411" y="2683583"/>
              <a:ext cx="661655" cy="45994"/>
            </a:xfrm>
            <a:custGeom>
              <a:avLst/>
              <a:gdLst>
                <a:gd name="connsiteX0" fmla="*/ 4772790 w 5556926"/>
                <a:gd name="connsiteY0" fmla="*/ 0 h 544010"/>
                <a:gd name="connsiteX1" fmla="*/ 5556926 w 5556926"/>
                <a:gd name="connsiteY1" fmla="*/ 544010 h 544010"/>
                <a:gd name="connsiteX2" fmla="*/ 0 w 5556926"/>
                <a:gd name="connsiteY2" fmla="*/ 544010 h 544010"/>
                <a:gd name="connsiteX3" fmla="*/ 0 w 5556926"/>
                <a:gd name="connsiteY3" fmla="*/ 367121 h 544010"/>
                <a:gd name="connsiteX4" fmla="*/ 4772790 w 5556926"/>
                <a:gd name="connsiteY4" fmla="*/ 367121 h 54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6926" h="544010">
                  <a:moveTo>
                    <a:pt x="4772790" y="0"/>
                  </a:moveTo>
                  <a:lnTo>
                    <a:pt x="5556926" y="544010"/>
                  </a:lnTo>
                  <a:lnTo>
                    <a:pt x="0" y="544010"/>
                  </a:lnTo>
                  <a:lnTo>
                    <a:pt x="0" y="367121"/>
                  </a:lnTo>
                  <a:lnTo>
                    <a:pt x="4772790" y="367121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54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 Light"/>
              </a:endParaRPr>
            </a:p>
          </p:txBody>
        </p:sp>
        <p:cxnSp>
          <p:nvCxnSpPr>
            <p:cNvPr id="165" name="直接连接符 164">
              <a:extLst>
                <a:ext uri="{FF2B5EF4-FFF2-40B4-BE49-F238E27FC236}">
                  <a16:creationId xmlns:a16="http://schemas.microsoft.com/office/drawing/2014/main" id="{FC9D07DD-344F-445F-8448-D2E3769B466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2664074" y="2820156"/>
              <a:ext cx="493257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直接连接符 165">
              <a:extLst>
                <a:ext uri="{FF2B5EF4-FFF2-40B4-BE49-F238E27FC236}">
                  <a16:creationId xmlns:a16="http://schemas.microsoft.com/office/drawing/2014/main" id="{2664A227-68C0-455F-BDC5-A834CFF948B9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086862" y="2505783"/>
              <a:ext cx="436808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直接连接符 166">
              <a:extLst>
                <a:ext uri="{FF2B5EF4-FFF2-40B4-BE49-F238E27FC236}">
                  <a16:creationId xmlns:a16="http://schemas.microsoft.com/office/drawing/2014/main" id="{A593437E-553A-4D52-9D71-0881B37D6B72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329137" y="2555397"/>
              <a:ext cx="0" cy="442297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3000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8" name="矩形 19">
            <a:extLst>
              <a:ext uri="{FF2B5EF4-FFF2-40B4-BE49-F238E27FC236}">
                <a16:creationId xmlns:a16="http://schemas.microsoft.com/office/drawing/2014/main" id="{93206111-0CDB-46DE-9C83-470B1EF2EE9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86225" y="5131403"/>
            <a:ext cx="2509350" cy="446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图成像套件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适用各个场景的字符图像识别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grpSp>
        <p:nvGrpSpPr>
          <p:cNvPr id="169" name="组合 168">
            <a:extLst>
              <a:ext uri="{FF2B5EF4-FFF2-40B4-BE49-F238E27FC236}">
                <a16:creationId xmlns:a16="http://schemas.microsoft.com/office/drawing/2014/main" id="{C51DC168-108F-4865-B9F3-83E15B4C7995}"/>
              </a:ext>
            </a:extLst>
          </p:cNvPr>
          <p:cNvGrpSpPr/>
          <p:nvPr/>
        </p:nvGrpSpPr>
        <p:grpSpPr>
          <a:xfrm>
            <a:off x="1282678" y="4675556"/>
            <a:ext cx="316444" cy="314813"/>
            <a:chOff x="1576214" y="4213874"/>
            <a:chExt cx="316444" cy="314813"/>
          </a:xfrm>
        </p:grpSpPr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8DF649AC-127A-4A2B-9F3F-16CE877E1D97}"/>
                </a:ext>
              </a:extLst>
            </p:cNvPr>
            <p:cNvSpPr/>
            <p:nvPr/>
          </p:nvSpPr>
          <p:spPr>
            <a:xfrm>
              <a:off x="1698448" y="4334547"/>
              <a:ext cx="71286" cy="74055"/>
            </a:xfrm>
            <a:custGeom>
              <a:avLst/>
              <a:gdLst>
                <a:gd name="connsiteX0" fmla="*/ 47063 w 71286"/>
                <a:gd name="connsiteY0" fmla="*/ 26992 h 74055"/>
                <a:gd name="connsiteX1" fmla="*/ 47063 w 71286"/>
                <a:gd name="connsiteY1" fmla="*/ 13150 h 74055"/>
                <a:gd name="connsiteX2" fmla="*/ 41526 w 71286"/>
                <a:gd name="connsiteY2" fmla="*/ 2076 h 74055"/>
                <a:gd name="connsiteX3" fmla="*/ 30453 w 71286"/>
                <a:gd name="connsiteY3" fmla="*/ 2076 h 74055"/>
                <a:gd name="connsiteX4" fmla="*/ 24916 w 71286"/>
                <a:gd name="connsiteY4" fmla="*/ 13150 h 74055"/>
                <a:gd name="connsiteX5" fmla="*/ 24916 w 71286"/>
                <a:gd name="connsiteY5" fmla="*/ 24224 h 74055"/>
                <a:gd name="connsiteX6" fmla="*/ 11074 w 71286"/>
                <a:gd name="connsiteY6" fmla="*/ 24224 h 74055"/>
                <a:gd name="connsiteX7" fmla="*/ 0 w 71286"/>
                <a:gd name="connsiteY7" fmla="*/ 35297 h 74055"/>
                <a:gd name="connsiteX8" fmla="*/ 11074 w 71286"/>
                <a:gd name="connsiteY8" fmla="*/ 46371 h 74055"/>
                <a:gd name="connsiteX9" fmla="*/ 22147 w 71286"/>
                <a:gd name="connsiteY9" fmla="*/ 46371 h 74055"/>
                <a:gd name="connsiteX10" fmla="*/ 22147 w 71286"/>
                <a:gd name="connsiteY10" fmla="*/ 57445 h 74055"/>
                <a:gd name="connsiteX11" fmla="*/ 35989 w 71286"/>
                <a:gd name="connsiteY11" fmla="*/ 74055 h 74055"/>
                <a:gd name="connsiteX12" fmla="*/ 47063 w 71286"/>
                <a:gd name="connsiteY12" fmla="*/ 62982 h 74055"/>
                <a:gd name="connsiteX13" fmla="*/ 47063 w 71286"/>
                <a:gd name="connsiteY13" fmla="*/ 49139 h 74055"/>
                <a:gd name="connsiteX14" fmla="*/ 58137 w 71286"/>
                <a:gd name="connsiteY14" fmla="*/ 49139 h 74055"/>
                <a:gd name="connsiteX15" fmla="*/ 69210 w 71286"/>
                <a:gd name="connsiteY15" fmla="*/ 43603 h 74055"/>
                <a:gd name="connsiteX16" fmla="*/ 69210 w 71286"/>
                <a:gd name="connsiteY16" fmla="*/ 32529 h 74055"/>
                <a:gd name="connsiteX17" fmla="*/ 60905 w 71286"/>
                <a:gd name="connsiteY17" fmla="*/ 26992 h 74055"/>
                <a:gd name="connsiteX18" fmla="*/ 47063 w 71286"/>
                <a:gd name="connsiteY18" fmla="*/ 26992 h 7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1286" h="74055">
                  <a:moveTo>
                    <a:pt x="47063" y="26992"/>
                  </a:moveTo>
                  <a:lnTo>
                    <a:pt x="47063" y="13150"/>
                  </a:lnTo>
                  <a:cubicBezTo>
                    <a:pt x="47063" y="7613"/>
                    <a:pt x="44295" y="4845"/>
                    <a:pt x="41526" y="2076"/>
                  </a:cubicBezTo>
                  <a:cubicBezTo>
                    <a:pt x="38758" y="-692"/>
                    <a:pt x="33221" y="-692"/>
                    <a:pt x="30453" y="2076"/>
                  </a:cubicBezTo>
                  <a:cubicBezTo>
                    <a:pt x="24916" y="4845"/>
                    <a:pt x="24916" y="10382"/>
                    <a:pt x="24916" y="13150"/>
                  </a:cubicBezTo>
                  <a:lnTo>
                    <a:pt x="24916" y="24224"/>
                  </a:lnTo>
                  <a:lnTo>
                    <a:pt x="11074" y="24224"/>
                  </a:lnTo>
                  <a:cubicBezTo>
                    <a:pt x="5537" y="24224"/>
                    <a:pt x="0" y="29760"/>
                    <a:pt x="0" y="35297"/>
                  </a:cubicBezTo>
                  <a:cubicBezTo>
                    <a:pt x="0" y="40834"/>
                    <a:pt x="5537" y="46371"/>
                    <a:pt x="11074" y="46371"/>
                  </a:cubicBezTo>
                  <a:lnTo>
                    <a:pt x="22147" y="46371"/>
                  </a:lnTo>
                  <a:lnTo>
                    <a:pt x="22147" y="57445"/>
                  </a:lnTo>
                  <a:cubicBezTo>
                    <a:pt x="24916" y="68518"/>
                    <a:pt x="30453" y="74055"/>
                    <a:pt x="35989" y="74055"/>
                  </a:cubicBezTo>
                  <a:cubicBezTo>
                    <a:pt x="41526" y="74055"/>
                    <a:pt x="47063" y="68518"/>
                    <a:pt x="47063" y="62982"/>
                  </a:cubicBezTo>
                  <a:lnTo>
                    <a:pt x="47063" y="49139"/>
                  </a:lnTo>
                  <a:lnTo>
                    <a:pt x="58137" y="49139"/>
                  </a:lnTo>
                  <a:cubicBezTo>
                    <a:pt x="63674" y="49139"/>
                    <a:pt x="66442" y="46371"/>
                    <a:pt x="69210" y="43603"/>
                  </a:cubicBezTo>
                  <a:cubicBezTo>
                    <a:pt x="71979" y="40834"/>
                    <a:pt x="71979" y="35297"/>
                    <a:pt x="69210" y="32529"/>
                  </a:cubicBezTo>
                  <a:cubicBezTo>
                    <a:pt x="69210" y="26992"/>
                    <a:pt x="63674" y="26992"/>
                    <a:pt x="60905" y="26992"/>
                  </a:cubicBezTo>
                  <a:lnTo>
                    <a:pt x="47063" y="26992"/>
                  </a:lnTo>
                  <a:close/>
                </a:path>
              </a:pathLst>
            </a:custGeom>
            <a:solidFill>
              <a:schemeClr val="accent2"/>
            </a:solidFill>
            <a:ln w="268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08B02912-DF32-4E1E-B821-D93293B0990A}"/>
                </a:ext>
              </a:extLst>
            </p:cNvPr>
            <p:cNvSpPr/>
            <p:nvPr/>
          </p:nvSpPr>
          <p:spPr>
            <a:xfrm>
              <a:off x="1576214" y="4213874"/>
              <a:ext cx="316444" cy="314813"/>
            </a:xfrm>
            <a:custGeom>
              <a:avLst/>
              <a:gdLst>
                <a:gd name="connsiteX0" fmla="*/ 144380 w 316444"/>
                <a:gd name="connsiteY0" fmla="*/ 222412 h 314813"/>
                <a:gd name="connsiteX1" fmla="*/ 169296 w 316444"/>
                <a:gd name="connsiteY1" fmla="*/ 222412 h 314813"/>
                <a:gd name="connsiteX2" fmla="*/ 302180 w 316444"/>
                <a:gd name="connsiteY2" fmla="*/ 222412 h 314813"/>
                <a:gd name="connsiteX3" fmla="*/ 196980 w 316444"/>
                <a:gd name="connsiteY3" fmla="*/ 311001 h 314813"/>
                <a:gd name="connsiteX4" fmla="*/ 100086 w 316444"/>
                <a:gd name="connsiteY4" fmla="*/ 178117 h 314813"/>
                <a:gd name="connsiteX5" fmla="*/ 111160 w 316444"/>
                <a:gd name="connsiteY5" fmla="*/ 200264 h 314813"/>
                <a:gd name="connsiteX6" fmla="*/ 177602 w 316444"/>
                <a:gd name="connsiteY6" fmla="*/ 313770 h 314813"/>
                <a:gd name="connsiteX7" fmla="*/ 47486 w 316444"/>
                <a:gd name="connsiteY7" fmla="*/ 266706 h 314813"/>
                <a:gd name="connsiteX8" fmla="*/ 5959 w 316444"/>
                <a:gd name="connsiteY8" fmla="*/ 117212 h 314813"/>
                <a:gd name="connsiteX9" fmla="*/ 111159 w 316444"/>
                <a:gd name="connsiteY9" fmla="*/ 117212 h 314813"/>
                <a:gd name="connsiteX10" fmla="*/ 97317 w 316444"/>
                <a:gd name="connsiteY10" fmla="*/ 133823 h 314813"/>
                <a:gd name="connsiteX11" fmla="*/ 30875 w 316444"/>
                <a:gd name="connsiteY11" fmla="*/ 252865 h 314813"/>
                <a:gd name="connsiteX12" fmla="*/ 5959 w 316444"/>
                <a:gd name="connsiteY12" fmla="*/ 117212 h 314813"/>
                <a:gd name="connsiteX13" fmla="*/ 285569 w 316444"/>
                <a:gd name="connsiteY13" fmla="*/ 64612 h 314813"/>
                <a:gd name="connsiteX14" fmla="*/ 310485 w 316444"/>
                <a:gd name="connsiteY14" fmla="*/ 200264 h 314813"/>
                <a:gd name="connsiteX15" fmla="*/ 205285 w 316444"/>
                <a:gd name="connsiteY15" fmla="*/ 200264 h 314813"/>
                <a:gd name="connsiteX16" fmla="*/ 213590 w 316444"/>
                <a:gd name="connsiteY16" fmla="*/ 189191 h 314813"/>
                <a:gd name="connsiteX17" fmla="*/ 116696 w 316444"/>
                <a:gd name="connsiteY17" fmla="*/ 6475 h 314813"/>
                <a:gd name="connsiteX18" fmla="*/ 169296 w 316444"/>
                <a:gd name="connsiteY18" fmla="*/ 95064 h 314813"/>
                <a:gd name="connsiteX19" fmla="*/ 144380 w 316444"/>
                <a:gd name="connsiteY19" fmla="*/ 95064 h 314813"/>
                <a:gd name="connsiteX20" fmla="*/ 11496 w 316444"/>
                <a:gd name="connsiteY20" fmla="*/ 95064 h 314813"/>
                <a:gd name="connsiteX21" fmla="*/ 116696 w 316444"/>
                <a:gd name="connsiteY21" fmla="*/ 6475 h 314813"/>
                <a:gd name="connsiteX22" fmla="*/ 141612 w 316444"/>
                <a:gd name="connsiteY22" fmla="*/ 939 h 314813"/>
                <a:gd name="connsiteX23" fmla="*/ 271728 w 316444"/>
                <a:gd name="connsiteY23" fmla="*/ 48002 h 314813"/>
                <a:gd name="connsiteX24" fmla="*/ 219128 w 316444"/>
                <a:gd name="connsiteY24" fmla="*/ 139360 h 31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6444" h="314813">
                  <a:moveTo>
                    <a:pt x="144380" y="222412"/>
                  </a:moveTo>
                  <a:lnTo>
                    <a:pt x="169296" y="222412"/>
                  </a:lnTo>
                  <a:lnTo>
                    <a:pt x="302180" y="222412"/>
                  </a:lnTo>
                  <a:cubicBezTo>
                    <a:pt x="282801" y="266707"/>
                    <a:pt x="244043" y="299928"/>
                    <a:pt x="196980" y="311001"/>
                  </a:cubicBezTo>
                  <a:close/>
                  <a:moveTo>
                    <a:pt x="100086" y="178117"/>
                  </a:moveTo>
                  <a:lnTo>
                    <a:pt x="111160" y="200264"/>
                  </a:lnTo>
                  <a:lnTo>
                    <a:pt x="177602" y="313770"/>
                  </a:lnTo>
                  <a:cubicBezTo>
                    <a:pt x="130539" y="319306"/>
                    <a:pt x="80707" y="302696"/>
                    <a:pt x="47486" y="266706"/>
                  </a:cubicBezTo>
                  <a:close/>
                  <a:moveTo>
                    <a:pt x="5959" y="117212"/>
                  </a:moveTo>
                  <a:lnTo>
                    <a:pt x="111159" y="117212"/>
                  </a:lnTo>
                  <a:lnTo>
                    <a:pt x="97317" y="133823"/>
                  </a:lnTo>
                  <a:lnTo>
                    <a:pt x="30875" y="252865"/>
                  </a:lnTo>
                  <a:cubicBezTo>
                    <a:pt x="3191" y="214107"/>
                    <a:pt x="-7883" y="164275"/>
                    <a:pt x="5959" y="117212"/>
                  </a:cubicBezTo>
                  <a:close/>
                  <a:moveTo>
                    <a:pt x="285569" y="64612"/>
                  </a:moveTo>
                  <a:cubicBezTo>
                    <a:pt x="313253" y="103370"/>
                    <a:pt x="324327" y="153201"/>
                    <a:pt x="310485" y="200264"/>
                  </a:cubicBezTo>
                  <a:lnTo>
                    <a:pt x="205285" y="200264"/>
                  </a:lnTo>
                  <a:lnTo>
                    <a:pt x="213590" y="189191"/>
                  </a:lnTo>
                  <a:close/>
                  <a:moveTo>
                    <a:pt x="116696" y="6475"/>
                  </a:moveTo>
                  <a:lnTo>
                    <a:pt x="169296" y="95064"/>
                  </a:lnTo>
                  <a:lnTo>
                    <a:pt x="144380" y="95064"/>
                  </a:lnTo>
                  <a:lnTo>
                    <a:pt x="11496" y="95064"/>
                  </a:lnTo>
                  <a:cubicBezTo>
                    <a:pt x="30875" y="50770"/>
                    <a:pt x="69633" y="17549"/>
                    <a:pt x="116696" y="6475"/>
                  </a:cubicBezTo>
                  <a:close/>
                  <a:moveTo>
                    <a:pt x="141612" y="939"/>
                  </a:moveTo>
                  <a:cubicBezTo>
                    <a:pt x="188675" y="-4598"/>
                    <a:pt x="238507" y="14781"/>
                    <a:pt x="271728" y="48002"/>
                  </a:cubicBezTo>
                  <a:lnTo>
                    <a:pt x="219128" y="13936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72" name="矩形 19">
            <a:extLst>
              <a:ext uri="{FF2B5EF4-FFF2-40B4-BE49-F238E27FC236}">
                <a16:creationId xmlns:a16="http://schemas.microsoft.com/office/drawing/2014/main" id="{6E19C888-1447-4548-B784-4ACB3DFCA71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670450" y="5131403"/>
            <a:ext cx="2196000" cy="630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服务器，算力强大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支持</a:t>
            </a:r>
            <a:r>
              <a:rPr lang="en-US" altLang="zh-CN" sz="12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ore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Insight</a:t>
            </a: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训练平台及推理平台同时部署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3" name="矩形 19">
            <a:extLst>
              <a:ext uri="{FF2B5EF4-FFF2-40B4-BE49-F238E27FC236}">
                <a16:creationId xmlns:a16="http://schemas.microsoft.com/office/drawing/2014/main" id="{9E990F59-C724-4787-9EAD-466CB35AA6F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998000" y="5131403"/>
            <a:ext cx="2196000" cy="446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训练平台导出的算法</a:t>
            </a:r>
            <a: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直接导入推理平台进行运行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" name="矩形 19">
            <a:extLst>
              <a:ext uri="{FF2B5EF4-FFF2-40B4-BE49-F238E27FC236}">
                <a16:creationId xmlns:a16="http://schemas.microsoft.com/office/drawing/2014/main" id="{E7CF3E7D-5424-4857-8A5E-BD4DD304AF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325550" y="5131403"/>
            <a:ext cx="2196000" cy="630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训练平台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将采集的图像导入</a:t>
            </a:r>
            <a:br>
              <a:rPr lang="en-US" altLang="zh-CN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新模型训练及升级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5" name="矩形 19">
            <a:extLst>
              <a:ext uri="{FF2B5EF4-FFF2-40B4-BE49-F238E27FC236}">
                <a16:creationId xmlns:a16="http://schemas.microsoft.com/office/drawing/2014/main" id="{C371763B-99FA-4922-845C-CCFBFCC2E61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653100" y="5131403"/>
            <a:ext cx="2196000" cy="446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anchor="t" anchorCtr="0">
            <a:spAutoFit/>
          </a:bodyPr>
          <a:lstStyle/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理平台上产线后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13385" fontAlgn="ctr">
              <a:spcBef>
                <a:spcPts val="600"/>
              </a:spcBef>
            </a:pPr>
            <a:r>
              <a: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对产品进行实时检测</a:t>
            </a:r>
            <a:endParaRPr lang="en-US" altLang="zh-CN" sz="12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0" name="组合 239">
            <a:extLst>
              <a:ext uri="{FF2B5EF4-FFF2-40B4-BE49-F238E27FC236}">
                <a16:creationId xmlns:a16="http://schemas.microsoft.com/office/drawing/2014/main" id="{0F2ACEB6-7534-4190-9407-109850CD325E}"/>
              </a:ext>
            </a:extLst>
          </p:cNvPr>
          <p:cNvGrpSpPr/>
          <p:nvPr/>
        </p:nvGrpSpPr>
        <p:grpSpPr>
          <a:xfrm>
            <a:off x="3614311" y="4678824"/>
            <a:ext cx="308278" cy="308277"/>
            <a:chOff x="3614311" y="4674380"/>
            <a:chExt cx="308278" cy="308277"/>
          </a:xfrm>
        </p:grpSpPr>
        <p:grpSp>
          <p:nvGrpSpPr>
            <p:cNvPr id="177" name="组合 176">
              <a:extLst>
                <a:ext uri="{FF2B5EF4-FFF2-40B4-BE49-F238E27FC236}">
                  <a16:creationId xmlns:a16="http://schemas.microsoft.com/office/drawing/2014/main" id="{870814D1-1A5E-47ED-A8F2-C2EF4E452BDB}"/>
                </a:ext>
              </a:extLst>
            </p:cNvPr>
            <p:cNvGrpSpPr/>
            <p:nvPr/>
          </p:nvGrpSpPr>
          <p:grpSpPr>
            <a:xfrm>
              <a:off x="3638025" y="4733664"/>
              <a:ext cx="260851" cy="195637"/>
              <a:chOff x="7418311" y="4282241"/>
              <a:chExt cx="260851" cy="195637"/>
            </a:xfrm>
          </p:grpSpPr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9DD4AB54-AF3A-489C-85C0-B62793068DF6}"/>
                  </a:ext>
                </a:extLst>
              </p:cNvPr>
              <p:cNvSpPr/>
              <p:nvPr/>
            </p:nvSpPr>
            <p:spPr>
              <a:xfrm>
                <a:off x="7634699" y="4288169"/>
                <a:ext cx="44463" cy="17785"/>
              </a:xfrm>
              <a:custGeom>
                <a:avLst/>
                <a:gdLst>
                  <a:gd name="connsiteX0" fmla="*/ 0 w 44463"/>
                  <a:gd name="connsiteY0" fmla="*/ 17785 h 17785"/>
                  <a:gd name="connsiteX1" fmla="*/ 35571 w 44463"/>
                  <a:gd name="connsiteY1" fmla="*/ 17785 h 17785"/>
                  <a:gd name="connsiteX2" fmla="*/ 41499 w 44463"/>
                  <a:gd name="connsiteY2" fmla="*/ 14821 h 17785"/>
                  <a:gd name="connsiteX3" fmla="*/ 44463 w 44463"/>
                  <a:gd name="connsiteY3" fmla="*/ 8893 h 17785"/>
                  <a:gd name="connsiteX4" fmla="*/ 44463 w 44463"/>
                  <a:gd name="connsiteY4" fmla="*/ 0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0" y="17785"/>
                    </a:moveTo>
                    <a:lnTo>
                      <a:pt x="35571" y="17785"/>
                    </a:lnTo>
                    <a:cubicBezTo>
                      <a:pt x="38535" y="17785"/>
                      <a:pt x="41499" y="17785"/>
                      <a:pt x="41499" y="14821"/>
                    </a:cubicBezTo>
                    <a:cubicBezTo>
                      <a:pt x="44463" y="11857"/>
                      <a:pt x="44463" y="8893"/>
                      <a:pt x="44463" y="8893"/>
                    </a:cubicBezTo>
                    <a:lnTo>
                      <a:pt x="44463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0846567B-0960-4ACA-BA2F-12B580944E44}"/>
                  </a:ext>
                </a:extLst>
              </p:cNvPr>
              <p:cNvSpPr/>
              <p:nvPr/>
            </p:nvSpPr>
            <p:spPr>
              <a:xfrm>
                <a:off x="7418311" y="4288169"/>
                <a:ext cx="44463" cy="17785"/>
              </a:xfrm>
              <a:custGeom>
                <a:avLst/>
                <a:gdLst>
                  <a:gd name="connsiteX0" fmla="*/ 44463 w 44463"/>
                  <a:gd name="connsiteY0" fmla="*/ 17785 h 17785"/>
                  <a:gd name="connsiteX1" fmla="*/ 8893 w 44463"/>
                  <a:gd name="connsiteY1" fmla="*/ 17785 h 17785"/>
                  <a:gd name="connsiteX2" fmla="*/ 2964 w 44463"/>
                  <a:gd name="connsiteY2" fmla="*/ 14821 h 17785"/>
                  <a:gd name="connsiteX3" fmla="*/ 0 w 44463"/>
                  <a:gd name="connsiteY3" fmla="*/ 8893 h 17785"/>
                  <a:gd name="connsiteX4" fmla="*/ 0 w 44463"/>
                  <a:gd name="connsiteY4" fmla="*/ 0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44463" y="17785"/>
                    </a:moveTo>
                    <a:lnTo>
                      <a:pt x="8893" y="17785"/>
                    </a:lnTo>
                    <a:cubicBezTo>
                      <a:pt x="8893" y="17785"/>
                      <a:pt x="5928" y="17785"/>
                      <a:pt x="2964" y="14821"/>
                    </a:cubicBezTo>
                    <a:cubicBezTo>
                      <a:pt x="0" y="14821"/>
                      <a:pt x="0" y="11857"/>
                      <a:pt x="0" y="8893"/>
                    </a:cubicBezTo>
                    <a:lnTo>
                      <a:pt x="0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577B94D4-373B-4089-BB83-D4A294290C73}"/>
                  </a:ext>
                </a:extLst>
              </p:cNvPr>
              <p:cNvSpPr/>
              <p:nvPr/>
            </p:nvSpPr>
            <p:spPr>
              <a:xfrm>
                <a:off x="7634699" y="4448236"/>
                <a:ext cx="44463" cy="17785"/>
              </a:xfrm>
              <a:custGeom>
                <a:avLst/>
                <a:gdLst>
                  <a:gd name="connsiteX0" fmla="*/ 0 w 44463"/>
                  <a:gd name="connsiteY0" fmla="*/ 0 h 17785"/>
                  <a:gd name="connsiteX1" fmla="*/ 35571 w 44463"/>
                  <a:gd name="connsiteY1" fmla="*/ 0 h 17785"/>
                  <a:gd name="connsiteX2" fmla="*/ 41499 w 44463"/>
                  <a:gd name="connsiteY2" fmla="*/ 2964 h 17785"/>
                  <a:gd name="connsiteX3" fmla="*/ 44463 w 44463"/>
                  <a:gd name="connsiteY3" fmla="*/ 8893 h 17785"/>
                  <a:gd name="connsiteX4" fmla="*/ 44463 w 44463"/>
                  <a:gd name="connsiteY4" fmla="*/ 17785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0" y="0"/>
                    </a:moveTo>
                    <a:lnTo>
                      <a:pt x="35571" y="0"/>
                    </a:lnTo>
                    <a:cubicBezTo>
                      <a:pt x="38535" y="0"/>
                      <a:pt x="41499" y="0"/>
                      <a:pt x="41499" y="2964"/>
                    </a:cubicBezTo>
                    <a:cubicBezTo>
                      <a:pt x="41499" y="2964"/>
                      <a:pt x="44463" y="5928"/>
                      <a:pt x="44463" y="8893"/>
                    </a:cubicBezTo>
                    <a:lnTo>
                      <a:pt x="44463" y="17785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CE3F67F8-FFBF-498C-B778-97B8ECE3CDEA}"/>
                  </a:ext>
                </a:extLst>
              </p:cNvPr>
              <p:cNvSpPr/>
              <p:nvPr/>
            </p:nvSpPr>
            <p:spPr>
              <a:xfrm>
                <a:off x="7418311" y="4448236"/>
                <a:ext cx="44463" cy="17785"/>
              </a:xfrm>
              <a:custGeom>
                <a:avLst/>
                <a:gdLst>
                  <a:gd name="connsiteX0" fmla="*/ 44463 w 44463"/>
                  <a:gd name="connsiteY0" fmla="*/ 0 h 17785"/>
                  <a:gd name="connsiteX1" fmla="*/ 8893 w 44463"/>
                  <a:gd name="connsiteY1" fmla="*/ 0 h 17785"/>
                  <a:gd name="connsiteX2" fmla="*/ 2964 w 44463"/>
                  <a:gd name="connsiteY2" fmla="*/ 2964 h 17785"/>
                  <a:gd name="connsiteX3" fmla="*/ 0 w 44463"/>
                  <a:gd name="connsiteY3" fmla="*/ 8893 h 17785"/>
                  <a:gd name="connsiteX4" fmla="*/ 0 w 44463"/>
                  <a:gd name="connsiteY4" fmla="*/ 17785 h 17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3" h="17785">
                    <a:moveTo>
                      <a:pt x="44463" y="0"/>
                    </a:moveTo>
                    <a:lnTo>
                      <a:pt x="8893" y="0"/>
                    </a:lnTo>
                    <a:cubicBezTo>
                      <a:pt x="5928" y="0"/>
                      <a:pt x="2964" y="0"/>
                      <a:pt x="2964" y="2964"/>
                    </a:cubicBezTo>
                    <a:cubicBezTo>
                      <a:pt x="0" y="2964"/>
                      <a:pt x="0" y="5928"/>
                      <a:pt x="0" y="8893"/>
                    </a:cubicBezTo>
                    <a:lnTo>
                      <a:pt x="0" y="17785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CA35B0A9-D20A-44BB-9BEC-2683F7DF78BC}"/>
                  </a:ext>
                </a:extLst>
              </p:cNvPr>
              <p:cNvSpPr/>
              <p:nvPr/>
            </p:nvSpPr>
            <p:spPr>
              <a:xfrm>
                <a:off x="7477595" y="4353382"/>
                <a:ext cx="142282" cy="8892"/>
              </a:xfrm>
              <a:custGeom>
                <a:avLst/>
                <a:gdLst>
                  <a:gd name="connsiteX0" fmla="*/ 142282 w 142282"/>
                  <a:gd name="connsiteY0" fmla="*/ 8893 h 8892"/>
                  <a:gd name="connsiteX1" fmla="*/ 142282 w 142282"/>
                  <a:gd name="connsiteY1" fmla="*/ 0 h 8892"/>
                  <a:gd name="connsiteX2" fmla="*/ 0 w 142282"/>
                  <a:gd name="connsiteY2" fmla="*/ 0 h 8892"/>
                  <a:gd name="connsiteX3" fmla="*/ 0 w 142282"/>
                  <a:gd name="connsiteY3" fmla="*/ 8893 h 8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282" h="8892">
                    <a:moveTo>
                      <a:pt x="142282" y="8893"/>
                    </a:moveTo>
                    <a:lnTo>
                      <a:pt x="142282" y="0"/>
                    </a:lnTo>
                    <a:lnTo>
                      <a:pt x="0" y="0"/>
                    </a:lnTo>
                    <a:lnTo>
                      <a:pt x="0" y="8893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477FBFCA-823B-4074-80BE-39B4D6879E1B}"/>
                  </a:ext>
                </a:extLst>
              </p:cNvPr>
              <p:cNvSpPr/>
              <p:nvPr/>
            </p:nvSpPr>
            <p:spPr>
              <a:xfrm>
                <a:off x="7477595" y="4391916"/>
                <a:ext cx="142282" cy="8892"/>
              </a:xfrm>
              <a:custGeom>
                <a:avLst/>
                <a:gdLst>
                  <a:gd name="connsiteX0" fmla="*/ 142282 w 142282"/>
                  <a:gd name="connsiteY0" fmla="*/ 0 h 8892"/>
                  <a:gd name="connsiteX1" fmla="*/ 142282 w 142282"/>
                  <a:gd name="connsiteY1" fmla="*/ 8893 h 8892"/>
                  <a:gd name="connsiteX2" fmla="*/ 0 w 142282"/>
                  <a:gd name="connsiteY2" fmla="*/ 8893 h 8892"/>
                  <a:gd name="connsiteX3" fmla="*/ 0 w 142282"/>
                  <a:gd name="connsiteY3" fmla="*/ 0 h 8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282" h="8892">
                    <a:moveTo>
                      <a:pt x="142282" y="0"/>
                    </a:moveTo>
                    <a:lnTo>
                      <a:pt x="142282" y="8893"/>
                    </a:lnTo>
                    <a:lnTo>
                      <a:pt x="0" y="8893"/>
                    </a:lnTo>
                    <a:lnTo>
                      <a:pt x="0" y="0"/>
                    </a:lnTo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4" name="图形 32">
                <a:extLst>
                  <a:ext uri="{FF2B5EF4-FFF2-40B4-BE49-F238E27FC236}">
                    <a16:creationId xmlns:a16="http://schemas.microsoft.com/office/drawing/2014/main" id="{F5AAA093-4C1D-49F0-933B-1BFA3AA58E18}"/>
                  </a:ext>
                </a:extLst>
              </p:cNvPr>
              <p:cNvGrpSpPr/>
              <p:nvPr/>
            </p:nvGrpSpPr>
            <p:grpSpPr>
              <a:xfrm>
                <a:off x="7525023" y="4377095"/>
                <a:ext cx="47427" cy="29642"/>
                <a:chOff x="7525023" y="4377095"/>
                <a:chExt cx="47427" cy="29642"/>
              </a:xfrm>
            </p:grpSpPr>
            <p:sp>
              <p:nvSpPr>
                <p:cNvPr id="197" name="任意多边形: 形状 196">
                  <a:extLst>
                    <a:ext uri="{FF2B5EF4-FFF2-40B4-BE49-F238E27FC236}">
                      <a16:creationId xmlns:a16="http://schemas.microsoft.com/office/drawing/2014/main" id="{5D4C7AF2-5751-4B87-A834-F767B8A3884B}"/>
                    </a:ext>
                  </a:extLst>
                </p:cNvPr>
                <p:cNvSpPr/>
                <p:nvPr/>
              </p:nvSpPr>
              <p:spPr>
                <a:xfrm>
                  <a:off x="7525023" y="437709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8" name="任意多边形: 形状 197">
                  <a:extLst>
                    <a:ext uri="{FF2B5EF4-FFF2-40B4-BE49-F238E27FC236}">
                      <a16:creationId xmlns:a16="http://schemas.microsoft.com/office/drawing/2014/main" id="{D150FACB-2BF2-4A7B-ABC3-5E980B81C9CD}"/>
                    </a:ext>
                  </a:extLst>
                </p:cNvPr>
                <p:cNvSpPr/>
                <p:nvPr/>
              </p:nvSpPr>
              <p:spPr>
                <a:xfrm>
                  <a:off x="7542808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9" name="任意多边形: 形状 198">
                  <a:extLst>
                    <a:ext uri="{FF2B5EF4-FFF2-40B4-BE49-F238E27FC236}">
                      <a16:creationId xmlns:a16="http://schemas.microsoft.com/office/drawing/2014/main" id="{D9D9FEF5-2A1C-417B-869C-0FF4A29E6D60}"/>
                    </a:ext>
                  </a:extLst>
                </p:cNvPr>
                <p:cNvSpPr/>
                <p:nvPr/>
              </p:nvSpPr>
              <p:spPr>
                <a:xfrm>
                  <a:off x="7563557" y="437709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EB550A1D-9C93-470A-BFB0-511FC29FFADB}"/>
                  </a:ext>
                </a:extLst>
              </p:cNvPr>
              <p:cNvSpPr/>
              <p:nvPr/>
            </p:nvSpPr>
            <p:spPr>
              <a:xfrm>
                <a:off x="7477595" y="4282241"/>
                <a:ext cx="139318" cy="50391"/>
              </a:xfrm>
              <a:custGeom>
                <a:avLst/>
                <a:gdLst>
                  <a:gd name="connsiteX0" fmla="*/ 0 w 139318"/>
                  <a:gd name="connsiteY0" fmla="*/ 0 h 50391"/>
                  <a:gd name="connsiteX1" fmla="*/ 139318 w 139318"/>
                  <a:gd name="connsiteY1" fmla="*/ 0 h 50391"/>
                  <a:gd name="connsiteX2" fmla="*/ 139318 w 139318"/>
                  <a:gd name="connsiteY2" fmla="*/ 50391 h 50391"/>
                  <a:gd name="connsiteX3" fmla="*/ 0 w 139318"/>
                  <a:gd name="connsiteY3" fmla="*/ 50391 h 5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318" h="50391">
                    <a:moveTo>
                      <a:pt x="0" y="0"/>
                    </a:moveTo>
                    <a:lnTo>
                      <a:pt x="139318" y="0"/>
                    </a:lnTo>
                    <a:lnTo>
                      <a:pt x="139318" y="50391"/>
                    </a:lnTo>
                    <a:lnTo>
                      <a:pt x="0" y="50391"/>
                    </a:lnTo>
                    <a:close/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6" name="图形 32">
                <a:extLst>
                  <a:ext uri="{FF2B5EF4-FFF2-40B4-BE49-F238E27FC236}">
                    <a16:creationId xmlns:a16="http://schemas.microsoft.com/office/drawing/2014/main" id="{9625578E-BA63-412B-802A-25CCB30DCF84}"/>
                  </a:ext>
                </a:extLst>
              </p:cNvPr>
              <p:cNvGrpSpPr/>
              <p:nvPr/>
            </p:nvGrpSpPr>
            <p:grpSpPr>
              <a:xfrm>
                <a:off x="7525023" y="4305955"/>
                <a:ext cx="47427" cy="29642"/>
                <a:chOff x="7525023" y="4305955"/>
                <a:chExt cx="47427" cy="29642"/>
              </a:xfrm>
            </p:grpSpPr>
            <p:sp>
              <p:nvSpPr>
                <p:cNvPr id="194" name="任意多边形: 形状 193">
                  <a:extLst>
                    <a:ext uri="{FF2B5EF4-FFF2-40B4-BE49-F238E27FC236}">
                      <a16:creationId xmlns:a16="http://schemas.microsoft.com/office/drawing/2014/main" id="{D89A4582-8F8A-4CD2-A230-941F008D900E}"/>
                    </a:ext>
                  </a:extLst>
                </p:cNvPr>
                <p:cNvSpPr/>
                <p:nvPr/>
              </p:nvSpPr>
              <p:spPr>
                <a:xfrm>
                  <a:off x="7525023" y="430595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任意多边形: 形状 194">
                  <a:extLst>
                    <a:ext uri="{FF2B5EF4-FFF2-40B4-BE49-F238E27FC236}">
                      <a16:creationId xmlns:a16="http://schemas.microsoft.com/office/drawing/2014/main" id="{88762D30-1D91-4E8C-BB55-57ADF718BE51}"/>
                    </a:ext>
                  </a:extLst>
                </p:cNvPr>
                <p:cNvSpPr/>
                <p:nvPr/>
              </p:nvSpPr>
              <p:spPr>
                <a:xfrm>
                  <a:off x="7542808" y="430595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6" name="任意多边形: 形状 195">
                  <a:extLst>
                    <a:ext uri="{FF2B5EF4-FFF2-40B4-BE49-F238E27FC236}">
                      <a16:creationId xmlns:a16="http://schemas.microsoft.com/office/drawing/2014/main" id="{FE0F3703-818E-43AD-A273-95B142DA7E4C}"/>
                    </a:ext>
                  </a:extLst>
                </p:cNvPr>
                <p:cNvSpPr/>
                <p:nvPr/>
              </p:nvSpPr>
              <p:spPr>
                <a:xfrm>
                  <a:off x="7563557" y="4305955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0D908619-6FD8-4455-A61E-54635DE543FC}"/>
                  </a:ext>
                </a:extLst>
              </p:cNvPr>
              <p:cNvSpPr/>
              <p:nvPr/>
            </p:nvSpPr>
            <p:spPr>
              <a:xfrm>
                <a:off x="7477595" y="4421558"/>
                <a:ext cx="139318" cy="50391"/>
              </a:xfrm>
              <a:custGeom>
                <a:avLst/>
                <a:gdLst>
                  <a:gd name="connsiteX0" fmla="*/ 0 w 139318"/>
                  <a:gd name="connsiteY0" fmla="*/ 0 h 50391"/>
                  <a:gd name="connsiteX1" fmla="*/ 139318 w 139318"/>
                  <a:gd name="connsiteY1" fmla="*/ 0 h 50391"/>
                  <a:gd name="connsiteX2" fmla="*/ 139318 w 139318"/>
                  <a:gd name="connsiteY2" fmla="*/ 50391 h 50391"/>
                  <a:gd name="connsiteX3" fmla="*/ 0 w 139318"/>
                  <a:gd name="connsiteY3" fmla="*/ 50391 h 5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318" h="50391">
                    <a:moveTo>
                      <a:pt x="0" y="0"/>
                    </a:moveTo>
                    <a:lnTo>
                      <a:pt x="139318" y="0"/>
                    </a:lnTo>
                    <a:lnTo>
                      <a:pt x="139318" y="50391"/>
                    </a:lnTo>
                    <a:lnTo>
                      <a:pt x="0" y="50391"/>
                    </a:lnTo>
                    <a:close/>
                  </a:path>
                </a:pathLst>
              </a:custGeom>
              <a:noFill/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8" name="图形 32">
                <a:extLst>
                  <a:ext uri="{FF2B5EF4-FFF2-40B4-BE49-F238E27FC236}">
                    <a16:creationId xmlns:a16="http://schemas.microsoft.com/office/drawing/2014/main" id="{44ECEE98-2CC6-4E72-9CF3-C6CB056491DD}"/>
                  </a:ext>
                </a:extLst>
              </p:cNvPr>
              <p:cNvGrpSpPr/>
              <p:nvPr/>
            </p:nvGrpSpPr>
            <p:grpSpPr>
              <a:xfrm>
                <a:off x="7525023" y="4448236"/>
                <a:ext cx="47427" cy="29642"/>
                <a:chOff x="7525023" y="4448236"/>
                <a:chExt cx="47427" cy="29642"/>
              </a:xfrm>
            </p:grpSpPr>
            <p:sp>
              <p:nvSpPr>
                <p:cNvPr id="191" name="任意多边形: 形状 190">
                  <a:extLst>
                    <a:ext uri="{FF2B5EF4-FFF2-40B4-BE49-F238E27FC236}">
                      <a16:creationId xmlns:a16="http://schemas.microsoft.com/office/drawing/2014/main" id="{7FDDEE7C-A116-4D4C-A75B-5A7073448084}"/>
                    </a:ext>
                  </a:extLst>
                </p:cNvPr>
                <p:cNvSpPr/>
                <p:nvPr/>
              </p:nvSpPr>
              <p:spPr>
                <a:xfrm>
                  <a:off x="7525023" y="4448236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2" name="任意多边形: 形状 191">
                  <a:extLst>
                    <a:ext uri="{FF2B5EF4-FFF2-40B4-BE49-F238E27FC236}">
                      <a16:creationId xmlns:a16="http://schemas.microsoft.com/office/drawing/2014/main" id="{6718B3D3-1CF2-41C9-B604-CCAFE6E2DDE6}"/>
                    </a:ext>
                  </a:extLst>
                </p:cNvPr>
                <p:cNvSpPr/>
                <p:nvPr/>
              </p:nvSpPr>
              <p:spPr>
                <a:xfrm>
                  <a:off x="7542808" y="4448236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3" name="任意多边形: 形状 192">
                  <a:extLst>
                    <a:ext uri="{FF2B5EF4-FFF2-40B4-BE49-F238E27FC236}">
                      <a16:creationId xmlns:a16="http://schemas.microsoft.com/office/drawing/2014/main" id="{0D2A0CB3-5F58-44A5-9EB9-EB7505AF335B}"/>
                    </a:ext>
                  </a:extLst>
                </p:cNvPr>
                <p:cNvSpPr/>
                <p:nvPr/>
              </p:nvSpPr>
              <p:spPr>
                <a:xfrm>
                  <a:off x="7563557" y="4448236"/>
                  <a:ext cx="8892" cy="29642"/>
                </a:xfrm>
                <a:custGeom>
                  <a:avLst/>
                  <a:gdLst>
                    <a:gd name="connsiteX0" fmla="*/ 0 w 8892"/>
                    <a:gd name="connsiteY0" fmla="*/ 0 h 29642"/>
                    <a:gd name="connsiteX1" fmla="*/ 8893 w 8892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892" h="29642">
                      <a:moveTo>
                        <a:pt x="0" y="0"/>
                      </a:moveTo>
                      <a:lnTo>
                        <a:pt x="8893" y="0"/>
                      </a:lnTo>
                    </a:path>
                  </a:pathLst>
                </a:custGeom>
                <a:ln w="993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DA64EE98-8A0B-40FA-96D5-10212F3A41DB}"/>
                  </a:ext>
                </a:extLst>
              </p:cNvPr>
              <p:cNvSpPr/>
              <p:nvPr/>
            </p:nvSpPr>
            <p:spPr>
              <a:xfrm>
                <a:off x="7613949" y="4377095"/>
                <a:ext cx="38534" cy="29642"/>
              </a:xfrm>
              <a:custGeom>
                <a:avLst/>
                <a:gdLst>
                  <a:gd name="connsiteX0" fmla="*/ 38535 w 38534"/>
                  <a:gd name="connsiteY0" fmla="*/ 0 h 29642"/>
                  <a:gd name="connsiteX1" fmla="*/ 0 w 38534"/>
                  <a:gd name="connsiteY1" fmla="*/ 0 h 2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4" h="29642">
                    <a:moveTo>
                      <a:pt x="38535" y="0"/>
                    </a:moveTo>
                    <a:lnTo>
                      <a:pt x="0" y="0"/>
                    </a:lnTo>
                  </a:path>
                </a:pathLst>
              </a:custGeom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D45A54BC-D311-425A-BC1E-6EA4F5F86CED}"/>
                  </a:ext>
                </a:extLst>
              </p:cNvPr>
              <p:cNvSpPr/>
              <p:nvPr/>
            </p:nvSpPr>
            <p:spPr>
              <a:xfrm>
                <a:off x="7444989" y="4377095"/>
                <a:ext cx="38534" cy="29642"/>
              </a:xfrm>
              <a:custGeom>
                <a:avLst/>
                <a:gdLst>
                  <a:gd name="connsiteX0" fmla="*/ 0 w 38534"/>
                  <a:gd name="connsiteY0" fmla="*/ 0 h 29642"/>
                  <a:gd name="connsiteX1" fmla="*/ 38535 w 38534"/>
                  <a:gd name="connsiteY1" fmla="*/ 0 h 2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534" h="29642">
                    <a:moveTo>
                      <a:pt x="0" y="0"/>
                    </a:moveTo>
                    <a:lnTo>
                      <a:pt x="38535" y="0"/>
                    </a:lnTo>
                  </a:path>
                </a:pathLst>
              </a:custGeom>
              <a:ln w="993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00" name="组合 199">
              <a:extLst>
                <a:ext uri="{FF2B5EF4-FFF2-40B4-BE49-F238E27FC236}">
                  <a16:creationId xmlns:a16="http://schemas.microsoft.com/office/drawing/2014/main" id="{EB43A097-C122-4EDB-8526-17C51CA01DBC}"/>
                </a:ext>
              </a:extLst>
            </p:cNvPr>
            <p:cNvGrpSpPr/>
            <p:nvPr/>
          </p:nvGrpSpPr>
          <p:grpSpPr>
            <a:xfrm>
              <a:off x="3614311" y="4674380"/>
              <a:ext cx="308278" cy="308277"/>
              <a:chOff x="7394597" y="4222957"/>
              <a:chExt cx="308278" cy="308277"/>
            </a:xfrm>
          </p:grpSpPr>
          <p:grpSp>
            <p:nvGrpSpPr>
              <p:cNvPr id="201" name="组合 200">
                <a:extLst>
                  <a:ext uri="{FF2B5EF4-FFF2-40B4-BE49-F238E27FC236}">
                    <a16:creationId xmlns:a16="http://schemas.microsoft.com/office/drawing/2014/main" id="{ABD57213-68F3-4431-9B47-E78D7C8218FE}"/>
                  </a:ext>
                </a:extLst>
              </p:cNvPr>
              <p:cNvGrpSpPr/>
              <p:nvPr/>
            </p:nvGrpSpPr>
            <p:grpSpPr>
              <a:xfrm>
                <a:off x="7652484" y="4222957"/>
                <a:ext cx="50391" cy="308277"/>
                <a:chOff x="7652484" y="4222957"/>
                <a:chExt cx="50391" cy="308277"/>
              </a:xfrm>
            </p:grpSpPr>
            <p:sp>
              <p:nvSpPr>
                <p:cNvPr id="209" name="任意多边形: 形状 208">
                  <a:extLst>
                    <a:ext uri="{FF2B5EF4-FFF2-40B4-BE49-F238E27FC236}">
                      <a16:creationId xmlns:a16="http://schemas.microsoft.com/office/drawing/2014/main" id="{634429D1-8DCE-4E46-B636-C15F10BC6EB9}"/>
                    </a:ext>
                  </a:extLst>
                </p:cNvPr>
                <p:cNvSpPr/>
                <p:nvPr/>
              </p:nvSpPr>
              <p:spPr>
                <a:xfrm>
                  <a:off x="7655448" y="4222957"/>
                  <a:ext cx="47427" cy="47427"/>
                </a:xfrm>
                <a:custGeom>
                  <a:avLst/>
                  <a:gdLst>
                    <a:gd name="connsiteX0" fmla="*/ 47428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8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8" y="23714"/>
                      </a:moveTo>
                      <a:cubicBezTo>
                        <a:pt x="47428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8" y="10617"/>
                        <a:pt x="47428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10" name="任意多边形: 形状 209">
                  <a:extLst>
                    <a:ext uri="{FF2B5EF4-FFF2-40B4-BE49-F238E27FC236}">
                      <a16:creationId xmlns:a16="http://schemas.microsoft.com/office/drawing/2014/main" id="{816DBCAE-4D20-45B1-91F4-741201EBAB49}"/>
                    </a:ext>
                  </a:extLst>
                </p:cNvPr>
                <p:cNvSpPr/>
                <p:nvPr/>
              </p:nvSpPr>
              <p:spPr>
                <a:xfrm>
                  <a:off x="7673233" y="424074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1" name="任意多边形: 形状 210">
                  <a:extLst>
                    <a:ext uri="{FF2B5EF4-FFF2-40B4-BE49-F238E27FC236}">
                      <a16:creationId xmlns:a16="http://schemas.microsoft.com/office/drawing/2014/main" id="{A9F4D7EC-38FE-403D-B7BE-44E48EC93B31}"/>
                    </a:ext>
                  </a:extLst>
                </p:cNvPr>
                <p:cNvSpPr/>
                <p:nvPr/>
              </p:nvSpPr>
              <p:spPr>
                <a:xfrm>
                  <a:off x="7655448" y="4483807"/>
                  <a:ext cx="47427" cy="47427"/>
                </a:xfrm>
                <a:custGeom>
                  <a:avLst/>
                  <a:gdLst>
                    <a:gd name="connsiteX0" fmla="*/ 47428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8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8" y="23714"/>
                      </a:moveTo>
                      <a:cubicBezTo>
                        <a:pt x="47428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8" y="10617"/>
                        <a:pt x="47428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2" name="任意多边形: 形状 211">
                  <a:extLst>
                    <a:ext uri="{FF2B5EF4-FFF2-40B4-BE49-F238E27FC236}">
                      <a16:creationId xmlns:a16="http://schemas.microsoft.com/office/drawing/2014/main" id="{0330C157-ACCC-4E7A-B129-7370503F112B}"/>
                    </a:ext>
                  </a:extLst>
                </p:cNvPr>
                <p:cNvSpPr/>
                <p:nvPr/>
              </p:nvSpPr>
              <p:spPr>
                <a:xfrm>
                  <a:off x="7673233" y="450159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3" name="任意多边形: 形状 212">
                  <a:extLst>
                    <a:ext uri="{FF2B5EF4-FFF2-40B4-BE49-F238E27FC236}">
                      <a16:creationId xmlns:a16="http://schemas.microsoft.com/office/drawing/2014/main" id="{30CEC8A2-A1B6-4895-9402-989360EE20B9}"/>
                    </a:ext>
                  </a:extLst>
                </p:cNvPr>
                <p:cNvSpPr/>
                <p:nvPr/>
              </p:nvSpPr>
              <p:spPr>
                <a:xfrm>
                  <a:off x="7652484" y="4353382"/>
                  <a:ext cx="50391" cy="50391"/>
                </a:xfrm>
                <a:custGeom>
                  <a:avLst/>
                  <a:gdLst>
                    <a:gd name="connsiteX0" fmla="*/ 0 w 50391"/>
                    <a:gd name="connsiteY0" fmla="*/ 0 h 50391"/>
                    <a:gd name="connsiteX1" fmla="*/ 50392 w 50391"/>
                    <a:gd name="connsiteY1" fmla="*/ 0 h 50391"/>
                    <a:gd name="connsiteX2" fmla="*/ 50392 w 50391"/>
                    <a:gd name="connsiteY2" fmla="*/ 50391 h 50391"/>
                    <a:gd name="connsiteX3" fmla="*/ 0 w 50391"/>
                    <a:gd name="connsiteY3" fmla="*/ 50391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91" h="50391">
                      <a:moveTo>
                        <a:pt x="0" y="0"/>
                      </a:moveTo>
                      <a:lnTo>
                        <a:pt x="50392" y="0"/>
                      </a:lnTo>
                      <a:lnTo>
                        <a:pt x="50392" y="50391"/>
                      </a:lnTo>
                      <a:lnTo>
                        <a:pt x="0" y="50391"/>
                      </a:ln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14" name="任意多边形: 形状 213">
                  <a:extLst>
                    <a:ext uri="{FF2B5EF4-FFF2-40B4-BE49-F238E27FC236}">
                      <a16:creationId xmlns:a16="http://schemas.microsoft.com/office/drawing/2014/main" id="{F7964E28-B364-4B25-AECE-60A12F2C012A}"/>
                    </a:ext>
                  </a:extLst>
                </p:cNvPr>
                <p:cNvSpPr/>
                <p:nvPr/>
              </p:nvSpPr>
              <p:spPr>
                <a:xfrm>
                  <a:off x="7673233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02" name="组合 201">
                <a:extLst>
                  <a:ext uri="{FF2B5EF4-FFF2-40B4-BE49-F238E27FC236}">
                    <a16:creationId xmlns:a16="http://schemas.microsoft.com/office/drawing/2014/main" id="{4F16BF58-449D-46F2-B492-451A79B93D45}"/>
                  </a:ext>
                </a:extLst>
              </p:cNvPr>
              <p:cNvGrpSpPr/>
              <p:nvPr/>
            </p:nvGrpSpPr>
            <p:grpSpPr>
              <a:xfrm>
                <a:off x="7394597" y="4222957"/>
                <a:ext cx="50391" cy="308277"/>
                <a:chOff x="7394597" y="4222957"/>
                <a:chExt cx="50391" cy="308277"/>
              </a:xfrm>
            </p:grpSpPr>
            <p:sp>
              <p:nvSpPr>
                <p:cNvPr id="203" name="任意多边形: 形状 202">
                  <a:extLst>
                    <a:ext uri="{FF2B5EF4-FFF2-40B4-BE49-F238E27FC236}">
                      <a16:creationId xmlns:a16="http://schemas.microsoft.com/office/drawing/2014/main" id="{B1C2AB6E-A1DC-4D77-9E1D-D696C7E4E5F6}"/>
                    </a:ext>
                  </a:extLst>
                </p:cNvPr>
                <p:cNvSpPr/>
                <p:nvPr/>
              </p:nvSpPr>
              <p:spPr>
                <a:xfrm>
                  <a:off x="7394597" y="4222957"/>
                  <a:ext cx="47427" cy="47427"/>
                </a:xfrm>
                <a:custGeom>
                  <a:avLst/>
                  <a:gdLst>
                    <a:gd name="connsiteX0" fmla="*/ 47427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7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7" y="23714"/>
                      </a:moveTo>
                      <a:cubicBezTo>
                        <a:pt x="47427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7" y="10617"/>
                        <a:pt x="47427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04" name="任意多边形: 形状 203">
                  <a:extLst>
                    <a:ext uri="{FF2B5EF4-FFF2-40B4-BE49-F238E27FC236}">
                      <a16:creationId xmlns:a16="http://schemas.microsoft.com/office/drawing/2014/main" id="{EB6A4C56-4F4D-4CF1-8648-4D0BBAC3F766}"/>
                    </a:ext>
                  </a:extLst>
                </p:cNvPr>
                <p:cNvSpPr/>
                <p:nvPr/>
              </p:nvSpPr>
              <p:spPr>
                <a:xfrm>
                  <a:off x="7412382" y="424074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05" name="任意多边形: 形状 204">
                  <a:extLst>
                    <a:ext uri="{FF2B5EF4-FFF2-40B4-BE49-F238E27FC236}">
                      <a16:creationId xmlns:a16="http://schemas.microsoft.com/office/drawing/2014/main" id="{EBDD6840-F323-4E85-84C0-342701D09483}"/>
                    </a:ext>
                  </a:extLst>
                </p:cNvPr>
                <p:cNvSpPr/>
                <p:nvPr/>
              </p:nvSpPr>
              <p:spPr>
                <a:xfrm>
                  <a:off x="7394597" y="4483807"/>
                  <a:ext cx="47427" cy="47427"/>
                </a:xfrm>
                <a:custGeom>
                  <a:avLst/>
                  <a:gdLst>
                    <a:gd name="connsiteX0" fmla="*/ 47427 w 47427"/>
                    <a:gd name="connsiteY0" fmla="*/ 23714 h 47427"/>
                    <a:gd name="connsiteX1" fmla="*/ 23714 w 47427"/>
                    <a:gd name="connsiteY1" fmla="*/ 47427 h 47427"/>
                    <a:gd name="connsiteX2" fmla="*/ 0 w 47427"/>
                    <a:gd name="connsiteY2" fmla="*/ 23714 h 47427"/>
                    <a:gd name="connsiteX3" fmla="*/ 23714 w 47427"/>
                    <a:gd name="connsiteY3" fmla="*/ 0 h 47427"/>
                    <a:gd name="connsiteX4" fmla="*/ 47427 w 47427"/>
                    <a:gd name="connsiteY4" fmla="*/ 23714 h 4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427" h="47427">
                      <a:moveTo>
                        <a:pt x="47427" y="23714"/>
                      </a:moveTo>
                      <a:cubicBezTo>
                        <a:pt x="47427" y="36810"/>
                        <a:pt x="36810" y="47427"/>
                        <a:pt x="23714" y="47427"/>
                      </a:cubicBezTo>
                      <a:cubicBezTo>
                        <a:pt x="10617" y="47427"/>
                        <a:pt x="0" y="36810"/>
                        <a:pt x="0" y="23714"/>
                      </a:cubicBezTo>
                      <a:cubicBezTo>
                        <a:pt x="0" y="10617"/>
                        <a:pt x="10617" y="0"/>
                        <a:pt x="23714" y="0"/>
                      </a:cubicBezTo>
                      <a:cubicBezTo>
                        <a:pt x="36810" y="0"/>
                        <a:pt x="47427" y="10617"/>
                        <a:pt x="47427" y="23714"/>
                      </a:cubicBez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06" name="任意多边形: 形状 205">
                  <a:extLst>
                    <a:ext uri="{FF2B5EF4-FFF2-40B4-BE49-F238E27FC236}">
                      <a16:creationId xmlns:a16="http://schemas.microsoft.com/office/drawing/2014/main" id="{94BC63A6-AD38-4E6D-A554-67AC6E272139}"/>
                    </a:ext>
                  </a:extLst>
                </p:cNvPr>
                <p:cNvSpPr/>
                <p:nvPr/>
              </p:nvSpPr>
              <p:spPr>
                <a:xfrm>
                  <a:off x="7412382" y="4501592"/>
                  <a:ext cx="8892" cy="8892"/>
                </a:xfrm>
                <a:custGeom>
                  <a:avLst/>
                  <a:gdLst>
                    <a:gd name="connsiteX0" fmla="*/ 0 w 8892"/>
                    <a:gd name="connsiteY0" fmla="*/ 0 h 8892"/>
                    <a:gd name="connsiteX1" fmla="*/ 8893 w 8892"/>
                    <a:gd name="connsiteY1" fmla="*/ 0 h 8892"/>
                    <a:gd name="connsiteX2" fmla="*/ 8893 w 8892"/>
                    <a:gd name="connsiteY2" fmla="*/ 8893 h 8892"/>
                    <a:gd name="connsiteX3" fmla="*/ 0 w 8892"/>
                    <a:gd name="connsiteY3" fmla="*/ 8893 h 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92" h="8892">
                      <a:moveTo>
                        <a:pt x="0" y="0"/>
                      </a:moveTo>
                      <a:lnTo>
                        <a:pt x="8893" y="0"/>
                      </a:lnTo>
                      <a:lnTo>
                        <a:pt x="8893" y="8893"/>
                      </a:lnTo>
                      <a:lnTo>
                        <a:pt x="0" y="889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294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7" name="任意多边形: 形状 206">
                  <a:extLst>
                    <a:ext uri="{FF2B5EF4-FFF2-40B4-BE49-F238E27FC236}">
                      <a16:creationId xmlns:a16="http://schemas.microsoft.com/office/drawing/2014/main" id="{6491B543-4BDE-492E-B8E8-E6FD0E4ABB94}"/>
                    </a:ext>
                  </a:extLst>
                </p:cNvPr>
                <p:cNvSpPr/>
                <p:nvPr/>
              </p:nvSpPr>
              <p:spPr>
                <a:xfrm>
                  <a:off x="7412382" y="4377095"/>
                  <a:ext cx="11856" cy="29642"/>
                </a:xfrm>
                <a:custGeom>
                  <a:avLst/>
                  <a:gdLst>
                    <a:gd name="connsiteX0" fmla="*/ 0 w 11856"/>
                    <a:gd name="connsiteY0" fmla="*/ 0 h 29642"/>
                    <a:gd name="connsiteX1" fmla="*/ 11857 w 11856"/>
                    <a:gd name="connsiteY1" fmla="*/ 0 h 29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856" h="29642">
                      <a:moveTo>
                        <a:pt x="0" y="0"/>
                      </a:moveTo>
                      <a:lnTo>
                        <a:pt x="11857" y="0"/>
                      </a:lnTo>
                    </a:path>
                  </a:pathLst>
                </a:custGeom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8" name="任意多边形: 形状 207">
                  <a:extLst>
                    <a:ext uri="{FF2B5EF4-FFF2-40B4-BE49-F238E27FC236}">
                      <a16:creationId xmlns:a16="http://schemas.microsoft.com/office/drawing/2014/main" id="{AAACBB8C-BAE1-40FF-94C1-FEA219B2871C}"/>
                    </a:ext>
                  </a:extLst>
                </p:cNvPr>
                <p:cNvSpPr/>
                <p:nvPr/>
              </p:nvSpPr>
              <p:spPr>
                <a:xfrm>
                  <a:off x="7394597" y="4353382"/>
                  <a:ext cx="50391" cy="50391"/>
                </a:xfrm>
                <a:custGeom>
                  <a:avLst/>
                  <a:gdLst>
                    <a:gd name="connsiteX0" fmla="*/ 0 w 50391"/>
                    <a:gd name="connsiteY0" fmla="*/ 0 h 50391"/>
                    <a:gd name="connsiteX1" fmla="*/ 50392 w 50391"/>
                    <a:gd name="connsiteY1" fmla="*/ 0 h 50391"/>
                    <a:gd name="connsiteX2" fmla="*/ 50392 w 50391"/>
                    <a:gd name="connsiteY2" fmla="*/ 50391 h 50391"/>
                    <a:gd name="connsiteX3" fmla="*/ 0 w 50391"/>
                    <a:gd name="connsiteY3" fmla="*/ 50391 h 50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391" h="50391">
                      <a:moveTo>
                        <a:pt x="0" y="0"/>
                      </a:moveTo>
                      <a:lnTo>
                        <a:pt x="50392" y="0"/>
                      </a:lnTo>
                      <a:lnTo>
                        <a:pt x="50392" y="50391"/>
                      </a:lnTo>
                      <a:lnTo>
                        <a:pt x="0" y="50391"/>
                      </a:lnTo>
                      <a:close/>
                    </a:path>
                  </a:pathLst>
                </a:custGeom>
                <a:noFill/>
                <a:ln w="993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15" name="组合 214">
            <a:extLst>
              <a:ext uri="{FF2B5EF4-FFF2-40B4-BE49-F238E27FC236}">
                <a16:creationId xmlns:a16="http://schemas.microsoft.com/office/drawing/2014/main" id="{D4E6B938-9C6D-47BC-B3FF-64B4B851CED0}"/>
              </a:ext>
            </a:extLst>
          </p:cNvPr>
          <p:cNvGrpSpPr/>
          <p:nvPr/>
        </p:nvGrpSpPr>
        <p:grpSpPr>
          <a:xfrm>
            <a:off x="10591818" y="4676774"/>
            <a:ext cx="318564" cy="312376"/>
            <a:chOff x="10299178" y="4209064"/>
            <a:chExt cx="318564" cy="312376"/>
          </a:xfrm>
        </p:grpSpPr>
        <p:grpSp>
          <p:nvGrpSpPr>
            <p:cNvPr id="216" name="图形 37">
              <a:extLst>
                <a:ext uri="{FF2B5EF4-FFF2-40B4-BE49-F238E27FC236}">
                  <a16:creationId xmlns:a16="http://schemas.microsoft.com/office/drawing/2014/main" id="{C1656D5F-8A09-4A03-9756-1A4BB8B9130E}"/>
                </a:ext>
              </a:extLst>
            </p:cNvPr>
            <p:cNvGrpSpPr/>
            <p:nvPr/>
          </p:nvGrpSpPr>
          <p:grpSpPr>
            <a:xfrm>
              <a:off x="10299178" y="4311128"/>
              <a:ext cx="318564" cy="210312"/>
              <a:chOff x="10299178" y="4311128"/>
              <a:chExt cx="318564" cy="210312"/>
            </a:xfrm>
            <a:noFill/>
          </p:grpSpPr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0C9AB6D2-82A1-420E-9EE6-E244C902197D}"/>
                  </a:ext>
                </a:extLst>
              </p:cNvPr>
              <p:cNvSpPr/>
              <p:nvPr/>
            </p:nvSpPr>
            <p:spPr>
              <a:xfrm>
                <a:off x="10589907" y="4366799"/>
                <a:ext cx="30928" cy="123713"/>
              </a:xfrm>
              <a:custGeom>
                <a:avLst/>
                <a:gdLst>
                  <a:gd name="connsiteX0" fmla="*/ 0 w 30928"/>
                  <a:gd name="connsiteY0" fmla="*/ 123713 h 123713"/>
                  <a:gd name="connsiteX1" fmla="*/ 0 w 30928"/>
                  <a:gd name="connsiteY1" fmla="*/ 0 h 12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928" h="123713">
                    <a:moveTo>
                      <a:pt x="0" y="123713"/>
                    </a:moveTo>
                    <a:lnTo>
                      <a:pt x="0" y="0"/>
                    </a:lnTo>
                  </a:path>
                </a:pathLst>
              </a:custGeom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01941AC6-E0A7-4345-971D-2A8BA43619CF}"/>
                  </a:ext>
                </a:extLst>
              </p:cNvPr>
              <p:cNvSpPr/>
              <p:nvPr/>
            </p:nvSpPr>
            <p:spPr>
              <a:xfrm>
                <a:off x="10299178" y="4490512"/>
                <a:ext cx="318564" cy="30928"/>
              </a:xfrm>
              <a:custGeom>
                <a:avLst/>
                <a:gdLst>
                  <a:gd name="connsiteX0" fmla="*/ 201036 w 318564"/>
                  <a:gd name="connsiteY0" fmla="*/ 0 h 30928"/>
                  <a:gd name="connsiteX1" fmla="*/ 191757 w 318564"/>
                  <a:gd name="connsiteY1" fmla="*/ 9279 h 30928"/>
                  <a:gd name="connsiteX2" fmla="*/ 126807 w 318564"/>
                  <a:gd name="connsiteY2" fmla="*/ 9279 h 30928"/>
                  <a:gd name="connsiteX3" fmla="*/ 117528 w 318564"/>
                  <a:gd name="connsiteY3" fmla="*/ 0 h 30928"/>
                  <a:gd name="connsiteX4" fmla="*/ 0 w 318564"/>
                  <a:gd name="connsiteY4" fmla="*/ 0 h 30928"/>
                  <a:gd name="connsiteX5" fmla="*/ 0 w 318564"/>
                  <a:gd name="connsiteY5" fmla="*/ 9279 h 30928"/>
                  <a:gd name="connsiteX6" fmla="*/ 6186 w 318564"/>
                  <a:gd name="connsiteY6" fmla="*/ 24743 h 30928"/>
                  <a:gd name="connsiteX7" fmla="*/ 21650 w 318564"/>
                  <a:gd name="connsiteY7" fmla="*/ 30928 h 30928"/>
                  <a:gd name="connsiteX8" fmla="*/ 296914 w 318564"/>
                  <a:gd name="connsiteY8" fmla="*/ 30928 h 30928"/>
                  <a:gd name="connsiteX9" fmla="*/ 312378 w 318564"/>
                  <a:gd name="connsiteY9" fmla="*/ 24743 h 30928"/>
                  <a:gd name="connsiteX10" fmla="*/ 318564 w 318564"/>
                  <a:gd name="connsiteY10" fmla="*/ 9279 h 30928"/>
                  <a:gd name="connsiteX11" fmla="*/ 318564 w 318564"/>
                  <a:gd name="connsiteY11" fmla="*/ 0 h 30928"/>
                  <a:gd name="connsiteX12" fmla="*/ 201036 w 318564"/>
                  <a:gd name="connsiteY12" fmla="*/ 0 h 3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8564" h="30928">
                    <a:moveTo>
                      <a:pt x="201036" y="0"/>
                    </a:moveTo>
                    <a:lnTo>
                      <a:pt x="191757" y="9279"/>
                    </a:lnTo>
                    <a:lnTo>
                      <a:pt x="126807" y="9279"/>
                    </a:lnTo>
                    <a:lnTo>
                      <a:pt x="117528" y="0"/>
                    </a:lnTo>
                    <a:lnTo>
                      <a:pt x="0" y="0"/>
                    </a:lnTo>
                    <a:lnTo>
                      <a:pt x="0" y="9279"/>
                    </a:lnTo>
                    <a:cubicBezTo>
                      <a:pt x="0" y="15464"/>
                      <a:pt x="3093" y="21650"/>
                      <a:pt x="6186" y="24743"/>
                    </a:cubicBezTo>
                    <a:cubicBezTo>
                      <a:pt x="9279" y="27836"/>
                      <a:pt x="15464" y="30928"/>
                      <a:pt x="21650" y="30928"/>
                    </a:cubicBezTo>
                    <a:lnTo>
                      <a:pt x="296914" y="30928"/>
                    </a:lnTo>
                    <a:cubicBezTo>
                      <a:pt x="303100" y="30928"/>
                      <a:pt x="309285" y="27836"/>
                      <a:pt x="312378" y="24743"/>
                    </a:cubicBezTo>
                    <a:cubicBezTo>
                      <a:pt x="315471" y="21650"/>
                      <a:pt x="318564" y="15464"/>
                      <a:pt x="318564" y="9279"/>
                    </a:cubicBezTo>
                    <a:lnTo>
                      <a:pt x="318564" y="0"/>
                    </a:lnTo>
                    <a:lnTo>
                      <a:pt x="201036" y="0"/>
                    </a:lnTo>
                    <a:close/>
                  </a:path>
                </a:pathLst>
              </a:custGeom>
              <a:noFill/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3" name="任意多边形: 形状 222">
                <a:extLst>
                  <a:ext uri="{FF2B5EF4-FFF2-40B4-BE49-F238E27FC236}">
                    <a16:creationId xmlns:a16="http://schemas.microsoft.com/office/drawing/2014/main" id="{770C42D5-3E07-4D87-8AB1-A4BFE79D7458}"/>
                  </a:ext>
                </a:extLst>
              </p:cNvPr>
              <p:cNvSpPr/>
              <p:nvPr/>
            </p:nvSpPr>
            <p:spPr>
              <a:xfrm>
                <a:off x="10323921" y="4311128"/>
                <a:ext cx="262892" cy="179384"/>
              </a:xfrm>
              <a:custGeom>
                <a:avLst/>
                <a:gdLst>
                  <a:gd name="connsiteX0" fmla="*/ 0 w 262892"/>
                  <a:gd name="connsiteY0" fmla="*/ 98971 h 179384"/>
                  <a:gd name="connsiteX1" fmla="*/ 0 w 262892"/>
                  <a:gd name="connsiteY1" fmla="*/ 9279 h 179384"/>
                  <a:gd name="connsiteX2" fmla="*/ 3093 w 262892"/>
                  <a:gd name="connsiteY2" fmla="*/ 3093 h 179384"/>
                  <a:gd name="connsiteX3" fmla="*/ 9279 w 262892"/>
                  <a:gd name="connsiteY3" fmla="*/ 0 h 179384"/>
                  <a:gd name="connsiteX4" fmla="*/ 253614 w 262892"/>
                  <a:gd name="connsiteY4" fmla="*/ 0 h 179384"/>
                  <a:gd name="connsiteX5" fmla="*/ 259800 w 262892"/>
                  <a:gd name="connsiteY5" fmla="*/ 3093 h 179384"/>
                  <a:gd name="connsiteX6" fmla="*/ 262893 w 262892"/>
                  <a:gd name="connsiteY6" fmla="*/ 9279 h 179384"/>
                  <a:gd name="connsiteX7" fmla="*/ 262893 w 262892"/>
                  <a:gd name="connsiteY7" fmla="*/ 30928 h 179384"/>
                  <a:gd name="connsiteX8" fmla="*/ 207221 w 262892"/>
                  <a:gd name="connsiteY8" fmla="*/ 89692 h 179384"/>
                  <a:gd name="connsiteX9" fmla="*/ 167014 w 262892"/>
                  <a:gd name="connsiteY9" fmla="*/ 46393 h 179384"/>
                  <a:gd name="connsiteX10" fmla="*/ 102064 w 262892"/>
                  <a:gd name="connsiteY10" fmla="*/ 108249 h 179384"/>
                  <a:gd name="connsiteX11" fmla="*/ 58764 w 262892"/>
                  <a:gd name="connsiteY11" fmla="*/ 68042 h 179384"/>
                  <a:gd name="connsiteX12" fmla="*/ 0 w 262892"/>
                  <a:gd name="connsiteY12" fmla="*/ 126806 h 179384"/>
                  <a:gd name="connsiteX13" fmla="*/ 0 w 262892"/>
                  <a:gd name="connsiteY13" fmla="*/ 179385 h 179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2892" h="179384">
                    <a:moveTo>
                      <a:pt x="0" y="98971"/>
                    </a:moveTo>
                    <a:lnTo>
                      <a:pt x="0" y="9279"/>
                    </a:lnTo>
                    <a:cubicBezTo>
                      <a:pt x="0" y="6186"/>
                      <a:pt x="0" y="3093"/>
                      <a:pt x="3093" y="3093"/>
                    </a:cubicBezTo>
                    <a:cubicBezTo>
                      <a:pt x="6186" y="0"/>
                      <a:pt x="9279" y="0"/>
                      <a:pt x="9279" y="0"/>
                    </a:cubicBezTo>
                    <a:lnTo>
                      <a:pt x="253614" y="0"/>
                    </a:lnTo>
                    <a:cubicBezTo>
                      <a:pt x="256707" y="0"/>
                      <a:pt x="259800" y="0"/>
                      <a:pt x="259800" y="3093"/>
                    </a:cubicBezTo>
                    <a:cubicBezTo>
                      <a:pt x="262893" y="6186"/>
                      <a:pt x="262893" y="9279"/>
                      <a:pt x="262893" y="9279"/>
                    </a:cubicBezTo>
                    <a:lnTo>
                      <a:pt x="262893" y="30928"/>
                    </a:lnTo>
                    <a:lnTo>
                      <a:pt x="207221" y="89692"/>
                    </a:lnTo>
                    <a:lnTo>
                      <a:pt x="167014" y="46393"/>
                    </a:lnTo>
                    <a:lnTo>
                      <a:pt x="102064" y="108249"/>
                    </a:lnTo>
                    <a:lnTo>
                      <a:pt x="58764" y="68042"/>
                    </a:lnTo>
                    <a:lnTo>
                      <a:pt x="0" y="126806"/>
                    </a:lnTo>
                    <a:lnTo>
                      <a:pt x="0" y="179385"/>
                    </a:lnTo>
                  </a:path>
                </a:pathLst>
              </a:custGeom>
              <a:noFill/>
              <a:ln w="10416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24" name="图形 37">
                <a:extLst>
                  <a:ext uri="{FF2B5EF4-FFF2-40B4-BE49-F238E27FC236}">
                    <a16:creationId xmlns:a16="http://schemas.microsoft.com/office/drawing/2014/main" id="{C73A0683-8778-4055-AAF0-28B7A387A556}"/>
                  </a:ext>
                </a:extLst>
              </p:cNvPr>
              <p:cNvGrpSpPr/>
              <p:nvPr/>
            </p:nvGrpSpPr>
            <p:grpSpPr>
              <a:xfrm>
                <a:off x="10351757" y="4394634"/>
                <a:ext cx="213406" cy="74228"/>
                <a:chOff x="10351757" y="4394634"/>
                <a:chExt cx="213406" cy="74228"/>
              </a:xfrm>
            </p:grpSpPr>
            <p:sp>
              <p:nvSpPr>
                <p:cNvPr id="229" name="任意多边形: 形状 228">
                  <a:extLst>
                    <a:ext uri="{FF2B5EF4-FFF2-40B4-BE49-F238E27FC236}">
                      <a16:creationId xmlns:a16="http://schemas.microsoft.com/office/drawing/2014/main" id="{891E3677-37AA-473A-91D0-6BA61755A12C}"/>
                    </a:ext>
                  </a:extLst>
                </p:cNvPr>
                <p:cNvSpPr/>
                <p:nvPr/>
              </p:nvSpPr>
              <p:spPr>
                <a:xfrm>
                  <a:off x="10351757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0" name="任意多边形: 形状 229">
                  <a:extLst>
                    <a:ext uri="{FF2B5EF4-FFF2-40B4-BE49-F238E27FC236}">
                      <a16:creationId xmlns:a16="http://schemas.microsoft.com/office/drawing/2014/main" id="{35EADB44-F683-4150-BDB9-A8DB2ECF4A2A}"/>
                    </a:ext>
                  </a:extLst>
                </p:cNvPr>
                <p:cNvSpPr/>
                <p:nvPr/>
              </p:nvSpPr>
              <p:spPr>
                <a:xfrm>
                  <a:off x="10373407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1" name="任意多边形: 形状 230">
                  <a:extLst>
                    <a:ext uri="{FF2B5EF4-FFF2-40B4-BE49-F238E27FC236}">
                      <a16:creationId xmlns:a16="http://schemas.microsoft.com/office/drawing/2014/main" id="{1F315D75-270D-4319-89AD-D38A6E4016EB}"/>
                    </a:ext>
                  </a:extLst>
                </p:cNvPr>
                <p:cNvSpPr/>
                <p:nvPr/>
              </p:nvSpPr>
              <p:spPr>
                <a:xfrm>
                  <a:off x="10395057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2" name="任意多边形: 形状 231">
                  <a:extLst>
                    <a:ext uri="{FF2B5EF4-FFF2-40B4-BE49-F238E27FC236}">
                      <a16:creationId xmlns:a16="http://schemas.microsoft.com/office/drawing/2014/main" id="{CDC2F610-FE07-4BC8-8D16-ACA5CDF64055}"/>
                    </a:ext>
                  </a:extLst>
                </p:cNvPr>
                <p:cNvSpPr/>
                <p:nvPr/>
              </p:nvSpPr>
              <p:spPr>
                <a:xfrm>
                  <a:off x="10416707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3" name="任意多边形: 形状 232">
                  <a:extLst>
                    <a:ext uri="{FF2B5EF4-FFF2-40B4-BE49-F238E27FC236}">
                      <a16:creationId xmlns:a16="http://schemas.microsoft.com/office/drawing/2014/main" id="{748E0763-3DD0-4E42-BB7C-B35DB72BC632}"/>
                    </a:ext>
                  </a:extLst>
                </p:cNvPr>
                <p:cNvSpPr/>
                <p:nvPr/>
              </p:nvSpPr>
              <p:spPr>
                <a:xfrm>
                  <a:off x="10435264" y="4437934"/>
                  <a:ext cx="30928" cy="30928"/>
                </a:xfrm>
                <a:custGeom>
                  <a:avLst/>
                  <a:gdLst>
                    <a:gd name="connsiteX0" fmla="*/ 0 w 30928"/>
                    <a:gd name="connsiteY0" fmla="*/ 30928 h 30928"/>
                    <a:gd name="connsiteX1" fmla="*/ 0 w 3092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30928">
                      <a:moveTo>
                        <a:pt x="0" y="309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4" name="任意多边形: 形状 233">
                  <a:extLst>
                    <a:ext uri="{FF2B5EF4-FFF2-40B4-BE49-F238E27FC236}">
                      <a16:creationId xmlns:a16="http://schemas.microsoft.com/office/drawing/2014/main" id="{86DAF852-F908-4A45-8DB0-56D39DC98913}"/>
                    </a:ext>
                  </a:extLst>
                </p:cNvPr>
                <p:cNvSpPr/>
                <p:nvPr/>
              </p:nvSpPr>
              <p:spPr>
                <a:xfrm>
                  <a:off x="1045691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5" name="任意多边形: 形状 234">
                  <a:extLst>
                    <a:ext uri="{FF2B5EF4-FFF2-40B4-BE49-F238E27FC236}">
                      <a16:creationId xmlns:a16="http://schemas.microsoft.com/office/drawing/2014/main" id="{26956E8B-568E-48F1-9D9E-48E1D23BACE2}"/>
                    </a:ext>
                  </a:extLst>
                </p:cNvPr>
                <p:cNvSpPr/>
                <p:nvPr/>
              </p:nvSpPr>
              <p:spPr>
                <a:xfrm>
                  <a:off x="1047856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6" name="任意多边形: 形状 235">
                  <a:extLst>
                    <a:ext uri="{FF2B5EF4-FFF2-40B4-BE49-F238E27FC236}">
                      <a16:creationId xmlns:a16="http://schemas.microsoft.com/office/drawing/2014/main" id="{AFC1EB19-4ACC-4E6A-A60E-998FAEFD7701}"/>
                    </a:ext>
                  </a:extLst>
                </p:cNvPr>
                <p:cNvSpPr/>
                <p:nvPr/>
              </p:nvSpPr>
              <p:spPr>
                <a:xfrm>
                  <a:off x="1050021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7" name="任意多边形: 形状 236">
                  <a:extLst>
                    <a:ext uri="{FF2B5EF4-FFF2-40B4-BE49-F238E27FC236}">
                      <a16:creationId xmlns:a16="http://schemas.microsoft.com/office/drawing/2014/main" id="{9D349E31-AE29-4EFC-B327-13C0E1474156}"/>
                    </a:ext>
                  </a:extLst>
                </p:cNvPr>
                <p:cNvSpPr/>
                <p:nvPr/>
              </p:nvSpPr>
              <p:spPr>
                <a:xfrm>
                  <a:off x="1052186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8" name="任意多边形: 形状 237">
                  <a:extLst>
                    <a:ext uri="{FF2B5EF4-FFF2-40B4-BE49-F238E27FC236}">
                      <a16:creationId xmlns:a16="http://schemas.microsoft.com/office/drawing/2014/main" id="{18CCA668-1476-40CA-BFDB-8A07F53CFE6C}"/>
                    </a:ext>
                  </a:extLst>
                </p:cNvPr>
                <p:cNvSpPr/>
                <p:nvPr/>
              </p:nvSpPr>
              <p:spPr>
                <a:xfrm>
                  <a:off x="10543514" y="4416284"/>
                  <a:ext cx="30928" cy="52578"/>
                </a:xfrm>
                <a:custGeom>
                  <a:avLst/>
                  <a:gdLst>
                    <a:gd name="connsiteX0" fmla="*/ 0 w 30928"/>
                    <a:gd name="connsiteY0" fmla="*/ 52578 h 52578"/>
                    <a:gd name="connsiteX1" fmla="*/ 0 w 30928"/>
                    <a:gd name="connsiteY1" fmla="*/ 0 h 52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52578">
                      <a:moveTo>
                        <a:pt x="0" y="5257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9" name="任意多边形: 形状 238">
                  <a:extLst>
                    <a:ext uri="{FF2B5EF4-FFF2-40B4-BE49-F238E27FC236}">
                      <a16:creationId xmlns:a16="http://schemas.microsoft.com/office/drawing/2014/main" id="{0BCC83A9-F6DA-4E73-8B01-D6B95A9B3EFD}"/>
                    </a:ext>
                  </a:extLst>
                </p:cNvPr>
                <p:cNvSpPr/>
                <p:nvPr/>
              </p:nvSpPr>
              <p:spPr>
                <a:xfrm>
                  <a:off x="10565164" y="4394634"/>
                  <a:ext cx="30928" cy="74228"/>
                </a:xfrm>
                <a:custGeom>
                  <a:avLst/>
                  <a:gdLst>
                    <a:gd name="connsiteX0" fmla="*/ 0 w 30928"/>
                    <a:gd name="connsiteY0" fmla="*/ 74228 h 74228"/>
                    <a:gd name="connsiteX1" fmla="*/ 0 w 30928"/>
                    <a:gd name="connsiteY1" fmla="*/ 0 h 74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928" h="74228">
                      <a:moveTo>
                        <a:pt x="0" y="74228"/>
                      </a:moveTo>
                      <a:lnTo>
                        <a:pt x="0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25" name="图形 37">
                <a:extLst>
                  <a:ext uri="{FF2B5EF4-FFF2-40B4-BE49-F238E27FC236}">
                    <a16:creationId xmlns:a16="http://schemas.microsoft.com/office/drawing/2014/main" id="{38BD6195-FE79-4F8D-96D7-03AB0F2432CE}"/>
                  </a:ext>
                </a:extLst>
              </p:cNvPr>
              <p:cNvGrpSpPr/>
              <p:nvPr/>
            </p:nvGrpSpPr>
            <p:grpSpPr>
              <a:xfrm>
                <a:off x="10345571" y="4335870"/>
                <a:ext cx="52578" cy="30928"/>
                <a:chOff x="10345571" y="4335870"/>
                <a:chExt cx="52578" cy="30928"/>
              </a:xfrm>
            </p:grpSpPr>
            <p:sp>
              <p:nvSpPr>
                <p:cNvPr id="226" name="任意多边形: 形状 225">
                  <a:extLst>
                    <a:ext uri="{FF2B5EF4-FFF2-40B4-BE49-F238E27FC236}">
                      <a16:creationId xmlns:a16="http://schemas.microsoft.com/office/drawing/2014/main" id="{4A985898-333F-4603-A04D-A90C4BD68337}"/>
                    </a:ext>
                  </a:extLst>
                </p:cNvPr>
                <p:cNvSpPr/>
                <p:nvPr/>
              </p:nvSpPr>
              <p:spPr>
                <a:xfrm>
                  <a:off x="10345571" y="4335870"/>
                  <a:ext cx="12371" cy="30928"/>
                </a:xfrm>
                <a:custGeom>
                  <a:avLst/>
                  <a:gdLst>
                    <a:gd name="connsiteX0" fmla="*/ 0 w 12371"/>
                    <a:gd name="connsiteY0" fmla="*/ 0 h 30928"/>
                    <a:gd name="connsiteX1" fmla="*/ 12371 w 12371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71" h="30928">
                      <a:moveTo>
                        <a:pt x="0" y="0"/>
                      </a:moveTo>
                      <a:lnTo>
                        <a:pt x="12371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7" name="任意多边形: 形状 226">
                  <a:extLst>
                    <a:ext uri="{FF2B5EF4-FFF2-40B4-BE49-F238E27FC236}">
                      <a16:creationId xmlns:a16="http://schemas.microsoft.com/office/drawing/2014/main" id="{02C4D815-F2AC-4637-8E3B-58D69939856D}"/>
                    </a:ext>
                  </a:extLst>
                </p:cNvPr>
                <p:cNvSpPr/>
                <p:nvPr/>
              </p:nvSpPr>
              <p:spPr>
                <a:xfrm>
                  <a:off x="10367221" y="4335870"/>
                  <a:ext cx="9278" cy="30928"/>
                </a:xfrm>
                <a:custGeom>
                  <a:avLst/>
                  <a:gdLst>
                    <a:gd name="connsiteX0" fmla="*/ 0 w 9278"/>
                    <a:gd name="connsiteY0" fmla="*/ 0 h 30928"/>
                    <a:gd name="connsiteX1" fmla="*/ 9279 w 927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278" h="30928">
                      <a:moveTo>
                        <a:pt x="0" y="0"/>
                      </a:moveTo>
                      <a:lnTo>
                        <a:pt x="9279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8" name="任意多边形: 形状 227">
                  <a:extLst>
                    <a:ext uri="{FF2B5EF4-FFF2-40B4-BE49-F238E27FC236}">
                      <a16:creationId xmlns:a16="http://schemas.microsoft.com/office/drawing/2014/main" id="{28D49C87-8930-445B-A3E2-A2401D97C418}"/>
                    </a:ext>
                  </a:extLst>
                </p:cNvPr>
                <p:cNvSpPr/>
                <p:nvPr/>
              </p:nvSpPr>
              <p:spPr>
                <a:xfrm>
                  <a:off x="10388871" y="4335870"/>
                  <a:ext cx="9278" cy="30928"/>
                </a:xfrm>
                <a:custGeom>
                  <a:avLst/>
                  <a:gdLst>
                    <a:gd name="connsiteX0" fmla="*/ 0 w 9278"/>
                    <a:gd name="connsiteY0" fmla="*/ 0 h 30928"/>
                    <a:gd name="connsiteX1" fmla="*/ 9279 w 9278"/>
                    <a:gd name="connsiteY1" fmla="*/ 0 h 3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278" h="30928">
                      <a:moveTo>
                        <a:pt x="0" y="0"/>
                      </a:moveTo>
                      <a:lnTo>
                        <a:pt x="9279" y="0"/>
                      </a:lnTo>
                    </a:path>
                  </a:pathLst>
                </a:custGeom>
                <a:ln w="10416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17" name="图形 37">
              <a:extLst>
                <a:ext uri="{FF2B5EF4-FFF2-40B4-BE49-F238E27FC236}">
                  <a16:creationId xmlns:a16="http://schemas.microsoft.com/office/drawing/2014/main" id="{B177FCF5-ECFE-44F3-B0B9-4FFD108C14D9}"/>
                </a:ext>
              </a:extLst>
            </p:cNvPr>
            <p:cNvGrpSpPr/>
            <p:nvPr/>
          </p:nvGrpSpPr>
          <p:grpSpPr>
            <a:xfrm>
              <a:off x="10373407" y="4209064"/>
              <a:ext cx="170107" cy="83506"/>
              <a:chOff x="10373407" y="4209064"/>
              <a:chExt cx="170107" cy="83506"/>
            </a:xfrm>
            <a:noFill/>
          </p:grpSpPr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46B2E8D6-0321-4303-8B38-A5718B5F84C6}"/>
                  </a:ext>
                </a:extLst>
              </p:cNvPr>
              <p:cNvSpPr/>
              <p:nvPr/>
            </p:nvSpPr>
            <p:spPr>
              <a:xfrm>
                <a:off x="10373407" y="4209064"/>
                <a:ext cx="170107" cy="83506"/>
              </a:xfrm>
              <a:custGeom>
                <a:avLst/>
                <a:gdLst>
                  <a:gd name="connsiteX0" fmla="*/ 170107 w 170107"/>
                  <a:gd name="connsiteY0" fmla="*/ 83507 h 83506"/>
                  <a:gd name="connsiteX1" fmla="*/ 170107 w 170107"/>
                  <a:gd name="connsiteY1" fmla="*/ 74228 h 83506"/>
                  <a:gd name="connsiteX2" fmla="*/ 145364 w 170107"/>
                  <a:gd name="connsiteY2" fmla="*/ 68042 h 83506"/>
                  <a:gd name="connsiteX3" fmla="*/ 139178 w 170107"/>
                  <a:gd name="connsiteY3" fmla="*/ 52578 h 83506"/>
                  <a:gd name="connsiteX4" fmla="*/ 154643 w 170107"/>
                  <a:gd name="connsiteY4" fmla="*/ 30928 h 83506"/>
                  <a:gd name="connsiteX5" fmla="*/ 136086 w 170107"/>
                  <a:gd name="connsiteY5" fmla="*/ 15464 h 83506"/>
                  <a:gd name="connsiteX6" fmla="*/ 117528 w 170107"/>
                  <a:gd name="connsiteY6" fmla="*/ 30928 h 83506"/>
                  <a:gd name="connsiteX7" fmla="*/ 98971 w 170107"/>
                  <a:gd name="connsiteY7" fmla="*/ 21650 h 83506"/>
                  <a:gd name="connsiteX8" fmla="*/ 95878 w 170107"/>
                  <a:gd name="connsiteY8" fmla="*/ 0 h 83506"/>
                  <a:gd name="connsiteX9" fmla="*/ 74229 w 170107"/>
                  <a:gd name="connsiteY9" fmla="*/ 0 h 83506"/>
                  <a:gd name="connsiteX10" fmla="*/ 68043 w 170107"/>
                  <a:gd name="connsiteY10" fmla="*/ 21650 h 83506"/>
                  <a:gd name="connsiteX11" fmla="*/ 52579 w 170107"/>
                  <a:gd name="connsiteY11" fmla="*/ 30928 h 83506"/>
                  <a:gd name="connsiteX12" fmla="*/ 30929 w 170107"/>
                  <a:gd name="connsiteY12" fmla="*/ 15464 h 83506"/>
                  <a:gd name="connsiteX13" fmla="*/ 15464 w 170107"/>
                  <a:gd name="connsiteY13" fmla="*/ 30928 h 83506"/>
                  <a:gd name="connsiteX14" fmla="*/ 30929 w 170107"/>
                  <a:gd name="connsiteY14" fmla="*/ 52578 h 83506"/>
                  <a:gd name="connsiteX15" fmla="*/ 21650 w 170107"/>
                  <a:gd name="connsiteY15" fmla="*/ 68042 h 83506"/>
                  <a:gd name="connsiteX16" fmla="*/ 0 w 170107"/>
                  <a:gd name="connsiteY16" fmla="*/ 74228 h 83506"/>
                  <a:gd name="connsiteX17" fmla="*/ 0 w 170107"/>
                  <a:gd name="connsiteY17" fmla="*/ 83507 h 83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0107" h="83506">
                    <a:moveTo>
                      <a:pt x="170107" y="83507"/>
                    </a:moveTo>
                    <a:lnTo>
                      <a:pt x="170107" y="74228"/>
                    </a:lnTo>
                    <a:lnTo>
                      <a:pt x="145364" y="68042"/>
                    </a:lnTo>
                    <a:cubicBezTo>
                      <a:pt x="145364" y="61857"/>
                      <a:pt x="142271" y="55671"/>
                      <a:pt x="139178" y="52578"/>
                    </a:cubicBezTo>
                    <a:lnTo>
                      <a:pt x="154643" y="30928"/>
                    </a:lnTo>
                    <a:lnTo>
                      <a:pt x="136086" y="15464"/>
                    </a:lnTo>
                    <a:lnTo>
                      <a:pt x="117528" y="30928"/>
                    </a:lnTo>
                    <a:cubicBezTo>
                      <a:pt x="111343" y="27836"/>
                      <a:pt x="105157" y="24743"/>
                      <a:pt x="98971" y="21650"/>
                    </a:cubicBezTo>
                    <a:lnTo>
                      <a:pt x="95878" y="0"/>
                    </a:lnTo>
                    <a:lnTo>
                      <a:pt x="74229" y="0"/>
                    </a:lnTo>
                    <a:lnTo>
                      <a:pt x="68043" y="21650"/>
                    </a:lnTo>
                    <a:cubicBezTo>
                      <a:pt x="61857" y="24743"/>
                      <a:pt x="55671" y="27836"/>
                      <a:pt x="52579" y="30928"/>
                    </a:cubicBezTo>
                    <a:lnTo>
                      <a:pt x="30929" y="15464"/>
                    </a:lnTo>
                    <a:lnTo>
                      <a:pt x="15464" y="30928"/>
                    </a:lnTo>
                    <a:lnTo>
                      <a:pt x="30929" y="52578"/>
                    </a:lnTo>
                    <a:cubicBezTo>
                      <a:pt x="27836" y="55671"/>
                      <a:pt x="24743" y="61857"/>
                      <a:pt x="21650" y="68042"/>
                    </a:cubicBezTo>
                    <a:lnTo>
                      <a:pt x="0" y="74228"/>
                    </a:lnTo>
                    <a:lnTo>
                      <a:pt x="0" y="83507"/>
                    </a:ln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8DB5BA02-1F34-451E-9BD7-79EDFBC9651A}"/>
                  </a:ext>
                </a:extLst>
              </p:cNvPr>
              <p:cNvSpPr/>
              <p:nvPr/>
            </p:nvSpPr>
            <p:spPr>
              <a:xfrm>
                <a:off x="10416707" y="4249271"/>
                <a:ext cx="86599" cy="43299"/>
              </a:xfrm>
              <a:custGeom>
                <a:avLst/>
                <a:gdLst>
                  <a:gd name="connsiteX0" fmla="*/ 0 w 86599"/>
                  <a:gd name="connsiteY0" fmla="*/ 43300 h 43299"/>
                  <a:gd name="connsiteX1" fmla="*/ 43300 w 86599"/>
                  <a:gd name="connsiteY1" fmla="*/ 0 h 43299"/>
                  <a:gd name="connsiteX2" fmla="*/ 86600 w 86599"/>
                  <a:gd name="connsiteY2" fmla="*/ 43300 h 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599" h="43299">
                    <a:moveTo>
                      <a:pt x="0" y="43300"/>
                    </a:moveTo>
                    <a:cubicBezTo>
                      <a:pt x="0" y="18557"/>
                      <a:pt x="18557" y="0"/>
                      <a:pt x="43300" y="0"/>
                    </a:cubicBezTo>
                    <a:cubicBezTo>
                      <a:pt x="68043" y="0"/>
                      <a:pt x="86600" y="18557"/>
                      <a:pt x="86600" y="43300"/>
                    </a:cubicBez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BF6E1315-68FF-4D92-BD01-093E2D5924F6}"/>
                  </a:ext>
                </a:extLst>
              </p:cNvPr>
              <p:cNvSpPr/>
              <p:nvPr/>
            </p:nvSpPr>
            <p:spPr>
              <a:xfrm>
                <a:off x="10447635" y="4283292"/>
                <a:ext cx="18557" cy="9278"/>
              </a:xfrm>
              <a:custGeom>
                <a:avLst/>
                <a:gdLst>
                  <a:gd name="connsiteX0" fmla="*/ 0 w 18557"/>
                  <a:gd name="connsiteY0" fmla="*/ 9279 h 9278"/>
                  <a:gd name="connsiteX1" fmla="*/ 9279 w 18557"/>
                  <a:gd name="connsiteY1" fmla="*/ 0 h 9278"/>
                  <a:gd name="connsiteX2" fmla="*/ 18557 w 18557"/>
                  <a:gd name="connsiteY2" fmla="*/ 9279 h 9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557" h="9278">
                    <a:moveTo>
                      <a:pt x="0" y="9279"/>
                    </a:moveTo>
                    <a:cubicBezTo>
                      <a:pt x="0" y="3093"/>
                      <a:pt x="6186" y="0"/>
                      <a:pt x="9279" y="0"/>
                    </a:cubicBezTo>
                    <a:cubicBezTo>
                      <a:pt x="15464" y="0"/>
                      <a:pt x="18557" y="6186"/>
                      <a:pt x="18557" y="9279"/>
                    </a:cubicBezTo>
                  </a:path>
                </a:pathLst>
              </a:custGeom>
              <a:noFill/>
              <a:ln w="10416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275" name="组合 274">
            <a:extLst>
              <a:ext uri="{FF2B5EF4-FFF2-40B4-BE49-F238E27FC236}">
                <a16:creationId xmlns:a16="http://schemas.microsoft.com/office/drawing/2014/main" id="{942DA56A-F81D-4739-93E7-6F6D64FD3A82}"/>
              </a:ext>
            </a:extLst>
          </p:cNvPr>
          <p:cNvGrpSpPr/>
          <p:nvPr/>
        </p:nvGrpSpPr>
        <p:grpSpPr>
          <a:xfrm>
            <a:off x="8255514" y="4689120"/>
            <a:ext cx="336072" cy="294780"/>
            <a:chOff x="6848672" y="3786704"/>
            <a:chExt cx="609685" cy="534777"/>
          </a:xfrm>
        </p:grpSpPr>
        <p:sp>
          <p:nvSpPr>
            <p:cNvPr id="243" name="iconfont-1188-868549">
              <a:extLst>
                <a:ext uri="{FF2B5EF4-FFF2-40B4-BE49-F238E27FC236}">
                  <a16:creationId xmlns:a16="http://schemas.microsoft.com/office/drawing/2014/main" id="{002BDC62-1470-4E39-9932-301B42D69281}"/>
                </a:ext>
              </a:extLst>
            </p:cNvPr>
            <p:cNvSpPr/>
            <p:nvPr/>
          </p:nvSpPr>
          <p:spPr>
            <a:xfrm>
              <a:off x="7018580" y="3867150"/>
              <a:ext cx="269868" cy="264640"/>
            </a:xfrm>
            <a:custGeom>
              <a:avLst/>
              <a:gdLst>
                <a:gd name="T0" fmla="*/ 8328 w 12797"/>
                <a:gd name="T1" fmla="*/ 1640 h 12547"/>
                <a:gd name="T2" fmla="*/ 7640 w 12797"/>
                <a:gd name="T3" fmla="*/ 15 h 12547"/>
                <a:gd name="T4" fmla="*/ 2703 w 12797"/>
                <a:gd name="T5" fmla="*/ 2578 h 12547"/>
                <a:gd name="T6" fmla="*/ 984 w 12797"/>
                <a:gd name="T7" fmla="*/ 3218 h 12547"/>
                <a:gd name="T8" fmla="*/ 718 w 12797"/>
                <a:gd name="T9" fmla="*/ 7906 h 12547"/>
                <a:gd name="T10" fmla="*/ 984 w 12797"/>
                <a:gd name="T11" fmla="*/ 9843 h 12547"/>
                <a:gd name="T12" fmla="*/ 5406 w 12797"/>
                <a:gd name="T13" fmla="*/ 11531 h 12547"/>
                <a:gd name="T14" fmla="*/ 6390 w 12797"/>
                <a:gd name="T15" fmla="*/ 12547 h 12547"/>
                <a:gd name="T16" fmla="*/ 11203 w 12797"/>
                <a:gd name="T17" fmla="*/ 9218 h 12547"/>
                <a:gd name="T18" fmla="*/ 12797 w 12797"/>
                <a:gd name="T19" fmla="*/ 8375 h 12547"/>
                <a:gd name="T20" fmla="*/ 7578 w 12797"/>
                <a:gd name="T21" fmla="*/ 484 h 12547"/>
                <a:gd name="T22" fmla="*/ 7578 w 12797"/>
                <a:gd name="T23" fmla="*/ 1453 h 12547"/>
                <a:gd name="T24" fmla="*/ 7578 w 12797"/>
                <a:gd name="T25" fmla="*/ 484 h 12547"/>
                <a:gd name="T26" fmla="*/ 5031 w 12797"/>
                <a:gd name="T27" fmla="*/ 4547 h 12547"/>
                <a:gd name="T28" fmla="*/ 7312 w 12797"/>
                <a:gd name="T29" fmla="*/ 1922 h 12547"/>
                <a:gd name="T30" fmla="*/ 7234 w 12797"/>
                <a:gd name="T31" fmla="*/ 6359 h 12547"/>
                <a:gd name="T32" fmla="*/ 7015 w 12797"/>
                <a:gd name="T33" fmla="*/ 8187 h 12547"/>
                <a:gd name="T34" fmla="*/ 6703 w 12797"/>
                <a:gd name="T35" fmla="*/ 6093 h 12547"/>
                <a:gd name="T36" fmla="*/ 4906 w 12797"/>
                <a:gd name="T37" fmla="*/ 8343 h 12547"/>
                <a:gd name="T38" fmla="*/ 4734 w 12797"/>
                <a:gd name="T39" fmla="*/ 4953 h 12547"/>
                <a:gd name="T40" fmla="*/ 6797 w 12797"/>
                <a:gd name="T41" fmla="*/ 1578 h 12547"/>
                <a:gd name="T42" fmla="*/ 4640 w 12797"/>
                <a:gd name="T43" fmla="*/ 4312 h 12547"/>
                <a:gd name="T44" fmla="*/ 2890 w 12797"/>
                <a:gd name="T45" fmla="*/ 3187 h 12547"/>
                <a:gd name="T46" fmla="*/ 6797 w 12797"/>
                <a:gd name="T47" fmla="*/ 1578 h 12547"/>
                <a:gd name="T48" fmla="*/ 4359 w 12797"/>
                <a:gd name="T49" fmla="*/ 4640 h 12547"/>
                <a:gd name="T50" fmla="*/ 2718 w 12797"/>
                <a:gd name="T51" fmla="*/ 3765 h 12547"/>
                <a:gd name="T52" fmla="*/ 1437 w 12797"/>
                <a:gd name="T53" fmla="*/ 3187 h 12547"/>
                <a:gd name="T54" fmla="*/ 2406 w 12797"/>
                <a:gd name="T55" fmla="*/ 3187 h 12547"/>
                <a:gd name="T56" fmla="*/ 1437 w 12797"/>
                <a:gd name="T57" fmla="*/ 3187 h 12547"/>
                <a:gd name="T58" fmla="*/ 468 w 12797"/>
                <a:gd name="T59" fmla="*/ 8843 h 12547"/>
                <a:gd name="T60" fmla="*/ 1437 w 12797"/>
                <a:gd name="T61" fmla="*/ 8843 h 12547"/>
                <a:gd name="T62" fmla="*/ 1500 w 12797"/>
                <a:gd name="T63" fmla="*/ 8000 h 12547"/>
                <a:gd name="T64" fmla="*/ 2140 w 12797"/>
                <a:gd name="T65" fmla="*/ 4125 h 12547"/>
                <a:gd name="T66" fmla="*/ 3234 w 12797"/>
                <a:gd name="T67" fmla="*/ 5984 h 12547"/>
                <a:gd name="T68" fmla="*/ 1812 w 12797"/>
                <a:gd name="T69" fmla="*/ 8343 h 12547"/>
                <a:gd name="T70" fmla="*/ 4312 w 12797"/>
                <a:gd name="T71" fmla="*/ 8406 h 12547"/>
                <a:gd name="T72" fmla="*/ 1812 w 12797"/>
                <a:gd name="T73" fmla="*/ 8343 h 12547"/>
                <a:gd name="T74" fmla="*/ 2000 w 12797"/>
                <a:gd name="T75" fmla="*/ 9047 h 12547"/>
                <a:gd name="T76" fmla="*/ 5484 w 12797"/>
                <a:gd name="T77" fmla="*/ 10922 h 12547"/>
                <a:gd name="T78" fmla="*/ 5093 w 12797"/>
                <a:gd name="T79" fmla="*/ 8890 h 12547"/>
                <a:gd name="T80" fmla="*/ 6172 w 12797"/>
                <a:gd name="T81" fmla="*/ 10562 h 12547"/>
                <a:gd name="T82" fmla="*/ 5093 w 12797"/>
                <a:gd name="T83" fmla="*/ 8890 h 12547"/>
                <a:gd name="T84" fmla="*/ 5875 w 12797"/>
                <a:gd name="T85" fmla="*/ 11547 h 12547"/>
                <a:gd name="T86" fmla="*/ 6843 w 12797"/>
                <a:gd name="T87" fmla="*/ 11547 h 12547"/>
                <a:gd name="T88" fmla="*/ 7156 w 12797"/>
                <a:gd name="T89" fmla="*/ 11000 h 12547"/>
                <a:gd name="T90" fmla="*/ 6890 w 12797"/>
                <a:gd name="T91" fmla="*/ 8812 h 12547"/>
                <a:gd name="T92" fmla="*/ 10875 w 12797"/>
                <a:gd name="T93" fmla="*/ 8828 h 12547"/>
                <a:gd name="T94" fmla="*/ 10890 w 12797"/>
                <a:gd name="T95" fmla="*/ 7875 h 12547"/>
                <a:gd name="T96" fmla="*/ 7797 w 12797"/>
                <a:gd name="T97" fmla="*/ 1937 h 12547"/>
                <a:gd name="T98" fmla="*/ 11250 w 12797"/>
                <a:gd name="T99" fmla="*/ 7484 h 12547"/>
                <a:gd name="T100" fmla="*/ 11750 w 12797"/>
                <a:gd name="T101" fmla="*/ 8843 h 12547"/>
                <a:gd name="T102" fmla="*/ 11750 w 12797"/>
                <a:gd name="T103" fmla="*/ 7875 h 12547"/>
                <a:gd name="T104" fmla="*/ 11750 w 12797"/>
                <a:gd name="T105" fmla="*/ 8843 h 12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7" h="12547">
                  <a:moveTo>
                    <a:pt x="11843" y="7375"/>
                  </a:moveTo>
                  <a:cubicBezTo>
                    <a:pt x="11812" y="7375"/>
                    <a:pt x="8328" y="1640"/>
                    <a:pt x="8328" y="1640"/>
                  </a:cubicBezTo>
                  <a:cubicBezTo>
                    <a:pt x="8531" y="1468"/>
                    <a:pt x="8593" y="1281"/>
                    <a:pt x="8593" y="1000"/>
                  </a:cubicBezTo>
                  <a:cubicBezTo>
                    <a:pt x="8593" y="468"/>
                    <a:pt x="8172" y="31"/>
                    <a:pt x="7640" y="15"/>
                  </a:cubicBezTo>
                  <a:cubicBezTo>
                    <a:pt x="6609" y="0"/>
                    <a:pt x="6578" y="1078"/>
                    <a:pt x="6609" y="1125"/>
                  </a:cubicBezTo>
                  <a:lnTo>
                    <a:pt x="2703" y="2578"/>
                  </a:lnTo>
                  <a:cubicBezTo>
                    <a:pt x="2531" y="2328"/>
                    <a:pt x="2281" y="2234"/>
                    <a:pt x="1968" y="2234"/>
                  </a:cubicBezTo>
                  <a:cubicBezTo>
                    <a:pt x="1422" y="2234"/>
                    <a:pt x="984" y="2672"/>
                    <a:pt x="984" y="3218"/>
                  </a:cubicBezTo>
                  <a:cubicBezTo>
                    <a:pt x="984" y="3656"/>
                    <a:pt x="1218" y="4031"/>
                    <a:pt x="1609" y="4156"/>
                  </a:cubicBezTo>
                  <a:lnTo>
                    <a:pt x="718" y="7906"/>
                  </a:lnTo>
                  <a:cubicBezTo>
                    <a:pt x="281" y="8000"/>
                    <a:pt x="0" y="8390"/>
                    <a:pt x="0" y="8859"/>
                  </a:cubicBezTo>
                  <a:cubicBezTo>
                    <a:pt x="0" y="9406"/>
                    <a:pt x="437" y="9843"/>
                    <a:pt x="984" y="9843"/>
                  </a:cubicBezTo>
                  <a:cubicBezTo>
                    <a:pt x="1281" y="9843"/>
                    <a:pt x="1547" y="9718"/>
                    <a:pt x="1750" y="9500"/>
                  </a:cubicBezTo>
                  <a:lnTo>
                    <a:pt x="5406" y="11531"/>
                  </a:lnTo>
                  <a:lnTo>
                    <a:pt x="5406" y="11562"/>
                  </a:lnTo>
                  <a:cubicBezTo>
                    <a:pt x="5406" y="12109"/>
                    <a:pt x="5843" y="12547"/>
                    <a:pt x="6390" y="12547"/>
                  </a:cubicBezTo>
                  <a:cubicBezTo>
                    <a:pt x="6984" y="12547"/>
                    <a:pt x="7375" y="12015"/>
                    <a:pt x="7312" y="11500"/>
                  </a:cubicBezTo>
                  <a:lnTo>
                    <a:pt x="11203" y="9218"/>
                  </a:lnTo>
                  <a:cubicBezTo>
                    <a:pt x="11375" y="9343"/>
                    <a:pt x="11593" y="9359"/>
                    <a:pt x="11812" y="9359"/>
                  </a:cubicBezTo>
                  <a:cubicBezTo>
                    <a:pt x="12359" y="9359"/>
                    <a:pt x="12797" y="8922"/>
                    <a:pt x="12797" y="8375"/>
                  </a:cubicBezTo>
                  <a:cubicBezTo>
                    <a:pt x="12781" y="7875"/>
                    <a:pt x="12328" y="7359"/>
                    <a:pt x="11843" y="7375"/>
                  </a:cubicBezTo>
                  <a:close/>
                  <a:moveTo>
                    <a:pt x="7578" y="484"/>
                  </a:moveTo>
                  <a:cubicBezTo>
                    <a:pt x="7843" y="484"/>
                    <a:pt x="8062" y="703"/>
                    <a:pt x="8062" y="968"/>
                  </a:cubicBezTo>
                  <a:cubicBezTo>
                    <a:pt x="8062" y="1234"/>
                    <a:pt x="7843" y="1453"/>
                    <a:pt x="7578" y="1453"/>
                  </a:cubicBezTo>
                  <a:cubicBezTo>
                    <a:pt x="7312" y="1453"/>
                    <a:pt x="7093" y="1234"/>
                    <a:pt x="7093" y="968"/>
                  </a:cubicBezTo>
                  <a:cubicBezTo>
                    <a:pt x="7093" y="718"/>
                    <a:pt x="7312" y="484"/>
                    <a:pt x="7578" y="484"/>
                  </a:cubicBezTo>
                  <a:close/>
                  <a:moveTo>
                    <a:pt x="6812" y="5578"/>
                  </a:moveTo>
                  <a:lnTo>
                    <a:pt x="5031" y="4547"/>
                  </a:lnTo>
                  <a:lnTo>
                    <a:pt x="7312" y="1922"/>
                  </a:lnTo>
                  <a:cubicBezTo>
                    <a:pt x="7343" y="1922"/>
                    <a:pt x="7265" y="1922"/>
                    <a:pt x="7312" y="1922"/>
                  </a:cubicBezTo>
                  <a:lnTo>
                    <a:pt x="6812" y="5578"/>
                  </a:lnTo>
                  <a:close/>
                  <a:moveTo>
                    <a:pt x="7234" y="6359"/>
                  </a:moveTo>
                  <a:lnTo>
                    <a:pt x="10265" y="8062"/>
                  </a:lnTo>
                  <a:lnTo>
                    <a:pt x="7015" y="8187"/>
                  </a:lnTo>
                  <a:lnTo>
                    <a:pt x="7234" y="6359"/>
                  </a:lnTo>
                  <a:close/>
                  <a:moveTo>
                    <a:pt x="6703" y="6093"/>
                  </a:moveTo>
                  <a:lnTo>
                    <a:pt x="6484" y="8265"/>
                  </a:lnTo>
                  <a:lnTo>
                    <a:pt x="4906" y="8343"/>
                  </a:lnTo>
                  <a:lnTo>
                    <a:pt x="3812" y="6078"/>
                  </a:lnTo>
                  <a:lnTo>
                    <a:pt x="4734" y="4953"/>
                  </a:lnTo>
                  <a:lnTo>
                    <a:pt x="6703" y="6093"/>
                  </a:lnTo>
                  <a:close/>
                  <a:moveTo>
                    <a:pt x="6797" y="1578"/>
                  </a:moveTo>
                  <a:cubicBezTo>
                    <a:pt x="6828" y="1625"/>
                    <a:pt x="6875" y="1656"/>
                    <a:pt x="6890" y="1703"/>
                  </a:cubicBezTo>
                  <a:lnTo>
                    <a:pt x="4640" y="4312"/>
                  </a:lnTo>
                  <a:lnTo>
                    <a:pt x="2890" y="3312"/>
                  </a:lnTo>
                  <a:lnTo>
                    <a:pt x="2890" y="3187"/>
                  </a:lnTo>
                  <a:cubicBezTo>
                    <a:pt x="2890" y="3140"/>
                    <a:pt x="2890" y="3062"/>
                    <a:pt x="2859" y="3015"/>
                  </a:cubicBezTo>
                  <a:lnTo>
                    <a:pt x="6797" y="1578"/>
                  </a:lnTo>
                  <a:close/>
                  <a:moveTo>
                    <a:pt x="2750" y="3734"/>
                  </a:moveTo>
                  <a:lnTo>
                    <a:pt x="4359" y="4640"/>
                  </a:lnTo>
                  <a:lnTo>
                    <a:pt x="3547" y="5578"/>
                  </a:lnTo>
                  <a:lnTo>
                    <a:pt x="2718" y="3765"/>
                  </a:lnTo>
                  <a:lnTo>
                    <a:pt x="2750" y="3734"/>
                  </a:lnTo>
                  <a:close/>
                  <a:moveTo>
                    <a:pt x="1437" y="3187"/>
                  </a:moveTo>
                  <a:cubicBezTo>
                    <a:pt x="1437" y="2922"/>
                    <a:pt x="1656" y="2703"/>
                    <a:pt x="1922" y="2703"/>
                  </a:cubicBezTo>
                  <a:cubicBezTo>
                    <a:pt x="2187" y="2703"/>
                    <a:pt x="2406" y="2922"/>
                    <a:pt x="2406" y="3187"/>
                  </a:cubicBezTo>
                  <a:cubicBezTo>
                    <a:pt x="2406" y="3453"/>
                    <a:pt x="2187" y="3672"/>
                    <a:pt x="1922" y="3672"/>
                  </a:cubicBezTo>
                  <a:cubicBezTo>
                    <a:pt x="1656" y="3672"/>
                    <a:pt x="1437" y="3468"/>
                    <a:pt x="1437" y="3187"/>
                  </a:cubicBezTo>
                  <a:close/>
                  <a:moveTo>
                    <a:pt x="953" y="9328"/>
                  </a:moveTo>
                  <a:cubicBezTo>
                    <a:pt x="687" y="9328"/>
                    <a:pt x="468" y="9109"/>
                    <a:pt x="468" y="8843"/>
                  </a:cubicBezTo>
                  <a:cubicBezTo>
                    <a:pt x="468" y="8578"/>
                    <a:pt x="687" y="8359"/>
                    <a:pt x="953" y="8359"/>
                  </a:cubicBezTo>
                  <a:cubicBezTo>
                    <a:pt x="1218" y="8359"/>
                    <a:pt x="1437" y="8578"/>
                    <a:pt x="1437" y="8843"/>
                  </a:cubicBezTo>
                  <a:cubicBezTo>
                    <a:pt x="1437" y="9109"/>
                    <a:pt x="1218" y="9328"/>
                    <a:pt x="953" y="9328"/>
                  </a:cubicBezTo>
                  <a:close/>
                  <a:moveTo>
                    <a:pt x="1500" y="8000"/>
                  </a:moveTo>
                  <a:cubicBezTo>
                    <a:pt x="1422" y="7953"/>
                    <a:pt x="1359" y="7922"/>
                    <a:pt x="1250" y="7875"/>
                  </a:cubicBezTo>
                  <a:lnTo>
                    <a:pt x="2140" y="4125"/>
                  </a:lnTo>
                  <a:cubicBezTo>
                    <a:pt x="2218" y="4093"/>
                    <a:pt x="2265" y="4125"/>
                    <a:pt x="2343" y="4093"/>
                  </a:cubicBezTo>
                  <a:lnTo>
                    <a:pt x="3234" y="5984"/>
                  </a:lnTo>
                  <a:lnTo>
                    <a:pt x="1500" y="8000"/>
                  </a:lnTo>
                  <a:close/>
                  <a:moveTo>
                    <a:pt x="1812" y="8343"/>
                  </a:moveTo>
                  <a:lnTo>
                    <a:pt x="3422" y="6422"/>
                  </a:lnTo>
                  <a:lnTo>
                    <a:pt x="4312" y="8406"/>
                  </a:lnTo>
                  <a:lnTo>
                    <a:pt x="1859" y="8515"/>
                  </a:lnTo>
                  <a:cubicBezTo>
                    <a:pt x="1812" y="8422"/>
                    <a:pt x="1859" y="8422"/>
                    <a:pt x="1812" y="8343"/>
                  </a:cubicBezTo>
                  <a:close/>
                  <a:moveTo>
                    <a:pt x="5500" y="10984"/>
                  </a:moveTo>
                  <a:lnTo>
                    <a:pt x="2000" y="9047"/>
                  </a:lnTo>
                  <a:lnTo>
                    <a:pt x="4547" y="8906"/>
                  </a:lnTo>
                  <a:lnTo>
                    <a:pt x="5484" y="10922"/>
                  </a:lnTo>
                  <a:cubicBezTo>
                    <a:pt x="5468" y="10968"/>
                    <a:pt x="5515" y="10922"/>
                    <a:pt x="5500" y="10984"/>
                  </a:cubicBezTo>
                  <a:close/>
                  <a:moveTo>
                    <a:pt x="5093" y="8890"/>
                  </a:moveTo>
                  <a:lnTo>
                    <a:pt x="6390" y="8812"/>
                  </a:lnTo>
                  <a:lnTo>
                    <a:pt x="6172" y="10562"/>
                  </a:lnTo>
                  <a:cubicBezTo>
                    <a:pt x="6078" y="10593"/>
                    <a:pt x="6000" y="10609"/>
                    <a:pt x="5922" y="10640"/>
                  </a:cubicBezTo>
                  <a:lnTo>
                    <a:pt x="5093" y="8890"/>
                  </a:lnTo>
                  <a:close/>
                  <a:moveTo>
                    <a:pt x="6359" y="12031"/>
                  </a:moveTo>
                  <a:cubicBezTo>
                    <a:pt x="6093" y="12031"/>
                    <a:pt x="5875" y="11812"/>
                    <a:pt x="5875" y="11547"/>
                  </a:cubicBezTo>
                  <a:cubicBezTo>
                    <a:pt x="5875" y="11281"/>
                    <a:pt x="6093" y="11062"/>
                    <a:pt x="6359" y="11062"/>
                  </a:cubicBezTo>
                  <a:cubicBezTo>
                    <a:pt x="6625" y="11062"/>
                    <a:pt x="6843" y="11281"/>
                    <a:pt x="6843" y="11547"/>
                  </a:cubicBezTo>
                  <a:cubicBezTo>
                    <a:pt x="6843" y="11812"/>
                    <a:pt x="6625" y="12031"/>
                    <a:pt x="6359" y="12031"/>
                  </a:cubicBezTo>
                  <a:close/>
                  <a:moveTo>
                    <a:pt x="7156" y="11000"/>
                  </a:moveTo>
                  <a:cubicBezTo>
                    <a:pt x="7031" y="10828"/>
                    <a:pt x="6859" y="10687"/>
                    <a:pt x="6640" y="10609"/>
                  </a:cubicBezTo>
                  <a:lnTo>
                    <a:pt x="6890" y="8812"/>
                  </a:lnTo>
                  <a:lnTo>
                    <a:pt x="10797" y="8609"/>
                  </a:lnTo>
                  <a:cubicBezTo>
                    <a:pt x="10828" y="8687"/>
                    <a:pt x="10843" y="8750"/>
                    <a:pt x="10875" y="8828"/>
                  </a:cubicBezTo>
                  <a:lnTo>
                    <a:pt x="7156" y="11000"/>
                  </a:lnTo>
                  <a:close/>
                  <a:moveTo>
                    <a:pt x="10890" y="7875"/>
                  </a:moveTo>
                  <a:lnTo>
                    <a:pt x="7281" y="5812"/>
                  </a:lnTo>
                  <a:lnTo>
                    <a:pt x="7797" y="1937"/>
                  </a:lnTo>
                  <a:cubicBezTo>
                    <a:pt x="7828" y="1937"/>
                    <a:pt x="7843" y="1937"/>
                    <a:pt x="7843" y="1906"/>
                  </a:cubicBezTo>
                  <a:lnTo>
                    <a:pt x="11250" y="7484"/>
                  </a:lnTo>
                  <a:cubicBezTo>
                    <a:pt x="11109" y="7562"/>
                    <a:pt x="10968" y="7703"/>
                    <a:pt x="10890" y="7875"/>
                  </a:cubicBezTo>
                  <a:close/>
                  <a:moveTo>
                    <a:pt x="11750" y="8843"/>
                  </a:moveTo>
                  <a:cubicBezTo>
                    <a:pt x="11484" y="8843"/>
                    <a:pt x="11265" y="8625"/>
                    <a:pt x="11265" y="8359"/>
                  </a:cubicBezTo>
                  <a:cubicBezTo>
                    <a:pt x="11265" y="8093"/>
                    <a:pt x="11484" y="7875"/>
                    <a:pt x="11750" y="7875"/>
                  </a:cubicBezTo>
                  <a:cubicBezTo>
                    <a:pt x="12015" y="7875"/>
                    <a:pt x="12234" y="8093"/>
                    <a:pt x="12234" y="8359"/>
                  </a:cubicBezTo>
                  <a:cubicBezTo>
                    <a:pt x="12250" y="8609"/>
                    <a:pt x="12031" y="8843"/>
                    <a:pt x="11750" y="88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8D707ED0-1902-457C-903F-0EBA7B7376BF}"/>
                </a:ext>
              </a:extLst>
            </p:cNvPr>
            <p:cNvSpPr/>
            <p:nvPr/>
          </p:nvSpPr>
          <p:spPr>
            <a:xfrm>
              <a:off x="6848672" y="3786704"/>
              <a:ext cx="609685" cy="534777"/>
            </a:xfrm>
            <a:custGeom>
              <a:avLst/>
              <a:gdLst>
                <a:gd name="connsiteX0" fmla="*/ 203244 w 609685"/>
                <a:gd name="connsiteY0" fmla="*/ 509389 h 534777"/>
                <a:gd name="connsiteX1" fmla="*/ 406441 w 609685"/>
                <a:gd name="connsiteY1" fmla="*/ 509389 h 534777"/>
                <a:gd name="connsiteX2" fmla="*/ 419159 w 609685"/>
                <a:gd name="connsiteY2" fmla="*/ 522059 h 534777"/>
                <a:gd name="connsiteX3" fmla="*/ 406441 w 609685"/>
                <a:gd name="connsiteY3" fmla="*/ 534777 h 534777"/>
                <a:gd name="connsiteX4" fmla="*/ 203244 w 609685"/>
                <a:gd name="connsiteY4" fmla="*/ 534777 h 534777"/>
                <a:gd name="connsiteX5" fmla="*/ 190527 w 609685"/>
                <a:gd name="connsiteY5" fmla="*/ 522059 h 534777"/>
                <a:gd name="connsiteX6" fmla="*/ 203244 w 609685"/>
                <a:gd name="connsiteY6" fmla="*/ 509389 h 534777"/>
                <a:gd name="connsiteX7" fmla="*/ 481964 w 609685"/>
                <a:gd name="connsiteY7" fmla="*/ 381097 h 534777"/>
                <a:gd name="connsiteX8" fmla="*/ 553964 w 609685"/>
                <a:gd name="connsiteY8" fmla="*/ 381097 h 534777"/>
                <a:gd name="connsiteX9" fmla="*/ 553964 w 609685"/>
                <a:gd name="connsiteY9" fmla="*/ 388297 h 534777"/>
                <a:gd name="connsiteX10" fmla="*/ 481964 w 609685"/>
                <a:gd name="connsiteY10" fmla="*/ 388297 h 534777"/>
                <a:gd name="connsiteX11" fmla="*/ 55720 w 609685"/>
                <a:gd name="connsiteY11" fmla="*/ 381097 h 534777"/>
                <a:gd name="connsiteX12" fmla="*/ 127720 w 609685"/>
                <a:gd name="connsiteY12" fmla="*/ 381097 h 534777"/>
                <a:gd name="connsiteX13" fmla="*/ 127720 w 609685"/>
                <a:gd name="connsiteY13" fmla="*/ 388297 h 534777"/>
                <a:gd name="connsiteX14" fmla="*/ 55720 w 609685"/>
                <a:gd name="connsiteY14" fmla="*/ 388297 h 534777"/>
                <a:gd name="connsiteX15" fmla="*/ 481964 w 609685"/>
                <a:gd name="connsiteY15" fmla="*/ 352743 h 534777"/>
                <a:gd name="connsiteX16" fmla="*/ 553964 w 609685"/>
                <a:gd name="connsiteY16" fmla="*/ 352743 h 534777"/>
                <a:gd name="connsiteX17" fmla="*/ 553964 w 609685"/>
                <a:gd name="connsiteY17" fmla="*/ 359943 h 534777"/>
                <a:gd name="connsiteX18" fmla="*/ 481964 w 609685"/>
                <a:gd name="connsiteY18" fmla="*/ 359943 h 534777"/>
                <a:gd name="connsiteX19" fmla="*/ 55720 w 609685"/>
                <a:gd name="connsiteY19" fmla="*/ 352743 h 534777"/>
                <a:gd name="connsiteX20" fmla="*/ 127720 w 609685"/>
                <a:gd name="connsiteY20" fmla="*/ 352743 h 534777"/>
                <a:gd name="connsiteX21" fmla="*/ 127720 w 609685"/>
                <a:gd name="connsiteY21" fmla="*/ 359943 h 534777"/>
                <a:gd name="connsiteX22" fmla="*/ 55720 w 609685"/>
                <a:gd name="connsiteY22" fmla="*/ 359943 h 534777"/>
                <a:gd name="connsiteX23" fmla="*/ 481964 w 609685"/>
                <a:gd name="connsiteY23" fmla="*/ 324384 h 534777"/>
                <a:gd name="connsiteX24" fmla="*/ 553964 w 609685"/>
                <a:gd name="connsiteY24" fmla="*/ 324384 h 534777"/>
                <a:gd name="connsiteX25" fmla="*/ 553964 w 609685"/>
                <a:gd name="connsiteY25" fmla="*/ 331584 h 534777"/>
                <a:gd name="connsiteX26" fmla="*/ 481964 w 609685"/>
                <a:gd name="connsiteY26" fmla="*/ 331584 h 534777"/>
                <a:gd name="connsiteX27" fmla="*/ 55720 w 609685"/>
                <a:gd name="connsiteY27" fmla="*/ 324384 h 534777"/>
                <a:gd name="connsiteX28" fmla="*/ 127720 w 609685"/>
                <a:gd name="connsiteY28" fmla="*/ 324384 h 534777"/>
                <a:gd name="connsiteX29" fmla="*/ 127720 w 609685"/>
                <a:gd name="connsiteY29" fmla="*/ 331584 h 534777"/>
                <a:gd name="connsiteX30" fmla="*/ 55720 w 609685"/>
                <a:gd name="connsiteY30" fmla="*/ 331584 h 534777"/>
                <a:gd name="connsiteX31" fmla="*/ 481964 w 609685"/>
                <a:gd name="connsiteY31" fmla="*/ 296025 h 534777"/>
                <a:gd name="connsiteX32" fmla="*/ 553964 w 609685"/>
                <a:gd name="connsiteY32" fmla="*/ 296025 h 534777"/>
                <a:gd name="connsiteX33" fmla="*/ 553964 w 609685"/>
                <a:gd name="connsiteY33" fmla="*/ 303225 h 534777"/>
                <a:gd name="connsiteX34" fmla="*/ 481964 w 609685"/>
                <a:gd name="connsiteY34" fmla="*/ 303225 h 534777"/>
                <a:gd name="connsiteX35" fmla="*/ 55720 w 609685"/>
                <a:gd name="connsiteY35" fmla="*/ 296025 h 534777"/>
                <a:gd name="connsiteX36" fmla="*/ 127720 w 609685"/>
                <a:gd name="connsiteY36" fmla="*/ 296025 h 534777"/>
                <a:gd name="connsiteX37" fmla="*/ 127720 w 609685"/>
                <a:gd name="connsiteY37" fmla="*/ 303225 h 534777"/>
                <a:gd name="connsiteX38" fmla="*/ 55720 w 609685"/>
                <a:gd name="connsiteY38" fmla="*/ 303225 h 534777"/>
                <a:gd name="connsiteX39" fmla="*/ 481964 w 609685"/>
                <a:gd name="connsiteY39" fmla="*/ 267666 h 534777"/>
                <a:gd name="connsiteX40" fmla="*/ 553964 w 609685"/>
                <a:gd name="connsiteY40" fmla="*/ 267666 h 534777"/>
                <a:gd name="connsiteX41" fmla="*/ 553964 w 609685"/>
                <a:gd name="connsiteY41" fmla="*/ 274866 h 534777"/>
                <a:gd name="connsiteX42" fmla="*/ 481964 w 609685"/>
                <a:gd name="connsiteY42" fmla="*/ 274866 h 534777"/>
                <a:gd name="connsiteX43" fmla="*/ 55720 w 609685"/>
                <a:gd name="connsiteY43" fmla="*/ 267666 h 534777"/>
                <a:gd name="connsiteX44" fmla="*/ 127720 w 609685"/>
                <a:gd name="connsiteY44" fmla="*/ 267666 h 534777"/>
                <a:gd name="connsiteX45" fmla="*/ 127720 w 609685"/>
                <a:gd name="connsiteY45" fmla="*/ 274866 h 534777"/>
                <a:gd name="connsiteX46" fmla="*/ 55720 w 609685"/>
                <a:gd name="connsiteY46" fmla="*/ 274866 h 534777"/>
                <a:gd name="connsiteX47" fmla="*/ 481964 w 609685"/>
                <a:gd name="connsiteY47" fmla="*/ 239307 h 534777"/>
                <a:gd name="connsiteX48" fmla="*/ 553964 w 609685"/>
                <a:gd name="connsiteY48" fmla="*/ 239307 h 534777"/>
                <a:gd name="connsiteX49" fmla="*/ 553964 w 609685"/>
                <a:gd name="connsiteY49" fmla="*/ 246507 h 534777"/>
                <a:gd name="connsiteX50" fmla="*/ 481964 w 609685"/>
                <a:gd name="connsiteY50" fmla="*/ 246507 h 534777"/>
                <a:gd name="connsiteX51" fmla="*/ 55720 w 609685"/>
                <a:gd name="connsiteY51" fmla="*/ 239307 h 534777"/>
                <a:gd name="connsiteX52" fmla="*/ 127720 w 609685"/>
                <a:gd name="connsiteY52" fmla="*/ 239307 h 534777"/>
                <a:gd name="connsiteX53" fmla="*/ 127720 w 609685"/>
                <a:gd name="connsiteY53" fmla="*/ 246507 h 534777"/>
                <a:gd name="connsiteX54" fmla="*/ 55720 w 609685"/>
                <a:gd name="connsiteY54" fmla="*/ 246507 h 534777"/>
                <a:gd name="connsiteX55" fmla="*/ 481964 w 609685"/>
                <a:gd name="connsiteY55" fmla="*/ 210948 h 534777"/>
                <a:gd name="connsiteX56" fmla="*/ 553964 w 609685"/>
                <a:gd name="connsiteY56" fmla="*/ 210948 h 534777"/>
                <a:gd name="connsiteX57" fmla="*/ 553964 w 609685"/>
                <a:gd name="connsiteY57" fmla="*/ 218148 h 534777"/>
                <a:gd name="connsiteX58" fmla="*/ 481964 w 609685"/>
                <a:gd name="connsiteY58" fmla="*/ 218148 h 534777"/>
                <a:gd name="connsiteX59" fmla="*/ 55720 w 609685"/>
                <a:gd name="connsiteY59" fmla="*/ 210948 h 534777"/>
                <a:gd name="connsiteX60" fmla="*/ 127720 w 609685"/>
                <a:gd name="connsiteY60" fmla="*/ 210948 h 534777"/>
                <a:gd name="connsiteX61" fmla="*/ 127720 w 609685"/>
                <a:gd name="connsiteY61" fmla="*/ 218148 h 534777"/>
                <a:gd name="connsiteX62" fmla="*/ 55720 w 609685"/>
                <a:gd name="connsiteY62" fmla="*/ 218148 h 534777"/>
                <a:gd name="connsiteX63" fmla="*/ 481964 w 609685"/>
                <a:gd name="connsiteY63" fmla="*/ 182589 h 534777"/>
                <a:gd name="connsiteX64" fmla="*/ 553964 w 609685"/>
                <a:gd name="connsiteY64" fmla="*/ 182589 h 534777"/>
                <a:gd name="connsiteX65" fmla="*/ 553964 w 609685"/>
                <a:gd name="connsiteY65" fmla="*/ 189789 h 534777"/>
                <a:gd name="connsiteX66" fmla="*/ 481964 w 609685"/>
                <a:gd name="connsiteY66" fmla="*/ 189789 h 534777"/>
                <a:gd name="connsiteX67" fmla="*/ 55720 w 609685"/>
                <a:gd name="connsiteY67" fmla="*/ 182589 h 534777"/>
                <a:gd name="connsiteX68" fmla="*/ 127720 w 609685"/>
                <a:gd name="connsiteY68" fmla="*/ 182589 h 534777"/>
                <a:gd name="connsiteX69" fmla="*/ 127720 w 609685"/>
                <a:gd name="connsiteY69" fmla="*/ 189789 h 534777"/>
                <a:gd name="connsiteX70" fmla="*/ 55720 w 609685"/>
                <a:gd name="connsiteY70" fmla="*/ 189789 h 534777"/>
                <a:gd name="connsiteX71" fmla="*/ 481964 w 609685"/>
                <a:gd name="connsiteY71" fmla="*/ 154230 h 534777"/>
                <a:gd name="connsiteX72" fmla="*/ 553964 w 609685"/>
                <a:gd name="connsiteY72" fmla="*/ 154230 h 534777"/>
                <a:gd name="connsiteX73" fmla="*/ 553964 w 609685"/>
                <a:gd name="connsiteY73" fmla="*/ 161430 h 534777"/>
                <a:gd name="connsiteX74" fmla="*/ 481964 w 609685"/>
                <a:gd name="connsiteY74" fmla="*/ 161430 h 534777"/>
                <a:gd name="connsiteX75" fmla="*/ 55720 w 609685"/>
                <a:gd name="connsiteY75" fmla="*/ 154230 h 534777"/>
                <a:gd name="connsiteX76" fmla="*/ 127720 w 609685"/>
                <a:gd name="connsiteY76" fmla="*/ 154230 h 534777"/>
                <a:gd name="connsiteX77" fmla="*/ 127720 w 609685"/>
                <a:gd name="connsiteY77" fmla="*/ 161430 h 534777"/>
                <a:gd name="connsiteX78" fmla="*/ 55720 w 609685"/>
                <a:gd name="connsiteY78" fmla="*/ 161430 h 534777"/>
                <a:gd name="connsiteX79" fmla="*/ 481964 w 609685"/>
                <a:gd name="connsiteY79" fmla="*/ 125871 h 534777"/>
                <a:gd name="connsiteX80" fmla="*/ 553964 w 609685"/>
                <a:gd name="connsiteY80" fmla="*/ 125871 h 534777"/>
                <a:gd name="connsiteX81" fmla="*/ 553964 w 609685"/>
                <a:gd name="connsiteY81" fmla="*/ 133071 h 534777"/>
                <a:gd name="connsiteX82" fmla="*/ 481964 w 609685"/>
                <a:gd name="connsiteY82" fmla="*/ 133071 h 534777"/>
                <a:gd name="connsiteX83" fmla="*/ 55720 w 609685"/>
                <a:gd name="connsiteY83" fmla="*/ 125871 h 534777"/>
                <a:gd name="connsiteX84" fmla="*/ 127720 w 609685"/>
                <a:gd name="connsiteY84" fmla="*/ 125871 h 534777"/>
                <a:gd name="connsiteX85" fmla="*/ 127720 w 609685"/>
                <a:gd name="connsiteY85" fmla="*/ 133071 h 534777"/>
                <a:gd name="connsiteX86" fmla="*/ 55720 w 609685"/>
                <a:gd name="connsiteY86" fmla="*/ 133071 h 534777"/>
                <a:gd name="connsiteX87" fmla="*/ 481964 w 609685"/>
                <a:gd name="connsiteY87" fmla="*/ 97512 h 534777"/>
                <a:gd name="connsiteX88" fmla="*/ 553964 w 609685"/>
                <a:gd name="connsiteY88" fmla="*/ 97512 h 534777"/>
                <a:gd name="connsiteX89" fmla="*/ 553964 w 609685"/>
                <a:gd name="connsiteY89" fmla="*/ 104712 h 534777"/>
                <a:gd name="connsiteX90" fmla="*/ 481964 w 609685"/>
                <a:gd name="connsiteY90" fmla="*/ 104712 h 534777"/>
                <a:gd name="connsiteX91" fmla="*/ 55720 w 609685"/>
                <a:gd name="connsiteY91" fmla="*/ 97512 h 534777"/>
                <a:gd name="connsiteX92" fmla="*/ 127720 w 609685"/>
                <a:gd name="connsiteY92" fmla="*/ 97512 h 534777"/>
                <a:gd name="connsiteX93" fmla="*/ 127720 w 609685"/>
                <a:gd name="connsiteY93" fmla="*/ 104712 h 534777"/>
                <a:gd name="connsiteX94" fmla="*/ 55720 w 609685"/>
                <a:gd name="connsiteY94" fmla="*/ 104712 h 534777"/>
                <a:gd name="connsiteX95" fmla="*/ 481964 w 609685"/>
                <a:gd name="connsiteY95" fmla="*/ 69153 h 534777"/>
                <a:gd name="connsiteX96" fmla="*/ 553964 w 609685"/>
                <a:gd name="connsiteY96" fmla="*/ 69153 h 534777"/>
                <a:gd name="connsiteX97" fmla="*/ 553964 w 609685"/>
                <a:gd name="connsiteY97" fmla="*/ 76353 h 534777"/>
                <a:gd name="connsiteX98" fmla="*/ 481964 w 609685"/>
                <a:gd name="connsiteY98" fmla="*/ 76353 h 534777"/>
                <a:gd name="connsiteX99" fmla="*/ 55720 w 609685"/>
                <a:gd name="connsiteY99" fmla="*/ 69153 h 534777"/>
                <a:gd name="connsiteX100" fmla="*/ 127720 w 609685"/>
                <a:gd name="connsiteY100" fmla="*/ 69153 h 534777"/>
                <a:gd name="connsiteX101" fmla="*/ 127720 w 609685"/>
                <a:gd name="connsiteY101" fmla="*/ 76353 h 534777"/>
                <a:gd name="connsiteX102" fmla="*/ 55720 w 609685"/>
                <a:gd name="connsiteY102" fmla="*/ 76353 h 534777"/>
                <a:gd name="connsiteX103" fmla="*/ 39392 w 609685"/>
                <a:gd name="connsiteY103" fmla="*/ 25436 h 534777"/>
                <a:gd name="connsiteX104" fmla="*/ 26674 w 609685"/>
                <a:gd name="connsiteY104" fmla="*/ 38107 h 534777"/>
                <a:gd name="connsiteX105" fmla="*/ 26674 w 609685"/>
                <a:gd name="connsiteY105" fmla="*/ 419172 h 534777"/>
                <a:gd name="connsiteX106" fmla="*/ 39392 w 609685"/>
                <a:gd name="connsiteY106" fmla="*/ 431890 h 534777"/>
                <a:gd name="connsiteX107" fmla="*/ 572866 w 609685"/>
                <a:gd name="connsiteY107" fmla="*/ 431890 h 534777"/>
                <a:gd name="connsiteX108" fmla="*/ 585536 w 609685"/>
                <a:gd name="connsiteY108" fmla="*/ 419172 h 534777"/>
                <a:gd name="connsiteX109" fmla="*/ 585536 w 609685"/>
                <a:gd name="connsiteY109" fmla="*/ 38107 h 534777"/>
                <a:gd name="connsiteX110" fmla="*/ 572866 w 609685"/>
                <a:gd name="connsiteY110" fmla="*/ 25436 h 534777"/>
                <a:gd name="connsiteX111" fmla="*/ 38106 w 609685"/>
                <a:gd name="connsiteY111" fmla="*/ 0 h 534777"/>
                <a:gd name="connsiteX112" fmla="*/ 571580 w 609685"/>
                <a:gd name="connsiteY112" fmla="*/ 0 h 534777"/>
                <a:gd name="connsiteX113" fmla="*/ 609685 w 609685"/>
                <a:gd name="connsiteY113" fmla="*/ 38107 h 534777"/>
                <a:gd name="connsiteX114" fmla="*/ 609685 w 609685"/>
                <a:gd name="connsiteY114" fmla="*/ 419172 h 534777"/>
                <a:gd name="connsiteX115" fmla="*/ 571580 w 609685"/>
                <a:gd name="connsiteY115" fmla="*/ 457278 h 534777"/>
                <a:gd name="connsiteX116" fmla="*/ 38106 w 609685"/>
                <a:gd name="connsiteY116" fmla="*/ 457278 h 534777"/>
                <a:gd name="connsiteX117" fmla="*/ 0 w 609685"/>
                <a:gd name="connsiteY117" fmla="*/ 419172 h 534777"/>
                <a:gd name="connsiteX118" fmla="*/ 0 w 609685"/>
                <a:gd name="connsiteY118" fmla="*/ 38107 h 534777"/>
                <a:gd name="connsiteX119" fmla="*/ 38106 w 609685"/>
                <a:gd name="connsiteY119" fmla="*/ 0 h 53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609685" h="534777">
                  <a:moveTo>
                    <a:pt x="203244" y="509389"/>
                  </a:moveTo>
                  <a:lnTo>
                    <a:pt x="406441" y="509389"/>
                  </a:lnTo>
                  <a:cubicBezTo>
                    <a:pt x="412824" y="509389"/>
                    <a:pt x="419159" y="515724"/>
                    <a:pt x="419159" y="522059"/>
                  </a:cubicBezTo>
                  <a:cubicBezTo>
                    <a:pt x="419159" y="528442"/>
                    <a:pt x="412824" y="534777"/>
                    <a:pt x="406441" y="534777"/>
                  </a:cubicBezTo>
                  <a:lnTo>
                    <a:pt x="203244" y="534777"/>
                  </a:lnTo>
                  <a:cubicBezTo>
                    <a:pt x="196862" y="534777"/>
                    <a:pt x="190527" y="528442"/>
                    <a:pt x="190527" y="522059"/>
                  </a:cubicBezTo>
                  <a:cubicBezTo>
                    <a:pt x="190527" y="515724"/>
                    <a:pt x="195623" y="509389"/>
                    <a:pt x="203244" y="509389"/>
                  </a:cubicBezTo>
                  <a:close/>
                  <a:moveTo>
                    <a:pt x="481964" y="381097"/>
                  </a:moveTo>
                  <a:lnTo>
                    <a:pt x="553964" y="381097"/>
                  </a:lnTo>
                  <a:lnTo>
                    <a:pt x="553964" y="388297"/>
                  </a:lnTo>
                  <a:lnTo>
                    <a:pt x="481964" y="388297"/>
                  </a:lnTo>
                  <a:close/>
                  <a:moveTo>
                    <a:pt x="55720" y="381097"/>
                  </a:moveTo>
                  <a:lnTo>
                    <a:pt x="127720" y="381097"/>
                  </a:lnTo>
                  <a:lnTo>
                    <a:pt x="127720" y="388297"/>
                  </a:lnTo>
                  <a:lnTo>
                    <a:pt x="55720" y="388297"/>
                  </a:lnTo>
                  <a:close/>
                  <a:moveTo>
                    <a:pt x="481964" y="352743"/>
                  </a:moveTo>
                  <a:lnTo>
                    <a:pt x="553964" y="352743"/>
                  </a:lnTo>
                  <a:lnTo>
                    <a:pt x="553964" y="359943"/>
                  </a:lnTo>
                  <a:lnTo>
                    <a:pt x="481964" y="359943"/>
                  </a:lnTo>
                  <a:close/>
                  <a:moveTo>
                    <a:pt x="55720" y="352743"/>
                  </a:moveTo>
                  <a:lnTo>
                    <a:pt x="127720" y="352743"/>
                  </a:lnTo>
                  <a:lnTo>
                    <a:pt x="127720" y="359943"/>
                  </a:lnTo>
                  <a:lnTo>
                    <a:pt x="55720" y="359943"/>
                  </a:lnTo>
                  <a:close/>
                  <a:moveTo>
                    <a:pt x="481964" y="324384"/>
                  </a:moveTo>
                  <a:lnTo>
                    <a:pt x="553964" y="324384"/>
                  </a:lnTo>
                  <a:lnTo>
                    <a:pt x="553964" y="331584"/>
                  </a:lnTo>
                  <a:lnTo>
                    <a:pt x="481964" y="331584"/>
                  </a:lnTo>
                  <a:close/>
                  <a:moveTo>
                    <a:pt x="55720" y="324384"/>
                  </a:moveTo>
                  <a:lnTo>
                    <a:pt x="127720" y="324384"/>
                  </a:lnTo>
                  <a:lnTo>
                    <a:pt x="127720" y="331584"/>
                  </a:lnTo>
                  <a:lnTo>
                    <a:pt x="55720" y="331584"/>
                  </a:lnTo>
                  <a:close/>
                  <a:moveTo>
                    <a:pt x="481964" y="296025"/>
                  </a:moveTo>
                  <a:lnTo>
                    <a:pt x="553964" y="296025"/>
                  </a:lnTo>
                  <a:lnTo>
                    <a:pt x="553964" y="303225"/>
                  </a:lnTo>
                  <a:lnTo>
                    <a:pt x="481964" y="303225"/>
                  </a:lnTo>
                  <a:close/>
                  <a:moveTo>
                    <a:pt x="55720" y="296025"/>
                  </a:moveTo>
                  <a:lnTo>
                    <a:pt x="127720" y="296025"/>
                  </a:lnTo>
                  <a:lnTo>
                    <a:pt x="127720" y="303225"/>
                  </a:lnTo>
                  <a:lnTo>
                    <a:pt x="55720" y="303225"/>
                  </a:lnTo>
                  <a:close/>
                  <a:moveTo>
                    <a:pt x="481964" y="267666"/>
                  </a:moveTo>
                  <a:lnTo>
                    <a:pt x="553964" y="267666"/>
                  </a:lnTo>
                  <a:lnTo>
                    <a:pt x="553964" y="274866"/>
                  </a:lnTo>
                  <a:lnTo>
                    <a:pt x="481964" y="274866"/>
                  </a:lnTo>
                  <a:close/>
                  <a:moveTo>
                    <a:pt x="55720" y="267666"/>
                  </a:moveTo>
                  <a:lnTo>
                    <a:pt x="127720" y="267666"/>
                  </a:lnTo>
                  <a:lnTo>
                    <a:pt x="127720" y="274866"/>
                  </a:lnTo>
                  <a:lnTo>
                    <a:pt x="55720" y="274866"/>
                  </a:lnTo>
                  <a:close/>
                  <a:moveTo>
                    <a:pt x="481964" y="239307"/>
                  </a:moveTo>
                  <a:lnTo>
                    <a:pt x="553964" y="239307"/>
                  </a:lnTo>
                  <a:lnTo>
                    <a:pt x="553964" y="246507"/>
                  </a:lnTo>
                  <a:lnTo>
                    <a:pt x="481964" y="246507"/>
                  </a:lnTo>
                  <a:close/>
                  <a:moveTo>
                    <a:pt x="55720" y="239307"/>
                  </a:moveTo>
                  <a:lnTo>
                    <a:pt x="127720" y="239307"/>
                  </a:lnTo>
                  <a:lnTo>
                    <a:pt x="127720" y="246507"/>
                  </a:lnTo>
                  <a:lnTo>
                    <a:pt x="55720" y="246507"/>
                  </a:lnTo>
                  <a:close/>
                  <a:moveTo>
                    <a:pt x="481964" y="210948"/>
                  </a:moveTo>
                  <a:lnTo>
                    <a:pt x="553964" y="210948"/>
                  </a:lnTo>
                  <a:lnTo>
                    <a:pt x="553964" y="218148"/>
                  </a:lnTo>
                  <a:lnTo>
                    <a:pt x="481964" y="218148"/>
                  </a:lnTo>
                  <a:close/>
                  <a:moveTo>
                    <a:pt x="55720" y="210948"/>
                  </a:moveTo>
                  <a:lnTo>
                    <a:pt x="127720" y="210948"/>
                  </a:lnTo>
                  <a:lnTo>
                    <a:pt x="127720" y="218148"/>
                  </a:lnTo>
                  <a:lnTo>
                    <a:pt x="55720" y="218148"/>
                  </a:lnTo>
                  <a:close/>
                  <a:moveTo>
                    <a:pt x="481964" y="182589"/>
                  </a:moveTo>
                  <a:lnTo>
                    <a:pt x="553964" y="182589"/>
                  </a:lnTo>
                  <a:lnTo>
                    <a:pt x="553964" y="189789"/>
                  </a:lnTo>
                  <a:lnTo>
                    <a:pt x="481964" y="189789"/>
                  </a:lnTo>
                  <a:close/>
                  <a:moveTo>
                    <a:pt x="55720" y="182589"/>
                  </a:moveTo>
                  <a:lnTo>
                    <a:pt x="127720" y="182589"/>
                  </a:lnTo>
                  <a:lnTo>
                    <a:pt x="127720" y="189789"/>
                  </a:lnTo>
                  <a:lnTo>
                    <a:pt x="55720" y="189789"/>
                  </a:lnTo>
                  <a:close/>
                  <a:moveTo>
                    <a:pt x="481964" y="154230"/>
                  </a:moveTo>
                  <a:lnTo>
                    <a:pt x="553964" y="154230"/>
                  </a:lnTo>
                  <a:lnTo>
                    <a:pt x="553964" y="161430"/>
                  </a:lnTo>
                  <a:lnTo>
                    <a:pt x="481964" y="161430"/>
                  </a:lnTo>
                  <a:close/>
                  <a:moveTo>
                    <a:pt x="55720" y="154230"/>
                  </a:moveTo>
                  <a:lnTo>
                    <a:pt x="127720" y="154230"/>
                  </a:lnTo>
                  <a:lnTo>
                    <a:pt x="127720" y="161430"/>
                  </a:lnTo>
                  <a:lnTo>
                    <a:pt x="55720" y="161430"/>
                  </a:lnTo>
                  <a:close/>
                  <a:moveTo>
                    <a:pt x="481964" y="125871"/>
                  </a:moveTo>
                  <a:lnTo>
                    <a:pt x="553964" y="125871"/>
                  </a:lnTo>
                  <a:lnTo>
                    <a:pt x="553964" y="133071"/>
                  </a:lnTo>
                  <a:lnTo>
                    <a:pt x="481964" y="133071"/>
                  </a:lnTo>
                  <a:close/>
                  <a:moveTo>
                    <a:pt x="55720" y="125871"/>
                  </a:moveTo>
                  <a:lnTo>
                    <a:pt x="127720" y="125871"/>
                  </a:lnTo>
                  <a:lnTo>
                    <a:pt x="127720" y="133071"/>
                  </a:lnTo>
                  <a:lnTo>
                    <a:pt x="55720" y="133071"/>
                  </a:lnTo>
                  <a:close/>
                  <a:moveTo>
                    <a:pt x="481964" y="97512"/>
                  </a:moveTo>
                  <a:lnTo>
                    <a:pt x="553964" y="97512"/>
                  </a:lnTo>
                  <a:lnTo>
                    <a:pt x="553964" y="104712"/>
                  </a:lnTo>
                  <a:lnTo>
                    <a:pt x="481964" y="104712"/>
                  </a:lnTo>
                  <a:close/>
                  <a:moveTo>
                    <a:pt x="55720" y="97512"/>
                  </a:moveTo>
                  <a:lnTo>
                    <a:pt x="127720" y="97512"/>
                  </a:lnTo>
                  <a:lnTo>
                    <a:pt x="127720" y="104712"/>
                  </a:lnTo>
                  <a:lnTo>
                    <a:pt x="55720" y="104712"/>
                  </a:lnTo>
                  <a:close/>
                  <a:moveTo>
                    <a:pt x="481964" y="69153"/>
                  </a:moveTo>
                  <a:lnTo>
                    <a:pt x="553964" y="69153"/>
                  </a:lnTo>
                  <a:lnTo>
                    <a:pt x="553964" y="76353"/>
                  </a:lnTo>
                  <a:lnTo>
                    <a:pt x="481964" y="76353"/>
                  </a:lnTo>
                  <a:close/>
                  <a:moveTo>
                    <a:pt x="55720" y="69153"/>
                  </a:moveTo>
                  <a:lnTo>
                    <a:pt x="127720" y="69153"/>
                  </a:lnTo>
                  <a:lnTo>
                    <a:pt x="127720" y="76353"/>
                  </a:lnTo>
                  <a:lnTo>
                    <a:pt x="55720" y="76353"/>
                  </a:lnTo>
                  <a:close/>
                  <a:moveTo>
                    <a:pt x="39392" y="25436"/>
                  </a:moveTo>
                  <a:cubicBezTo>
                    <a:pt x="31771" y="25436"/>
                    <a:pt x="26674" y="30485"/>
                    <a:pt x="26674" y="38107"/>
                  </a:cubicBezTo>
                  <a:lnTo>
                    <a:pt x="26674" y="419172"/>
                  </a:lnTo>
                  <a:cubicBezTo>
                    <a:pt x="26674" y="426793"/>
                    <a:pt x="31771" y="431890"/>
                    <a:pt x="39392" y="431890"/>
                  </a:cubicBezTo>
                  <a:lnTo>
                    <a:pt x="572866" y="431890"/>
                  </a:lnTo>
                  <a:cubicBezTo>
                    <a:pt x="580487" y="431890"/>
                    <a:pt x="585536" y="426793"/>
                    <a:pt x="585536" y="419172"/>
                  </a:cubicBezTo>
                  <a:lnTo>
                    <a:pt x="585536" y="38107"/>
                  </a:lnTo>
                  <a:cubicBezTo>
                    <a:pt x="585536" y="30485"/>
                    <a:pt x="580487" y="25436"/>
                    <a:pt x="572866" y="25436"/>
                  </a:cubicBezTo>
                  <a:close/>
                  <a:moveTo>
                    <a:pt x="38106" y="0"/>
                  </a:moveTo>
                  <a:lnTo>
                    <a:pt x="571580" y="0"/>
                  </a:lnTo>
                  <a:cubicBezTo>
                    <a:pt x="593157" y="0"/>
                    <a:pt x="609685" y="16529"/>
                    <a:pt x="609685" y="38107"/>
                  </a:cubicBezTo>
                  <a:lnTo>
                    <a:pt x="609685" y="419172"/>
                  </a:lnTo>
                  <a:cubicBezTo>
                    <a:pt x="609685" y="439511"/>
                    <a:pt x="593157" y="457278"/>
                    <a:pt x="571580" y="457278"/>
                  </a:cubicBezTo>
                  <a:lnTo>
                    <a:pt x="38106" y="457278"/>
                  </a:lnTo>
                  <a:cubicBezTo>
                    <a:pt x="16528" y="457278"/>
                    <a:pt x="0" y="440797"/>
                    <a:pt x="0" y="419172"/>
                  </a:cubicBezTo>
                  <a:lnTo>
                    <a:pt x="0" y="38107"/>
                  </a:lnTo>
                  <a:cubicBezTo>
                    <a:pt x="0" y="16529"/>
                    <a:pt x="16528" y="0"/>
                    <a:pt x="38106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279" name="组合 278">
            <a:extLst>
              <a:ext uri="{FF2B5EF4-FFF2-40B4-BE49-F238E27FC236}">
                <a16:creationId xmlns:a16="http://schemas.microsoft.com/office/drawing/2014/main" id="{B52A25C0-D628-4DCD-8210-8919CFDFE495}"/>
              </a:ext>
            </a:extLst>
          </p:cNvPr>
          <p:cNvGrpSpPr/>
          <p:nvPr/>
        </p:nvGrpSpPr>
        <p:grpSpPr>
          <a:xfrm>
            <a:off x="5958849" y="4696784"/>
            <a:ext cx="274302" cy="276902"/>
            <a:chOff x="5958849" y="4696784"/>
            <a:chExt cx="274302" cy="276902"/>
          </a:xfrm>
        </p:grpSpPr>
        <p:sp>
          <p:nvSpPr>
            <p:cNvPr id="242" name="analysis_247333">
              <a:extLst>
                <a:ext uri="{FF2B5EF4-FFF2-40B4-BE49-F238E27FC236}">
                  <a16:creationId xmlns:a16="http://schemas.microsoft.com/office/drawing/2014/main" id="{4E370A71-1F71-4FBE-AB81-6CB3B299A656}"/>
                </a:ext>
              </a:extLst>
            </p:cNvPr>
            <p:cNvSpPr/>
            <p:nvPr/>
          </p:nvSpPr>
          <p:spPr>
            <a:xfrm>
              <a:off x="5958849" y="4696784"/>
              <a:ext cx="274302" cy="276902"/>
            </a:xfrm>
            <a:custGeom>
              <a:avLst/>
              <a:gdLst>
                <a:gd name="connsiteX0" fmla="*/ 317826 w 602981"/>
                <a:gd name="connsiteY0" fmla="*/ 549775 h 608697"/>
                <a:gd name="connsiteX1" fmla="*/ 337514 w 602981"/>
                <a:gd name="connsiteY1" fmla="*/ 549775 h 608697"/>
                <a:gd name="connsiteX2" fmla="*/ 337514 w 602981"/>
                <a:gd name="connsiteY2" fmla="*/ 569463 h 608697"/>
                <a:gd name="connsiteX3" fmla="*/ 317826 w 602981"/>
                <a:gd name="connsiteY3" fmla="*/ 569463 h 608697"/>
                <a:gd name="connsiteX4" fmla="*/ 278451 w 602981"/>
                <a:gd name="connsiteY4" fmla="*/ 549775 h 608697"/>
                <a:gd name="connsiteX5" fmla="*/ 298209 w 602981"/>
                <a:gd name="connsiteY5" fmla="*/ 549775 h 608697"/>
                <a:gd name="connsiteX6" fmla="*/ 298209 w 602981"/>
                <a:gd name="connsiteY6" fmla="*/ 569463 h 608697"/>
                <a:gd name="connsiteX7" fmla="*/ 278451 w 602981"/>
                <a:gd name="connsiteY7" fmla="*/ 569463 h 608697"/>
                <a:gd name="connsiteX8" fmla="*/ 239217 w 602981"/>
                <a:gd name="connsiteY8" fmla="*/ 549775 h 608697"/>
                <a:gd name="connsiteX9" fmla="*/ 258834 w 602981"/>
                <a:gd name="connsiteY9" fmla="*/ 549775 h 608697"/>
                <a:gd name="connsiteX10" fmla="*/ 258834 w 602981"/>
                <a:gd name="connsiteY10" fmla="*/ 569463 h 608697"/>
                <a:gd name="connsiteX11" fmla="*/ 239217 w 602981"/>
                <a:gd name="connsiteY11" fmla="*/ 569463 h 608697"/>
                <a:gd name="connsiteX12" fmla="*/ 317826 w 602981"/>
                <a:gd name="connsiteY12" fmla="*/ 510611 h 608697"/>
                <a:gd name="connsiteX13" fmla="*/ 337514 w 602981"/>
                <a:gd name="connsiteY13" fmla="*/ 510611 h 608697"/>
                <a:gd name="connsiteX14" fmla="*/ 337514 w 602981"/>
                <a:gd name="connsiteY14" fmla="*/ 530158 h 608697"/>
                <a:gd name="connsiteX15" fmla="*/ 317826 w 602981"/>
                <a:gd name="connsiteY15" fmla="*/ 530158 h 608697"/>
                <a:gd name="connsiteX16" fmla="*/ 278451 w 602981"/>
                <a:gd name="connsiteY16" fmla="*/ 510611 h 608697"/>
                <a:gd name="connsiteX17" fmla="*/ 298209 w 602981"/>
                <a:gd name="connsiteY17" fmla="*/ 510611 h 608697"/>
                <a:gd name="connsiteX18" fmla="*/ 298209 w 602981"/>
                <a:gd name="connsiteY18" fmla="*/ 530158 h 608697"/>
                <a:gd name="connsiteX19" fmla="*/ 278451 w 602981"/>
                <a:gd name="connsiteY19" fmla="*/ 530158 h 608697"/>
                <a:gd name="connsiteX20" fmla="*/ 317826 w 602981"/>
                <a:gd name="connsiteY20" fmla="*/ 471306 h 608697"/>
                <a:gd name="connsiteX21" fmla="*/ 337514 w 602981"/>
                <a:gd name="connsiteY21" fmla="*/ 471306 h 608697"/>
                <a:gd name="connsiteX22" fmla="*/ 337514 w 602981"/>
                <a:gd name="connsiteY22" fmla="*/ 490853 h 608697"/>
                <a:gd name="connsiteX23" fmla="*/ 317826 w 602981"/>
                <a:gd name="connsiteY23" fmla="*/ 490853 h 608697"/>
                <a:gd name="connsiteX24" fmla="*/ 376852 w 602981"/>
                <a:gd name="connsiteY24" fmla="*/ 354835 h 608697"/>
                <a:gd name="connsiteX25" fmla="*/ 376852 w 602981"/>
                <a:gd name="connsiteY25" fmla="*/ 589091 h 608697"/>
                <a:gd name="connsiteX26" fmla="*/ 534211 w 602981"/>
                <a:gd name="connsiteY26" fmla="*/ 589091 h 608697"/>
                <a:gd name="connsiteX27" fmla="*/ 534211 w 602981"/>
                <a:gd name="connsiteY27" fmla="*/ 431970 h 608697"/>
                <a:gd name="connsiteX28" fmla="*/ 398976 w 602981"/>
                <a:gd name="connsiteY28" fmla="*/ 431970 h 608697"/>
                <a:gd name="connsiteX29" fmla="*/ 357216 w 602981"/>
                <a:gd name="connsiteY29" fmla="*/ 354835 h 608697"/>
                <a:gd name="connsiteX30" fmla="*/ 335092 w 602981"/>
                <a:gd name="connsiteY30" fmla="*/ 431970 h 608697"/>
                <a:gd name="connsiteX31" fmla="*/ 62225 w 602981"/>
                <a:gd name="connsiteY31" fmla="*/ 431970 h 608697"/>
                <a:gd name="connsiteX32" fmla="*/ 62225 w 602981"/>
                <a:gd name="connsiteY32" fmla="*/ 589091 h 608697"/>
                <a:gd name="connsiteX33" fmla="*/ 357216 w 602981"/>
                <a:gd name="connsiteY33" fmla="*/ 589091 h 608697"/>
                <a:gd name="connsiteX34" fmla="*/ 380078 w 602981"/>
                <a:gd name="connsiteY34" fmla="*/ 294546 h 608697"/>
                <a:gd name="connsiteX35" fmla="*/ 413726 w 602981"/>
                <a:gd name="connsiteY35" fmla="*/ 412364 h 608697"/>
                <a:gd name="connsiteX36" fmla="*/ 570348 w 602981"/>
                <a:gd name="connsiteY36" fmla="*/ 412364 h 608697"/>
                <a:gd name="connsiteX37" fmla="*/ 536608 w 602981"/>
                <a:gd name="connsiteY37" fmla="*/ 294546 h 608697"/>
                <a:gd name="connsiteX38" fmla="*/ 59736 w 602981"/>
                <a:gd name="connsiteY38" fmla="*/ 294546 h 608697"/>
                <a:gd name="connsiteX39" fmla="*/ 26088 w 602981"/>
                <a:gd name="connsiteY39" fmla="*/ 412364 h 608697"/>
                <a:gd name="connsiteX40" fmla="*/ 320250 w 602981"/>
                <a:gd name="connsiteY40" fmla="*/ 412364 h 608697"/>
                <a:gd name="connsiteX41" fmla="*/ 353990 w 602981"/>
                <a:gd name="connsiteY41" fmla="*/ 294546 h 608697"/>
                <a:gd name="connsiteX42" fmla="*/ 278491 w 602981"/>
                <a:gd name="connsiteY42" fmla="*/ 233888 h 608697"/>
                <a:gd name="connsiteX43" fmla="*/ 278491 w 602981"/>
                <a:gd name="connsiteY43" fmla="*/ 274940 h 608697"/>
                <a:gd name="connsiteX44" fmla="*/ 317854 w 602981"/>
                <a:gd name="connsiteY44" fmla="*/ 274940 h 608697"/>
                <a:gd name="connsiteX45" fmla="*/ 317854 w 602981"/>
                <a:gd name="connsiteY45" fmla="*/ 233888 h 608697"/>
                <a:gd name="connsiteX46" fmla="*/ 298218 w 602981"/>
                <a:gd name="connsiteY46" fmla="*/ 235637 h 608697"/>
                <a:gd name="connsiteX47" fmla="*/ 278491 w 602981"/>
                <a:gd name="connsiteY47" fmla="*/ 233888 h 608697"/>
                <a:gd name="connsiteX48" fmla="*/ 484985 w 602981"/>
                <a:gd name="connsiteY48" fmla="*/ 193664 h 608697"/>
                <a:gd name="connsiteX49" fmla="*/ 454932 w 602981"/>
                <a:gd name="connsiteY49" fmla="*/ 235637 h 608697"/>
                <a:gd name="connsiteX50" fmla="*/ 465349 w 602981"/>
                <a:gd name="connsiteY50" fmla="*/ 235637 h 608697"/>
                <a:gd name="connsiteX51" fmla="*/ 465349 w 602981"/>
                <a:gd name="connsiteY51" fmla="*/ 274940 h 608697"/>
                <a:gd name="connsiteX52" fmla="*/ 504712 w 602981"/>
                <a:gd name="connsiteY52" fmla="*/ 274940 h 608697"/>
                <a:gd name="connsiteX53" fmla="*/ 504712 w 602981"/>
                <a:gd name="connsiteY53" fmla="*/ 235637 h 608697"/>
                <a:gd name="connsiteX54" fmla="*/ 515037 w 602981"/>
                <a:gd name="connsiteY54" fmla="*/ 235637 h 608697"/>
                <a:gd name="connsiteX55" fmla="*/ 475213 w 602981"/>
                <a:gd name="connsiteY55" fmla="*/ 107969 h 608697"/>
                <a:gd name="connsiteX56" fmla="*/ 465349 w 602981"/>
                <a:gd name="connsiteY56" fmla="*/ 117818 h 608697"/>
                <a:gd name="connsiteX57" fmla="*/ 475213 w 602981"/>
                <a:gd name="connsiteY57" fmla="*/ 127667 h 608697"/>
                <a:gd name="connsiteX58" fmla="*/ 484985 w 602981"/>
                <a:gd name="connsiteY58" fmla="*/ 117818 h 608697"/>
                <a:gd name="connsiteX59" fmla="*/ 475213 w 602981"/>
                <a:gd name="connsiteY59" fmla="*/ 107969 h 608697"/>
                <a:gd name="connsiteX60" fmla="*/ 298218 w 602981"/>
                <a:gd name="connsiteY60" fmla="*/ 107969 h 608697"/>
                <a:gd name="connsiteX61" fmla="*/ 288354 w 602981"/>
                <a:gd name="connsiteY61" fmla="*/ 117818 h 608697"/>
                <a:gd name="connsiteX62" fmla="*/ 298218 w 602981"/>
                <a:gd name="connsiteY62" fmla="*/ 127667 h 608697"/>
                <a:gd name="connsiteX63" fmla="*/ 307990 w 602981"/>
                <a:gd name="connsiteY63" fmla="*/ 117818 h 608697"/>
                <a:gd name="connsiteX64" fmla="*/ 298218 w 602981"/>
                <a:gd name="connsiteY64" fmla="*/ 107969 h 608697"/>
                <a:gd name="connsiteX65" fmla="*/ 298218 w 602981"/>
                <a:gd name="connsiteY65" fmla="*/ 58909 h 608697"/>
                <a:gd name="connsiteX66" fmla="*/ 239219 w 602981"/>
                <a:gd name="connsiteY66" fmla="*/ 117818 h 608697"/>
                <a:gd name="connsiteX67" fmla="*/ 298218 w 602981"/>
                <a:gd name="connsiteY67" fmla="*/ 176727 h 608697"/>
                <a:gd name="connsiteX68" fmla="*/ 357216 w 602981"/>
                <a:gd name="connsiteY68" fmla="*/ 117818 h 608697"/>
                <a:gd name="connsiteX69" fmla="*/ 353068 w 602981"/>
                <a:gd name="connsiteY69" fmla="*/ 96372 h 608697"/>
                <a:gd name="connsiteX70" fmla="*/ 327256 w 602981"/>
                <a:gd name="connsiteY70" fmla="*/ 113492 h 608697"/>
                <a:gd name="connsiteX71" fmla="*/ 327717 w 602981"/>
                <a:gd name="connsiteY71" fmla="*/ 117818 h 608697"/>
                <a:gd name="connsiteX72" fmla="*/ 298218 w 602981"/>
                <a:gd name="connsiteY72" fmla="*/ 147273 h 608697"/>
                <a:gd name="connsiteX73" fmla="*/ 268719 w 602981"/>
                <a:gd name="connsiteY73" fmla="*/ 117818 h 608697"/>
                <a:gd name="connsiteX74" fmla="*/ 298218 w 602981"/>
                <a:gd name="connsiteY74" fmla="*/ 88364 h 608697"/>
                <a:gd name="connsiteX75" fmla="*/ 317946 w 602981"/>
                <a:gd name="connsiteY75" fmla="*/ 96096 h 608697"/>
                <a:gd name="connsiteX76" fmla="*/ 342928 w 602981"/>
                <a:gd name="connsiteY76" fmla="*/ 79527 h 608697"/>
                <a:gd name="connsiteX77" fmla="*/ 298218 w 602981"/>
                <a:gd name="connsiteY77" fmla="*/ 58909 h 608697"/>
                <a:gd name="connsiteX78" fmla="*/ 386716 w 602981"/>
                <a:gd name="connsiteY78" fmla="*/ 49060 h 608697"/>
                <a:gd name="connsiteX79" fmla="*/ 376852 w 602981"/>
                <a:gd name="connsiteY79" fmla="*/ 58909 h 608697"/>
                <a:gd name="connsiteX80" fmla="*/ 386716 w 602981"/>
                <a:gd name="connsiteY80" fmla="*/ 68758 h 608697"/>
                <a:gd name="connsiteX81" fmla="*/ 396487 w 602981"/>
                <a:gd name="connsiteY81" fmla="*/ 58909 h 608697"/>
                <a:gd name="connsiteX82" fmla="*/ 386716 w 602981"/>
                <a:gd name="connsiteY82" fmla="*/ 49060 h 608697"/>
                <a:gd name="connsiteX83" fmla="*/ 91724 w 602981"/>
                <a:gd name="connsiteY83" fmla="*/ 46391 h 608697"/>
                <a:gd name="connsiteX84" fmla="*/ 61671 w 602981"/>
                <a:gd name="connsiteY84" fmla="*/ 88364 h 608697"/>
                <a:gd name="connsiteX85" fmla="*/ 71996 w 602981"/>
                <a:gd name="connsiteY85" fmla="*/ 88364 h 608697"/>
                <a:gd name="connsiteX86" fmla="*/ 71996 w 602981"/>
                <a:gd name="connsiteY86" fmla="*/ 274940 h 608697"/>
                <a:gd name="connsiteX87" fmla="*/ 111359 w 602981"/>
                <a:gd name="connsiteY87" fmla="*/ 274940 h 608697"/>
                <a:gd name="connsiteX88" fmla="*/ 111359 w 602981"/>
                <a:gd name="connsiteY88" fmla="*/ 88364 h 608697"/>
                <a:gd name="connsiteX89" fmla="*/ 121776 w 602981"/>
                <a:gd name="connsiteY89" fmla="*/ 88364 h 608697"/>
                <a:gd name="connsiteX90" fmla="*/ 573482 w 602981"/>
                <a:gd name="connsiteY90" fmla="*/ 19606 h 608697"/>
                <a:gd name="connsiteX91" fmla="*/ 563710 w 602981"/>
                <a:gd name="connsiteY91" fmla="*/ 29455 h 608697"/>
                <a:gd name="connsiteX92" fmla="*/ 573482 w 602981"/>
                <a:gd name="connsiteY92" fmla="*/ 39303 h 608697"/>
                <a:gd name="connsiteX93" fmla="*/ 583346 w 602981"/>
                <a:gd name="connsiteY93" fmla="*/ 29455 h 608697"/>
                <a:gd name="connsiteX94" fmla="*/ 573482 w 602981"/>
                <a:gd name="connsiteY94" fmla="*/ 19606 h 608697"/>
                <a:gd name="connsiteX95" fmla="*/ 298218 w 602981"/>
                <a:gd name="connsiteY95" fmla="*/ 19606 h 608697"/>
                <a:gd name="connsiteX96" fmla="*/ 199856 w 602981"/>
                <a:gd name="connsiteY96" fmla="*/ 117818 h 608697"/>
                <a:gd name="connsiteX97" fmla="*/ 298218 w 602981"/>
                <a:gd name="connsiteY97" fmla="*/ 216031 h 608697"/>
                <a:gd name="connsiteX98" fmla="*/ 396487 w 602981"/>
                <a:gd name="connsiteY98" fmla="*/ 117818 h 608697"/>
                <a:gd name="connsiteX99" fmla="*/ 391786 w 602981"/>
                <a:gd name="connsiteY99" fmla="*/ 87811 h 608697"/>
                <a:gd name="connsiteX100" fmla="*/ 386716 w 602981"/>
                <a:gd name="connsiteY100" fmla="*/ 88364 h 608697"/>
                <a:gd name="connsiteX101" fmla="*/ 371597 w 602981"/>
                <a:gd name="connsiteY101" fmla="*/ 84038 h 608697"/>
                <a:gd name="connsiteX102" fmla="*/ 369754 w 602981"/>
                <a:gd name="connsiteY102" fmla="*/ 85326 h 608697"/>
                <a:gd name="connsiteX103" fmla="*/ 376852 w 602981"/>
                <a:gd name="connsiteY103" fmla="*/ 117818 h 608697"/>
                <a:gd name="connsiteX104" fmla="*/ 298218 w 602981"/>
                <a:gd name="connsiteY104" fmla="*/ 196333 h 608697"/>
                <a:gd name="connsiteX105" fmla="*/ 219492 w 602981"/>
                <a:gd name="connsiteY105" fmla="*/ 117818 h 608697"/>
                <a:gd name="connsiteX106" fmla="*/ 298218 w 602981"/>
                <a:gd name="connsiteY106" fmla="*/ 39303 h 608697"/>
                <a:gd name="connsiteX107" fmla="*/ 358691 w 602981"/>
                <a:gd name="connsiteY107" fmla="*/ 67653 h 608697"/>
                <a:gd name="connsiteX108" fmla="*/ 357216 w 602981"/>
                <a:gd name="connsiteY108" fmla="*/ 58909 h 608697"/>
                <a:gd name="connsiteX109" fmla="*/ 361826 w 602981"/>
                <a:gd name="connsiteY109" fmla="*/ 43077 h 608697"/>
                <a:gd name="connsiteX110" fmla="*/ 298218 w 602981"/>
                <a:gd name="connsiteY110" fmla="*/ 19606 h 608697"/>
                <a:gd name="connsiteX111" fmla="*/ 298218 w 602981"/>
                <a:gd name="connsiteY111" fmla="*/ 0 h 608697"/>
                <a:gd name="connsiteX112" fmla="*/ 377681 w 602981"/>
                <a:gd name="connsiteY112" fmla="*/ 31019 h 608697"/>
                <a:gd name="connsiteX113" fmla="*/ 386716 w 602981"/>
                <a:gd name="connsiteY113" fmla="*/ 29455 h 608697"/>
                <a:gd name="connsiteX114" fmla="*/ 416215 w 602981"/>
                <a:gd name="connsiteY114" fmla="*/ 58909 h 608697"/>
                <a:gd name="connsiteX115" fmla="*/ 414371 w 602981"/>
                <a:gd name="connsiteY115" fmla="*/ 68758 h 608697"/>
                <a:gd name="connsiteX116" fmla="*/ 455393 w 602981"/>
                <a:gd name="connsiteY116" fmla="*/ 96096 h 608697"/>
                <a:gd name="connsiteX117" fmla="*/ 475213 w 602981"/>
                <a:gd name="connsiteY117" fmla="*/ 88364 h 608697"/>
                <a:gd name="connsiteX118" fmla="*/ 488672 w 602981"/>
                <a:gd name="connsiteY118" fmla="*/ 91769 h 608697"/>
                <a:gd name="connsiteX119" fmla="*/ 546472 w 602981"/>
                <a:gd name="connsiteY119" fmla="*/ 41236 h 608697"/>
                <a:gd name="connsiteX120" fmla="*/ 543983 w 602981"/>
                <a:gd name="connsiteY120" fmla="*/ 29455 h 608697"/>
                <a:gd name="connsiteX121" fmla="*/ 573482 w 602981"/>
                <a:gd name="connsiteY121" fmla="*/ 0 h 608697"/>
                <a:gd name="connsiteX122" fmla="*/ 602981 w 602981"/>
                <a:gd name="connsiteY122" fmla="*/ 29455 h 608697"/>
                <a:gd name="connsiteX123" fmla="*/ 573482 w 602981"/>
                <a:gd name="connsiteY123" fmla="*/ 58909 h 608697"/>
                <a:gd name="connsiteX124" fmla="*/ 560023 w 602981"/>
                <a:gd name="connsiteY124" fmla="*/ 55503 h 608697"/>
                <a:gd name="connsiteX125" fmla="*/ 502223 w 602981"/>
                <a:gd name="connsiteY125" fmla="*/ 106036 h 608697"/>
                <a:gd name="connsiteX126" fmla="*/ 504712 w 602981"/>
                <a:gd name="connsiteY126" fmla="*/ 117818 h 608697"/>
                <a:gd name="connsiteX127" fmla="*/ 475213 w 602981"/>
                <a:gd name="connsiteY127" fmla="*/ 147273 h 608697"/>
                <a:gd name="connsiteX128" fmla="*/ 445714 w 602981"/>
                <a:gd name="connsiteY128" fmla="*/ 117818 h 608697"/>
                <a:gd name="connsiteX129" fmla="*/ 446083 w 602981"/>
                <a:gd name="connsiteY129" fmla="*/ 113492 h 608697"/>
                <a:gd name="connsiteX130" fmla="*/ 413173 w 602981"/>
                <a:gd name="connsiteY130" fmla="*/ 91585 h 608697"/>
                <a:gd name="connsiteX131" fmla="*/ 416215 w 602981"/>
                <a:gd name="connsiteY131" fmla="*/ 117818 h 608697"/>
                <a:gd name="connsiteX132" fmla="*/ 337489 w 602981"/>
                <a:gd name="connsiteY132" fmla="*/ 228733 h 608697"/>
                <a:gd name="connsiteX133" fmla="*/ 337489 w 602981"/>
                <a:gd name="connsiteY133" fmla="*/ 274940 h 608697"/>
                <a:gd name="connsiteX134" fmla="*/ 353990 w 602981"/>
                <a:gd name="connsiteY134" fmla="*/ 274940 h 608697"/>
                <a:gd name="connsiteX135" fmla="*/ 376852 w 602981"/>
                <a:gd name="connsiteY135" fmla="*/ 274940 h 608697"/>
                <a:gd name="connsiteX136" fmla="*/ 445714 w 602981"/>
                <a:gd name="connsiteY136" fmla="*/ 274940 h 608697"/>
                <a:gd name="connsiteX137" fmla="*/ 445714 w 602981"/>
                <a:gd name="connsiteY137" fmla="*/ 255242 h 608697"/>
                <a:gd name="connsiteX138" fmla="*/ 416768 w 602981"/>
                <a:gd name="connsiteY138" fmla="*/ 255242 h 608697"/>
                <a:gd name="connsiteX139" fmla="*/ 484985 w 602981"/>
                <a:gd name="connsiteY139" fmla="*/ 159791 h 608697"/>
                <a:gd name="connsiteX140" fmla="*/ 553294 w 602981"/>
                <a:gd name="connsiteY140" fmla="*/ 255242 h 608697"/>
                <a:gd name="connsiteX141" fmla="*/ 524348 w 602981"/>
                <a:gd name="connsiteY141" fmla="*/ 255242 h 608697"/>
                <a:gd name="connsiteX142" fmla="*/ 524348 w 602981"/>
                <a:gd name="connsiteY142" fmla="*/ 274940 h 608697"/>
                <a:gd name="connsiteX143" fmla="*/ 551450 w 602981"/>
                <a:gd name="connsiteY143" fmla="*/ 274940 h 608697"/>
                <a:gd name="connsiteX144" fmla="*/ 596344 w 602981"/>
                <a:gd name="connsiteY144" fmla="*/ 431970 h 608697"/>
                <a:gd name="connsiteX145" fmla="*/ 553847 w 602981"/>
                <a:gd name="connsiteY145" fmla="*/ 431970 h 608697"/>
                <a:gd name="connsiteX146" fmla="*/ 553847 w 602981"/>
                <a:gd name="connsiteY146" fmla="*/ 608697 h 608697"/>
                <a:gd name="connsiteX147" fmla="*/ 376852 w 602981"/>
                <a:gd name="connsiteY147" fmla="*/ 608697 h 608697"/>
                <a:gd name="connsiteX148" fmla="*/ 366988 w 602981"/>
                <a:gd name="connsiteY148" fmla="*/ 608697 h 608697"/>
                <a:gd name="connsiteX149" fmla="*/ 42497 w 602981"/>
                <a:gd name="connsiteY149" fmla="*/ 608697 h 608697"/>
                <a:gd name="connsiteX150" fmla="*/ 42497 w 602981"/>
                <a:gd name="connsiteY150" fmla="*/ 431970 h 608697"/>
                <a:gd name="connsiteX151" fmla="*/ 0 w 602981"/>
                <a:gd name="connsiteY151" fmla="*/ 431970 h 608697"/>
                <a:gd name="connsiteX152" fmla="*/ 44986 w 602981"/>
                <a:gd name="connsiteY152" fmla="*/ 274940 h 608697"/>
                <a:gd name="connsiteX153" fmla="*/ 52361 w 602981"/>
                <a:gd name="connsiteY153" fmla="*/ 274940 h 608697"/>
                <a:gd name="connsiteX154" fmla="*/ 52361 w 602981"/>
                <a:gd name="connsiteY154" fmla="*/ 107969 h 608697"/>
                <a:gd name="connsiteX155" fmla="*/ 23415 w 602981"/>
                <a:gd name="connsiteY155" fmla="*/ 107969 h 608697"/>
                <a:gd name="connsiteX156" fmla="*/ 91724 w 602981"/>
                <a:gd name="connsiteY156" fmla="*/ 12518 h 608697"/>
                <a:gd name="connsiteX157" fmla="*/ 159940 w 602981"/>
                <a:gd name="connsiteY157" fmla="*/ 107969 h 608697"/>
                <a:gd name="connsiteX158" fmla="*/ 130994 w 602981"/>
                <a:gd name="connsiteY158" fmla="*/ 107969 h 608697"/>
                <a:gd name="connsiteX159" fmla="*/ 130994 w 602981"/>
                <a:gd name="connsiteY159" fmla="*/ 274940 h 608697"/>
                <a:gd name="connsiteX160" fmla="*/ 258855 w 602981"/>
                <a:gd name="connsiteY160" fmla="*/ 274940 h 608697"/>
                <a:gd name="connsiteX161" fmla="*/ 258855 w 602981"/>
                <a:gd name="connsiteY161" fmla="*/ 228733 h 608697"/>
                <a:gd name="connsiteX162" fmla="*/ 180221 w 602981"/>
                <a:gd name="connsiteY162" fmla="*/ 117818 h 608697"/>
                <a:gd name="connsiteX163" fmla="*/ 298218 w 602981"/>
                <a:gd name="connsiteY163" fmla="*/ 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602981" h="608697">
                  <a:moveTo>
                    <a:pt x="317826" y="549775"/>
                  </a:moveTo>
                  <a:lnTo>
                    <a:pt x="337514" y="549775"/>
                  </a:lnTo>
                  <a:lnTo>
                    <a:pt x="337514" y="569463"/>
                  </a:lnTo>
                  <a:lnTo>
                    <a:pt x="317826" y="569463"/>
                  </a:lnTo>
                  <a:close/>
                  <a:moveTo>
                    <a:pt x="278451" y="549775"/>
                  </a:moveTo>
                  <a:lnTo>
                    <a:pt x="298209" y="549775"/>
                  </a:lnTo>
                  <a:lnTo>
                    <a:pt x="298209" y="569463"/>
                  </a:lnTo>
                  <a:lnTo>
                    <a:pt x="278451" y="569463"/>
                  </a:lnTo>
                  <a:close/>
                  <a:moveTo>
                    <a:pt x="239217" y="549775"/>
                  </a:moveTo>
                  <a:lnTo>
                    <a:pt x="258834" y="549775"/>
                  </a:lnTo>
                  <a:lnTo>
                    <a:pt x="258834" y="569463"/>
                  </a:lnTo>
                  <a:lnTo>
                    <a:pt x="239217" y="569463"/>
                  </a:lnTo>
                  <a:close/>
                  <a:moveTo>
                    <a:pt x="317826" y="510611"/>
                  </a:moveTo>
                  <a:lnTo>
                    <a:pt x="337514" y="510611"/>
                  </a:lnTo>
                  <a:lnTo>
                    <a:pt x="337514" y="530158"/>
                  </a:lnTo>
                  <a:lnTo>
                    <a:pt x="317826" y="530158"/>
                  </a:lnTo>
                  <a:close/>
                  <a:moveTo>
                    <a:pt x="278451" y="510611"/>
                  </a:moveTo>
                  <a:lnTo>
                    <a:pt x="298209" y="510611"/>
                  </a:lnTo>
                  <a:lnTo>
                    <a:pt x="298209" y="530158"/>
                  </a:lnTo>
                  <a:lnTo>
                    <a:pt x="278451" y="530158"/>
                  </a:lnTo>
                  <a:close/>
                  <a:moveTo>
                    <a:pt x="317826" y="471306"/>
                  </a:moveTo>
                  <a:lnTo>
                    <a:pt x="337514" y="471306"/>
                  </a:lnTo>
                  <a:lnTo>
                    <a:pt x="337514" y="490853"/>
                  </a:lnTo>
                  <a:lnTo>
                    <a:pt x="317826" y="490853"/>
                  </a:lnTo>
                  <a:close/>
                  <a:moveTo>
                    <a:pt x="376852" y="354835"/>
                  </a:moveTo>
                  <a:lnTo>
                    <a:pt x="376852" y="589091"/>
                  </a:lnTo>
                  <a:lnTo>
                    <a:pt x="534211" y="589091"/>
                  </a:lnTo>
                  <a:lnTo>
                    <a:pt x="534211" y="431970"/>
                  </a:lnTo>
                  <a:lnTo>
                    <a:pt x="398976" y="431970"/>
                  </a:lnTo>
                  <a:close/>
                  <a:moveTo>
                    <a:pt x="357216" y="354835"/>
                  </a:moveTo>
                  <a:lnTo>
                    <a:pt x="335092" y="431970"/>
                  </a:lnTo>
                  <a:lnTo>
                    <a:pt x="62225" y="431970"/>
                  </a:lnTo>
                  <a:lnTo>
                    <a:pt x="62225" y="589091"/>
                  </a:lnTo>
                  <a:lnTo>
                    <a:pt x="357216" y="589091"/>
                  </a:lnTo>
                  <a:close/>
                  <a:moveTo>
                    <a:pt x="380078" y="294546"/>
                  </a:moveTo>
                  <a:lnTo>
                    <a:pt x="413726" y="412364"/>
                  </a:lnTo>
                  <a:lnTo>
                    <a:pt x="570348" y="412364"/>
                  </a:lnTo>
                  <a:lnTo>
                    <a:pt x="536608" y="294546"/>
                  </a:lnTo>
                  <a:close/>
                  <a:moveTo>
                    <a:pt x="59736" y="294546"/>
                  </a:moveTo>
                  <a:lnTo>
                    <a:pt x="26088" y="412364"/>
                  </a:lnTo>
                  <a:lnTo>
                    <a:pt x="320250" y="412364"/>
                  </a:lnTo>
                  <a:lnTo>
                    <a:pt x="353990" y="294546"/>
                  </a:lnTo>
                  <a:close/>
                  <a:moveTo>
                    <a:pt x="278491" y="233888"/>
                  </a:moveTo>
                  <a:lnTo>
                    <a:pt x="278491" y="274940"/>
                  </a:lnTo>
                  <a:lnTo>
                    <a:pt x="317854" y="274940"/>
                  </a:lnTo>
                  <a:lnTo>
                    <a:pt x="317854" y="233888"/>
                  </a:lnTo>
                  <a:cubicBezTo>
                    <a:pt x="311493" y="234900"/>
                    <a:pt x="304948" y="235637"/>
                    <a:pt x="298218" y="235637"/>
                  </a:cubicBezTo>
                  <a:cubicBezTo>
                    <a:pt x="291489" y="235637"/>
                    <a:pt x="284944" y="234900"/>
                    <a:pt x="278491" y="233888"/>
                  </a:cubicBezTo>
                  <a:close/>
                  <a:moveTo>
                    <a:pt x="484985" y="193664"/>
                  </a:moveTo>
                  <a:lnTo>
                    <a:pt x="454932" y="235637"/>
                  </a:lnTo>
                  <a:lnTo>
                    <a:pt x="465349" y="235637"/>
                  </a:lnTo>
                  <a:lnTo>
                    <a:pt x="465349" y="274940"/>
                  </a:lnTo>
                  <a:lnTo>
                    <a:pt x="504712" y="274940"/>
                  </a:lnTo>
                  <a:lnTo>
                    <a:pt x="504712" y="235637"/>
                  </a:lnTo>
                  <a:lnTo>
                    <a:pt x="515037" y="235637"/>
                  </a:lnTo>
                  <a:close/>
                  <a:moveTo>
                    <a:pt x="475213" y="107969"/>
                  </a:moveTo>
                  <a:cubicBezTo>
                    <a:pt x="469774" y="107969"/>
                    <a:pt x="465349" y="112388"/>
                    <a:pt x="465349" y="117818"/>
                  </a:cubicBezTo>
                  <a:cubicBezTo>
                    <a:pt x="465349" y="123249"/>
                    <a:pt x="469774" y="127667"/>
                    <a:pt x="475213" y="127667"/>
                  </a:cubicBezTo>
                  <a:cubicBezTo>
                    <a:pt x="480652" y="127667"/>
                    <a:pt x="484985" y="123249"/>
                    <a:pt x="484985" y="117818"/>
                  </a:cubicBezTo>
                  <a:cubicBezTo>
                    <a:pt x="484985" y="112388"/>
                    <a:pt x="480652" y="107969"/>
                    <a:pt x="475213" y="107969"/>
                  </a:cubicBezTo>
                  <a:close/>
                  <a:moveTo>
                    <a:pt x="298218" y="107969"/>
                  </a:moveTo>
                  <a:cubicBezTo>
                    <a:pt x="292779" y="107969"/>
                    <a:pt x="288354" y="112388"/>
                    <a:pt x="288354" y="117818"/>
                  </a:cubicBezTo>
                  <a:cubicBezTo>
                    <a:pt x="288354" y="123249"/>
                    <a:pt x="292779" y="127667"/>
                    <a:pt x="298218" y="127667"/>
                  </a:cubicBezTo>
                  <a:cubicBezTo>
                    <a:pt x="303657" y="127667"/>
                    <a:pt x="307990" y="123249"/>
                    <a:pt x="307990" y="117818"/>
                  </a:cubicBezTo>
                  <a:cubicBezTo>
                    <a:pt x="307990" y="112388"/>
                    <a:pt x="303657" y="107969"/>
                    <a:pt x="298218" y="107969"/>
                  </a:cubicBezTo>
                  <a:close/>
                  <a:moveTo>
                    <a:pt x="298218" y="58909"/>
                  </a:moveTo>
                  <a:cubicBezTo>
                    <a:pt x="265676" y="58909"/>
                    <a:pt x="239219" y="85326"/>
                    <a:pt x="239219" y="117818"/>
                  </a:cubicBezTo>
                  <a:cubicBezTo>
                    <a:pt x="239219" y="150310"/>
                    <a:pt x="265676" y="176727"/>
                    <a:pt x="298218" y="176727"/>
                  </a:cubicBezTo>
                  <a:cubicBezTo>
                    <a:pt x="330759" y="176727"/>
                    <a:pt x="357216" y="150310"/>
                    <a:pt x="357216" y="117818"/>
                  </a:cubicBezTo>
                  <a:cubicBezTo>
                    <a:pt x="357216" y="110271"/>
                    <a:pt x="355742" y="102999"/>
                    <a:pt x="353068" y="96372"/>
                  </a:cubicBezTo>
                  <a:lnTo>
                    <a:pt x="327256" y="113492"/>
                  </a:lnTo>
                  <a:cubicBezTo>
                    <a:pt x="327441" y="114965"/>
                    <a:pt x="327717" y="116346"/>
                    <a:pt x="327717" y="117818"/>
                  </a:cubicBezTo>
                  <a:cubicBezTo>
                    <a:pt x="327717" y="134018"/>
                    <a:pt x="314443" y="147273"/>
                    <a:pt x="298218" y="147273"/>
                  </a:cubicBezTo>
                  <a:cubicBezTo>
                    <a:pt x="281901" y="147273"/>
                    <a:pt x="268719" y="134018"/>
                    <a:pt x="268719" y="117818"/>
                  </a:cubicBezTo>
                  <a:cubicBezTo>
                    <a:pt x="268719" y="101618"/>
                    <a:pt x="281901" y="88364"/>
                    <a:pt x="298218" y="88364"/>
                  </a:cubicBezTo>
                  <a:cubicBezTo>
                    <a:pt x="305870" y="88364"/>
                    <a:pt x="312691" y="91309"/>
                    <a:pt x="317946" y="96096"/>
                  </a:cubicBezTo>
                  <a:lnTo>
                    <a:pt x="342928" y="79527"/>
                  </a:lnTo>
                  <a:cubicBezTo>
                    <a:pt x="332142" y="66917"/>
                    <a:pt x="316102" y="58909"/>
                    <a:pt x="298218" y="58909"/>
                  </a:cubicBezTo>
                  <a:close/>
                  <a:moveTo>
                    <a:pt x="386716" y="49060"/>
                  </a:moveTo>
                  <a:cubicBezTo>
                    <a:pt x="381277" y="49060"/>
                    <a:pt x="376852" y="53478"/>
                    <a:pt x="376852" y="58909"/>
                  </a:cubicBezTo>
                  <a:cubicBezTo>
                    <a:pt x="376852" y="64340"/>
                    <a:pt x="381277" y="68758"/>
                    <a:pt x="386716" y="68758"/>
                  </a:cubicBezTo>
                  <a:cubicBezTo>
                    <a:pt x="392155" y="68758"/>
                    <a:pt x="396487" y="64340"/>
                    <a:pt x="396487" y="58909"/>
                  </a:cubicBezTo>
                  <a:cubicBezTo>
                    <a:pt x="396487" y="53478"/>
                    <a:pt x="392155" y="49060"/>
                    <a:pt x="386716" y="49060"/>
                  </a:cubicBezTo>
                  <a:close/>
                  <a:moveTo>
                    <a:pt x="91724" y="46391"/>
                  </a:moveTo>
                  <a:lnTo>
                    <a:pt x="61671" y="88364"/>
                  </a:lnTo>
                  <a:lnTo>
                    <a:pt x="71996" y="88364"/>
                  </a:lnTo>
                  <a:lnTo>
                    <a:pt x="71996" y="274940"/>
                  </a:lnTo>
                  <a:lnTo>
                    <a:pt x="111359" y="274940"/>
                  </a:lnTo>
                  <a:lnTo>
                    <a:pt x="111359" y="88364"/>
                  </a:lnTo>
                  <a:lnTo>
                    <a:pt x="121776" y="88364"/>
                  </a:lnTo>
                  <a:close/>
                  <a:moveTo>
                    <a:pt x="573482" y="19606"/>
                  </a:moveTo>
                  <a:cubicBezTo>
                    <a:pt x="568135" y="19606"/>
                    <a:pt x="563710" y="24024"/>
                    <a:pt x="563710" y="29455"/>
                  </a:cubicBezTo>
                  <a:cubicBezTo>
                    <a:pt x="563710" y="34885"/>
                    <a:pt x="568135" y="39303"/>
                    <a:pt x="573482" y="39303"/>
                  </a:cubicBezTo>
                  <a:cubicBezTo>
                    <a:pt x="578921" y="39303"/>
                    <a:pt x="583346" y="34885"/>
                    <a:pt x="583346" y="29455"/>
                  </a:cubicBezTo>
                  <a:cubicBezTo>
                    <a:pt x="583346" y="24024"/>
                    <a:pt x="578921" y="19606"/>
                    <a:pt x="573482" y="19606"/>
                  </a:cubicBezTo>
                  <a:close/>
                  <a:moveTo>
                    <a:pt x="298218" y="19606"/>
                  </a:moveTo>
                  <a:cubicBezTo>
                    <a:pt x="244013" y="19606"/>
                    <a:pt x="199856" y="63695"/>
                    <a:pt x="199856" y="117818"/>
                  </a:cubicBezTo>
                  <a:cubicBezTo>
                    <a:pt x="199856" y="171941"/>
                    <a:pt x="244013" y="216031"/>
                    <a:pt x="298218" y="216031"/>
                  </a:cubicBezTo>
                  <a:cubicBezTo>
                    <a:pt x="352423" y="216031"/>
                    <a:pt x="396487" y="171941"/>
                    <a:pt x="396487" y="117818"/>
                  </a:cubicBezTo>
                  <a:cubicBezTo>
                    <a:pt x="396487" y="107509"/>
                    <a:pt x="394920" y="97476"/>
                    <a:pt x="391786" y="87811"/>
                  </a:cubicBezTo>
                  <a:cubicBezTo>
                    <a:pt x="390126" y="88180"/>
                    <a:pt x="388467" y="88364"/>
                    <a:pt x="386716" y="88364"/>
                  </a:cubicBezTo>
                  <a:cubicBezTo>
                    <a:pt x="381092" y="88364"/>
                    <a:pt x="376022" y="86707"/>
                    <a:pt x="371597" y="84038"/>
                  </a:cubicBezTo>
                  <a:lnTo>
                    <a:pt x="369754" y="85326"/>
                  </a:lnTo>
                  <a:cubicBezTo>
                    <a:pt x="374271" y="95175"/>
                    <a:pt x="376852" y="106221"/>
                    <a:pt x="376852" y="117818"/>
                  </a:cubicBezTo>
                  <a:cubicBezTo>
                    <a:pt x="376852" y="161172"/>
                    <a:pt x="341545" y="196333"/>
                    <a:pt x="298218" y="196333"/>
                  </a:cubicBezTo>
                  <a:cubicBezTo>
                    <a:pt x="254799" y="196333"/>
                    <a:pt x="219492" y="161172"/>
                    <a:pt x="219492" y="117818"/>
                  </a:cubicBezTo>
                  <a:cubicBezTo>
                    <a:pt x="219492" y="74465"/>
                    <a:pt x="254799" y="39303"/>
                    <a:pt x="298218" y="39303"/>
                  </a:cubicBezTo>
                  <a:cubicBezTo>
                    <a:pt x="322463" y="39303"/>
                    <a:pt x="344218" y="50349"/>
                    <a:pt x="358691" y="67653"/>
                  </a:cubicBezTo>
                  <a:cubicBezTo>
                    <a:pt x="357770" y="64892"/>
                    <a:pt x="357216" y="61947"/>
                    <a:pt x="357216" y="58909"/>
                  </a:cubicBezTo>
                  <a:cubicBezTo>
                    <a:pt x="357216" y="53110"/>
                    <a:pt x="358968" y="47680"/>
                    <a:pt x="361826" y="43077"/>
                  </a:cubicBezTo>
                  <a:cubicBezTo>
                    <a:pt x="344126" y="27890"/>
                    <a:pt x="321817" y="19606"/>
                    <a:pt x="298218" y="19606"/>
                  </a:cubicBezTo>
                  <a:close/>
                  <a:moveTo>
                    <a:pt x="298218" y="0"/>
                  </a:moveTo>
                  <a:cubicBezTo>
                    <a:pt x="327994" y="0"/>
                    <a:pt x="355834" y="11045"/>
                    <a:pt x="377681" y="31019"/>
                  </a:cubicBezTo>
                  <a:cubicBezTo>
                    <a:pt x="380539" y="30099"/>
                    <a:pt x="383489" y="29455"/>
                    <a:pt x="386716" y="29455"/>
                  </a:cubicBezTo>
                  <a:cubicBezTo>
                    <a:pt x="402940" y="29455"/>
                    <a:pt x="416215" y="42709"/>
                    <a:pt x="416215" y="58909"/>
                  </a:cubicBezTo>
                  <a:cubicBezTo>
                    <a:pt x="416215" y="62407"/>
                    <a:pt x="415477" y="65721"/>
                    <a:pt x="414371" y="68758"/>
                  </a:cubicBezTo>
                  <a:lnTo>
                    <a:pt x="455393" y="96096"/>
                  </a:lnTo>
                  <a:cubicBezTo>
                    <a:pt x="460648" y="91309"/>
                    <a:pt x="467562" y="88364"/>
                    <a:pt x="475213" y="88364"/>
                  </a:cubicBezTo>
                  <a:cubicBezTo>
                    <a:pt x="480099" y="88364"/>
                    <a:pt x="484616" y="89652"/>
                    <a:pt x="488672" y="91769"/>
                  </a:cubicBezTo>
                  <a:lnTo>
                    <a:pt x="546472" y="41236"/>
                  </a:lnTo>
                  <a:cubicBezTo>
                    <a:pt x="544905" y="37647"/>
                    <a:pt x="543983" y="33689"/>
                    <a:pt x="543983" y="29455"/>
                  </a:cubicBezTo>
                  <a:cubicBezTo>
                    <a:pt x="543983" y="13255"/>
                    <a:pt x="557258" y="0"/>
                    <a:pt x="573482" y="0"/>
                  </a:cubicBezTo>
                  <a:cubicBezTo>
                    <a:pt x="589799" y="0"/>
                    <a:pt x="602981" y="13255"/>
                    <a:pt x="602981" y="29455"/>
                  </a:cubicBezTo>
                  <a:cubicBezTo>
                    <a:pt x="602981" y="45655"/>
                    <a:pt x="589799" y="58909"/>
                    <a:pt x="573482" y="58909"/>
                  </a:cubicBezTo>
                  <a:cubicBezTo>
                    <a:pt x="568596" y="58909"/>
                    <a:pt x="564079" y="57620"/>
                    <a:pt x="560023" y="55503"/>
                  </a:cubicBezTo>
                  <a:lnTo>
                    <a:pt x="502223" y="106036"/>
                  </a:lnTo>
                  <a:cubicBezTo>
                    <a:pt x="503790" y="109626"/>
                    <a:pt x="504712" y="113584"/>
                    <a:pt x="504712" y="117818"/>
                  </a:cubicBezTo>
                  <a:cubicBezTo>
                    <a:pt x="504712" y="134018"/>
                    <a:pt x="491438" y="147273"/>
                    <a:pt x="475213" y="147273"/>
                  </a:cubicBezTo>
                  <a:cubicBezTo>
                    <a:pt x="458896" y="147273"/>
                    <a:pt x="445714" y="134018"/>
                    <a:pt x="445714" y="117818"/>
                  </a:cubicBezTo>
                  <a:cubicBezTo>
                    <a:pt x="445714" y="116346"/>
                    <a:pt x="445898" y="114965"/>
                    <a:pt x="446083" y="113492"/>
                  </a:cubicBezTo>
                  <a:lnTo>
                    <a:pt x="413173" y="91585"/>
                  </a:lnTo>
                  <a:cubicBezTo>
                    <a:pt x="415109" y="100146"/>
                    <a:pt x="416215" y="108890"/>
                    <a:pt x="416215" y="117818"/>
                  </a:cubicBezTo>
                  <a:cubicBezTo>
                    <a:pt x="416215" y="168996"/>
                    <a:pt x="383305" y="212533"/>
                    <a:pt x="337489" y="228733"/>
                  </a:cubicBezTo>
                  <a:lnTo>
                    <a:pt x="337489" y="274940"/>
                  </a:lnTo>
                  <a:lnTo>
                    <a:pt x="353990" y="274940"/>
                  </a:lnTo>
                  <a:lnTo>
                    <a:pt x="376852" y="274940"/>
                  </a:lnTo>
                  <a:lnTo>
                    <a:pt x="445714" y="274940"/>
                  </a:lnTo>
                  <a:lnTo>
                    <a:pt x="445714" y="255242"/>
                  </a:lnTo>
                  <a:lnTo>
                    <a:pt x="416768" y="255242"/>
                  </a:lnTo>
                  <a:lnTo>
                    <a:pt x="484985" y="159791"/>
                  </a:lnTo>
                  <a:lnTo>
                    <a:pt x="553294" y="255242"/>
                  </a:lnTo>
                  <a:lnTo>
                    <a:pt x="524348" y="255242"/>
                  </a:lnTo>
                  <a:lnTo>
                    <a:pt x="524348" y="274940"/>
                  </a:lnTo>
                  <a:lnTo>
                    <a:pt x="551450" y="274940"/>
                  </a:lnTo>
                  <a:lnTo>
                    <a:pt x="596344" y="431970"/>
                  </a:lnTo>
                  <a:lnTo>
                    <a:pt x="553847" y="431970"/>
                  </a:lnTo>
                  <a:lnTo>
                    <a:pt x="553847" y="608697"/>
                  </a:lnTo>
                  <a:lnTo>
                    <a:pt x="376852" y="608697"/>
                  </a:lnTo>
                  <a:lnTo>
                    <a:pt x="366988" y="608697"/>
                  </a:lnTo>
                  <a:lnTo>
                    <a:pt x="42497" y="608697"/>
                  </a:lnTo>
                  <a:lnTo>
                    <a:pt x="42497" y="431970"/>
                  </a:lnTo>
                  <a:lnTo>
                    <a:pt x="0" y="431970"/>
                  </a:lnTo>
                  <a:lnTo>
                    <a:pt x="44986" y="274940"/>
                  </a:lnTo>
                  <a:lnTo>
                    <a:pt x="52361" y="274940"/>
                  </a:lnTo>
                  <a:lnTo>
                    <a:pt x="52361" y="107969"/>
                  </a:lnTo>
                  <a:lnTo>
                    <a:pt x="23415" y="107969"/>
                  </a:lnTo>
                  <a:lnTo>
                    <a:pt x="91724" y="12518"/>
                  </a:lnTo>
                  <a:lnTo>
                    <a:pt x="159940" y="107969"/>
                  </a:lnTo>
                  <a:lnTo>
                    <a:pt x="130994" y="107969"/>
                  </a:lnTo>
                  <a:lnTo>
                    <a:pt x="130994" y="274940"/>
                  </a:lnTo>
                  <a:lnTo>
                    <a:pt x="258855" y="274940"/>
                  </a:lnTo>
                  <a:lnTo>
                    <a:pt x="258855" y="228733"/>
                  </a:lnTo>
                  <a:cubicBezTo>
                    <a:pt x="213131" y="212533"/>
                    <a:pt x="180221" y="168996"/>
                    <a:pt x="180221" y="117818"/>
                  </a:cubicBezTo>
                  <a:cubicBezTo>
                    <a:pt x="180221" y="52834"/>
                    <a:pt x="233135" y="0"/>
                    <a:pt x="2982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文本框 277">
              <a:extLst>
                <a:ext uri="{FF2B5EF4-FFF2-40B4-BE49-F238E27FC236}">
                  <a16:creationId xmlns:a16="http://schemas.microsoft.com/office/drawing/2014/main" id="{8A0D19BE-C3C1-439D-83E0-9FE168C1AA87}"/>
                </a:ext>
              </a:extLst>
            </p:cNvPr>
            <p:cNvSpPr txBox="1"/>
            <p:nvPr/>
          </p:nvSpPr>
          <p:spPr>
            <a:xfrm>
              <a:off x="5985428" y="4838275"/>
              <a:ext cx="110679" cy="36000"/>
            </a:xfrm>
            <a:custGeom>
              <a:avLst/>
              <a:gdLst/>
              <a:ahLst/>
              <a:cxnLst/>
              <a:rect l="l" t="t" r="r" b="b"/>
              <a:pathLst>
                <a:path w="419481" h="173279">
                  <a:moveTo>
                    <a:pt x="164668" y="18517"/>
                  </a:moveTo>
                  <a:lnTo>
                    <a:pt x="164668" y="154762"/>
                  </a:lnTo>
                  <a:lnTo>
                    <a:pt x="185242" y="154762"/>
                  </a:lnTo>
                  <a:cubicBezTo>
                    <a:pt x="205207" y="154762"/>
                    <a:pt x="220370" y="148666"/>
                    <a:pt x="230734" y="136474"/>
                  </a:cubicBezTo>
                  <a:cubicBezTo>
                    <a:pt x="240640" y="124587"/>
                    <a:pt x="245593" y="107747"/>
                    <a:pt x="245593" y="85954"/>
                  </a:cubicBezTo>
                  <a:cubicBezTo>
                    <a:pt x="245593" y="40996"/>
                    <a:pt x="225476" y="18517"/>
                    <a:pt x="185242" y="18517"/>
                  </a:cubicBezTo>
                  <a:close/>
                  <a:moveTo>
                    <a:pt x="298094" y="2972"/>
                  </a:moveTo>
                  <a:lnTo>
                    <a:pt x="317068" y="2972"/>
                  </a:lnTo>
                  <a:lnTo>
                    <a:pt x="317068" y="89154"/>
                  </a:lnTo>
                  <a:lnTo>
                    <a:pt x="317525" y="89154"/>
                  </a:lnTo>
                  <a:lnTo>
                    <a:pt x="389992" y="2972"/>
                  </a:lnTo>
                  <a:lnTo>
                    <a:pt x="411709" y="2972"/>
                  </a:lnTo>
                  <a:lnTo>
                    <a:pt x="359131" y="66294"/>
                  </a:lnTo>
                  <a:lnTo>
                    <a:pt x="419481" y="170307"/>
                  </a:lnTo>
                  <a:lnTo>
                    <a:pt x="398221" y="170307"/>
                  </a:lnTo>
                  <a:lnTo>
                    <a:pt x="347015" y="81153"/>
                  </a:lnTo>
                  <a:lnTo>
                    <a:pt x="317068" y="116358"/>
                  </a:lnTo>
                  <a:lnTo>
                    <a:pt x="317068" y="170307"/>
                  </a:lnTo>
                  <a:lnTo>
                    <a:pt x="298094" y="170307"/>
                  </a:lnTo>
                  <a:close/>
                  <a:moveTo>
                    <a:pt x="145694" y="2972"/>
                  </a:moveTo>
                  <a:lnTo>
                    <a:pt x="186842" y="2972"/>
                  </a:lnTo>
                  <a:cubicBezTo>
                    <a:pt x="238963" y="2972"/>
                    <a:pt x="265024" y="30633"/>
                    <a:pt x="265024" y="85954"/>
                  </a:cubicBezTo>
                  <a:cubicBezTo>
                    <a:pt x="265024" y="112624"/>
                    <a:pt x="258470" y="133274"/>
                    <a:pt x="245364" y="147904"/>
                  </a:cubicBezTo>
                  <a:cubicBezTo>
                    <a:pt x="231953" y="162840"/>
                    <a:pt x="212674" y="170307"/>
                    <a:pt x="187528" y="170307"/>
                  </a:cubicBezTo>
                  <a:lnTo>
                    <a:pt x="145694" y="170307"/>
                  </a:lnTo>
                  <a:close/>
                  <a:moveTo>
                    <a:pt x="59893" y="0"/>
                  </a:moveTo>
                  <a:cubicBezTo>
                    <a:pt x="79400" y="0"/>
                    <a:pt x="95631" y="6858"/>
                    <a:pt x="108585" y="20574"/>
                  </a:cubicBezTo>
                  <a:lnTo>
                    <a:pt x="98527" y="32690"/>
                  </a:lnTo>
                  <a:cubicBezTo>
                    <a:pt x="87401" y="22022"/>
                    <a:pt x="74524" y="16688"/>
                    <a:pt x="59893" y="16688"/>
                  </a:cubicBezTo>
                  <a:cubicBezTo>
                    <a:pt x="38252" y="16688"/>
                    <a:pt x="27432" y="25222"/>
                    <a:pt x="27432" y="42291"/>
                  </a:cubicBezTo>
                  <a:cubicBezTo>
                    <a:pt x="27432" y="49911"/>
                    <a:pt x="30480" y="56236"/>
                    <a:pt x="36576" y="61265"/>
                  </a:cubicBezTo>
                  <a:cubicBezTo>
                    <a:pt x="39014" y="63094"/>
                    <a:pt x="41986" y="64999"/>
                    <a:pt x="45491" y="66980"/>
                  </a:cubicBezTo>
                  <a:lnTo>
                    <a:pt x="79553" y="81610"/>
                  </a:lnTo>
                  <a:cubicBezTo>
                    <a:pt x="90678" y="86487"/>
                    <a:pt x="98908" y="91897"/>
                    <a:pt x="104242" y="97841"/>
                  </a:cubicBezTo>
                  <a:cubicBezTo>
                    <a:pt x="110947" y="105461"/>
                    <a:pt x="114300" y="114986"/>
                    <a:pt x="114300" y="126416"/>
                  </a:cubicBezTo>
                  <a:cubicBezTo>
                    <a:pt x="114300" y="139827"/>
                    <a:pt x="109271" y="150952"/>
                    <a:pt x="99212" y="159792"/>
                  </a:cubicBezTo>
                  <a:cubicBezTo>
                    <a:pt x="88697" y="168783"/>
                    <a:pt x="74981" y="173279"/>
                    <a:pt x="58064" y="173279"/>
                  </a:cubicBezTo>
                  <a:cubicBezTo>
                    <a:pt x="34900" y="173279"/>
                    <a:pt x="15545" y="164973"/>
                    <a:pt x="0" y="148362"/>
                  </a:cubicBezTo>
                  <a:lnTo>
                    <a:pt x="11430" y="135331"/>
                  </a:lnTo>
                  <a:cubicBezTo>
                    <a:pt x="24536" y="149505"/>
                    <a:pt x="40157" y="156591"/>
                    <a:pt x="58293" y="156591"/>
                  </a:cubicBezTo>
                  <a:cubicBezTo>
                    <a:pt x="82829" y="156591"/>
                    <a:pt x="95098" y="146990"/>
                    <a:pt x="95098" y="127788"/>
                  </a:cubicBezTo>
                  <a:cubicBezTo>
                    <a:pt x="95098" y="119710"/>
                    <a:pt x="92354" y="113157"/>
                    <a:pt x="86868" y="108128"/>
                  </a:cubicBezTo>
                  <a:cubicBezTo>
                    <a:pt x="84582" y="106147"/>
                    <a:pt x="81534" y="104166"/>
                    <a:pt x="77724" y="102184"/>
                  </a:cubicBezTo>
                  <a:cubicBezTo>
                    <a:pt x="75438" y="100965"/>
                    <a:pt x="71704" y="99213"/>
                    <a:pt x="66523" y="96927"/>
                  </a:cubicBezTo>
                  <a:lnTo>
                    <a:pt x="42291" y="86182"/>
                  </a:lnTo>
                  <a:cubicBezTo>
                    <a:pt x="37719" y="84201"/>
                    <a:pt x="33757" y="82220"/>
                    <a:pt x="30404" y="80239"/>
                  </a:cubicBezTo>
                  <a:cubicBezTo>
                    <a:pt x="26137" y="77648"/>
                    <a:pt x="22479" y="74752"/>
                    <a:pt x="19431" y="71552"/>
                  </a:cubicBezTo>
                  <a:cubicBezTo>
                    <a:pt x="11963" y="63932"/>
                    <a:pt x="8230" y="54636"/>
                    <a:pt x="8230" y="43663"/>
                  </a:cubicBezTo>
                  <a:cubicBezTo>
                    <a:pt x="8230" y="31014"/>
                    <a:pt x="13106" y="20574"/>
                    <a:pt x="22860" y="12345"/>
                  </a:cubicBezTo>
                  <a:cubicBezTo>
                    <a:pt x="32614" y="4115"/>
                    <a:pt x="44958" y="0"/>
                    <a:pt x="59893" y="0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dirty="0"/>
            </a:p>
          </p:txBody>
        </p:sp>
      </p:grpSp>
      <p:sp>
        <p:nvSpPr>
          <p:cNvPr id="246" name="矩形: 圆顶角 245">
            <a:extLst>
              <a:ext uri="{FF2B5EF4-FFF2-40B4-BE49-F238E27FC236}">
                <a16:creationId xmlns:a16="http://schemas.microsoft.com/office/drawing/2014/main" id="{D68D766F-0BA1-42C3-8E2A-38E29D0AD680}"/>
              </a:ext>
            </a:extLst>
          </p:cNvPr>
          <p:cNvSpPr/>
          <p:nvPr/>
        </p:nvSpPr>
        <p:spPr>
          <a:xfrm>
            <a:off x="4596768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SDK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47" name="矩形: 圆顶角 246">
            <a:extLst>
              <a:ext uri="{FF2B5EF4-FFF2-40B4-BE49-F238E27FC236}">
                <a16:creationId xmlns:a16="http://schemas.microsoft.com/office/drawing/2014/main" id="{3BA97539-8E86-4480-A6E0-A85E7FDAF9B0}"/>
              </a:ext>
            </a:extLst>
          </p:cNvPr>
          <p:cNvSpPr/>
          <p:nvPr/>
        </p:nvSpPr>
        <p:spPr>
          <a:xfrm>
            <a:off x="5610000" y="6606000"/>
            <a:ext cx="972000" cy="252000"/>
          </a:xfrm>
          <a:prstGeom prst="round2Same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</a:rPr>
              <a:t>OCR Edge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48" name="矩形: 圆顶角 247">
            <a:extLst>
              <a:ext uri="{FF2B5EF4-FFF2-40B4-BE49-F238E27FC236}">
                <a16:creationId xmlns:a16="http://schemas.microsoft.com/office/drawing/2014/main" id="{1F5D246E-0869-40A4-9973-785B6693E128}"/>
              </a:ext>
            </a:extLst>
          </p:cNvPr>
          <p:cNvSpPr/>
          <p:nvPr/>
        </p:nvSpPr>
        <p:spPr>
          <a:xfrm>
            <a:off x="6623232" y="6606000"/>
            <a:ext cx="972000" cy="252000"/>
          </a:xfrm>
          <a:prstGeom prst="round2Same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0" bIns="0" rtlCol="0" anchor="ctr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OCR Server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50" name="矩形 249">
            <a:extLst>
              <a:ext uri="{FF2B5EF4-FFF2-40B4-BE49-F238E27FC236}">
                <a16:creationId xmlns:a16="http://schemas.microsoft.com/office/drawing/2014/main" id="{9D8E9324-0D00-4543-8473-26C191D11160}"/>
              </a:ext>
            </a:extLst>
          </p:cNvPr>
          <p:cNvSpPr/>
          <p:nvPr/>
        </p:nvSpPr>
        <p:spPr>
          <a:xfrm>
            <a:off x="4986596" y="6098379"/>
            <a:ext cx="22188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dirty="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详细价格请咨询销售人员</a:t>
            </a:r>
            <a:endParaRPr lang="en-US" altLang="zh-CN" sz="1050" dirty="0">
              <a:solidFill>
                <a:schemeClr val="bg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620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矩形: 圆顶角 131">
            <a:extLst>
              <a:ext uri="{FF2B5EF4-FFF2-40B4-BE49-F238E27FC236}">
                <a16:creationId xmlns:a16="http://schemas.microsoft.com/office/drawing/2014/main" id="{2FDB3586-01FA-44CE-9FDD-0DD9A47C1375}"/>
              </a:ext>
            </a:extLst>
          </p:cNvPr>
          <p:cNvSpPr/>
          <p:nvPr/>
        </p:nvSpPr>
        <p:spPr>
          <a:xfrm>
            <a:off x="3254301" y="184693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文本框 132">
            <a:extLst>
              <a:ext uri="{FF2B5EF4-FFF2-40B4-BE49-F238E27FC236}">
                <a16:creationId xmlns:a16="http://schemas.microsoft.com/office/drawing/2014/main" id="{738B0C0B-D01B-408D-994C-4DA4D2CE9A6D}"/>
              </a:ext>
            </a:extLst>
          </p:cNvPr>
          <p:cNvSpPr txBox="1"/>
          <p:nvPr/>
        </p:nvSpPr>
        <p:spPr>
          <a:xfrm>
            <a:off x="3254301" y="186952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舍弗勒-轴承字符识别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舍弗勒-调整环字符识别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广汽本田-汽车微小元器件字符检测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伟景-车架号码识别</a:t>
            </a:r>
          </a:p>
        </p:txBody>
      </p:sp>
      <p:grpSp>
        <p:nvGrpSpPr>
          <p:cNvPr id="134" name="组合 133">
            <a:extLst>
              <a:ext uri="{FF2B5EF4-FFF2-40B4-BE49-F238E27FC236}">
                <a16:creationId xmlns:a16="http://schemas.microsoft.com/office/drawing/2014/main" id="{84E5BB88-C2B2-41B7-9930-15C431039058}"/>
              </a:ext>
            </a:extLst>
          </p:cNvPr>
          <p:cNvGrpSpPr/>
          <p:nvPr/>
        </p:nvGrpSpPr>
        <p:grpSpPr>
          <a:xfrm>
            <a:off x="3328120" y="1990726"/>
            <a:ext cx="100012" cy="100012"/>
            <a:chOff x="4936473" y="3105150"/>
            <a:chExt cx="174782" cy="174782"/>
          </a:xfrm>
        </p:grpSpPr>
        <p:sp>
          <p:nvSpPr>
            <p:cNvPr id="171" name="椭圆 170">
              <a:extLst>
                <a:ext uri="{FF2B5EF4-FFF2-40B4-BE49-F238E27FC236}">
                  <a16:creationId xmlns:a16="http://schemas.microsoft.com/office/drawing/2014/main" id="{A7691564-3FDA-4F97-81FF-914945EEC3B7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72" name="组合 171">
              <a:extLst>
                <a:ext uri="{FF2B5EF4-FFF2-40B4-BE49-F238E27FC236}">
                  <a16:creationId xmlns:a16="http://schemas.microsoft.com/office/drawing/2014/main" id="{BDE59FE3-6C68-43A7-907E-759E4E47A7C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73" name="直接连接符 172">
                <a:extLst>
                  <a:ext uri="{FF2B5EF4-FFF2-40B4-BE49-F238E27FC236}">
                    <a16:creationId xmlns:a16="http://schemas.microsoft.com/office/drawing/2014/main" id="{5739E9BF-2B60-4437-AC16-70C58638EAF8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直接连接符 173">
                <a:extLst>
                  <a:ext uri="{FF2B5EF4-FFF2-40B4-BE49-F238E27FC236}">
                    <a16:creationId xmlns:a16="http://schemas.microsoft.com/office/drawing/2014/main" id="{1BFF045A-99BD-48A9-814C-B6522420C23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直接连接符 174">
                <a:extLst>
                  <a:ext uri="{FF2B5EF4-FFF2-40B4-BE49-F238E27FC236}">
                    <a16:creationId xmlns:a16="http://schemas.microsoft.com/office/drawing/2014/main" id="{98F97A02-AC2E-4B6A-A4EA-D1BD223109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5" name="组合 134">
            <a:extLst>
              <a:ext uri="{FF2B5EF4-FFF2-40B4-BE49-F238E27FC236}">
                <a16:creationId xmlns:a16="http://schemas.microsoft.com/office/drawing/2014/main" id="{120CA706-92A9-4422-B075-734549AEE668}"/>
              </a:ext>
            </a:extLst>
          </p:cNvPr>
          <p:cNvGrpSpPr/>
          <p:nvPr/>
        </p:nvGrpSpPr>
        <p:grpSpPr>
          <a:xfrm>
            <a:off x="3328120" y="2230439"/>
            <a:ext cx="100012" cy="100012"/>
            <a:chOff x="4936473" y="3105150"/>
            <a:chExt cx="174782" cy="174782"/>
          </a:xfrm>
        </p:grpSpPr>
        <p:sp>
          <p:nvSpPr>
            <p:cNvPr id="166" name="椭圆 165">
              <a:extLst>
                <a:ext uri="{FF2B5EF4-FFF2-40B4-BE49-F238E27FC236}">
                  <a16:creationId xmlns:a16="http://schemas.microsoft.com/office/drawing/2014/main" id="{FBD01822-13D3-4630-B943-B86A7E95B2BC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7" name="组合 166">
              <a:extLst>
                <a:ext uri="{FF2B5EF4-FFF2-40B4-BE49-F238E27FC236}">
                  <a16:creationId xmlns:a16="http://schemas.microsoft.com/office/drawing/2014/main" id="{D572CB06-B0E6-4791-B5C5-37534863B0C3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68" name="直接连接符 167">
                <a:extLst>
                  <a:ext uri="{FF2B5EF4-FFF2-40B4-BE49-F238E27FC236}">
                    <a16:creationId xmlns:a16="http://schemas.microsoft.com/office/drawing/2014/main" id="{B35060B1-D573-4878-B7DB-4E2DFC85234D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直接连接符 168">
                <a:extLst>
                  <a:ext uri="{FF2B5EF4-FFF2-40B4-BE49-F238E27FC236}">
                    <a16:creationId xmlns:a16="http://schemas.microsoft.com/office/drawing/2014/main" id="{67994541-8772-462C-A263-35F2274F0F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直接连接符 169">
                <a:extLst>
                  <a:ext uri="{FF2B5EF4-FFF2-40B4-BE49-F238E27FC236}">
                    <a16:creationId xmlns:a16="http://schemas.microsoft.com/office/drawing/2014/main" id="{5A59851D-2851-43CE-B874-9ADB9E4F8B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6" name="组合 135">
            <a:extLst>
              <a:ext uri="{FF2B5EF4-FFF2-40B4-BE49-F238E27FC236}">
                <a16:creationId xmlns:a16="http://schemas.microsoft.com/office/drawing/2014/main" id="{B0A67E73-2402-46CC-B562-41713CF9C4A1}"/>
              </a:ext>
            </a:extLst>
          </p:cNvPr>
          <p:cNvGrpSpPr/>
          <p:nvPr/>
        </p:nvGrpSpPr>
        <p:grpSpPr>
          <a:xfrm>
            <a:off x="3328120" y="2470152"/>
            <a:ext cx="100012" cy="100012"/>
            <a:chOff x="4936473" y="3105150"/>
            <a:chExt cx="174782" cy="174782"/>
          </a:xfrm>
        </p:grpSpPr>
        <p:sp>
          <p:nvSpPr>
            <p:cNvPr id="161" name="椭圆 160">
              <a:extLst>
                <a:ext uri="{FF2B5EF4-FFF2-40B4-BE49-F238E27FC236}">
                  <a16:creationId xmlns:a16="http://schemas.microsoft.com/office/drawing/2014/main" id="{89ACB225-0F6D-4024-B246-DBF1E3C12B2D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5030A08D-AD7B-4F4C-84B9-FAE2E8CFCFD3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63" name="直接连接符 162">
                <a:extLst>
                  <a:ext uri="{FF2B5EF4-FFF2-40B4-BE49-F238E27FC236}">
                    <a16:creationId xmlns:a16="http://schemas.microsoft.com/office/drawing/2014/main" id="{5DF49830-6E11-48AB-8E43-A9260F1BE7A7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直接连接符 163">
                <a:extLst>
                  <a:ext uri="{FF2B5EF4-FFF2-40B4-BE49-F238E27FC236}">
                    <a16:creationId xmlns:a16="http://schemas.microsoft.com/office/drawing/2014/main" id="{35A791ED-4780-4B9D-BFF2-62CD5F7659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直接连接符 164">
                <a:extLst>
                  <a:ext uri="{FF2B5EF4-FFF2-40B4-BE49-F238E27FC236}">
                    <a16:creationId xmlns:a16="http://schemas.microsoft.com/office/drawing/2014/main" id="{114972F7-E40A-47EF-8F4D-E33CC7FFBE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7" name="组合 136">
            <a:extLst>
              <a:ext uri="{FF2B5EF4-FFF2-40B4-BE49-F238E27FC236}">
                <a16:creationId xmlns:a16="http://schemas.microsoft.com/office/drawing/2014/main" id="{3B6DDA0A-C53F-4EA5-9744-D42BC66C441A}"/>
              </a:ext>
            </a:extLst>
          </p:cNvPr>
          <p:cNvGrpSpPr/>
          <p:nvPr/>
        </p:nvGrpSpPr>
        <p:grpSpPr>
          <a:xfrm>
            <a:off x="3328120" y="2709865"/>
            <a:ext cx="100012" cy="100012"/>
            <a:chOff x="4936473" y="3105150"/>
            <a:chExt cx="174782" cy="174782"/>
          </a:xfrm>
        </p:grpSpPr>
        <p:sp>
          <p:nvSpPr>
            <p:cNvPr id="156" name="椭圆 155">
              <a:extLst>
                <a:ext uri="{FF2B5EF4-FFF2-40B4-BE49-F238E27FC236}">
                  <a16:creationId xmlns:a16="http://schemas.microsoft.com/office/drawing/2014/main" id="{D2C467B2-92A9-4DAF-A46B-557E4831E1E9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222C94A0-895F-4F27-A22F-1C4D4F00CA52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58" name="直接连接符 157">
                <a:extLst>
                  <a:ext uri="{FF2B5EF4-FFF2-40B4-BE49-F238E27FC236}">
                    <a16:creationId xmlns:a16="http://schemas.microsoft.com/office/drawing/2014/main" id="{D0E41075-B6CD-4364-89E4-133AB9681437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直接连接符 158">
                <a:extLst>
                  <a:ext uri="{FF2B5EF4-FFF2-40B4-BE49-F238E27FC236}">
                    <a16:creationId xmlns:a16="http://schemas.microsoft.com/office/drawing/2014/main" id="{504BFBEF-7585-46CF-8899-A47F5D492CA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直接连接符 159">
                <a:extLst>
                  <a:ext uri="{FF2B5EF4-FFF2-40B4-BE49-F238E27FC236}">
                    <a16:creationId xmlns:a16="http://schemas.microsoft.com/office/drawing/2014/main" id="{5402D33C-7CA4-425C-B46E-972171127D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3848E37D-AE71-4626-A069-951F470EDC16}"/>
              </a:ext>
            </a:extLst>
          </p:cNvPr>
          <p:cNvSpPr txBox="1"/>
          <p:nvPr/>
        </p:nvSpPr>
        <p:spPr>
          <a:xfrm>
            <a:off x="342901" y="1486939"/>
            <a:ext cx="2772000" cy="36933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    3C</a:t>
            </a:r>
            <a:r>
              <a:rPr lang="zh-CN" altLang="en-US" dirty="0"/>
              <a:t>电子制造</a:t>
            </a:r>
            <a:endParaRPr lang="en-US" dirty="0"/>
          </a:p>
        </p:txBody>
      </p:sp>
      <p:sp>
        <p:nvSpPr>
          <p:cNvPr id="43" name="标题 1">
            <a:extLst>
              <a:ext uri="{FF2B5EF4-FFF2-40B4-BE49-F238E27FC236}">
                <a16:creationId xmlns:a16="http://schemas.microsoft.com/office/drawing/2014/main" id="{A77A04EE-D254-4726-812F-BA4DDDC3CEE2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/>
              <a:t>赋能产业，</a:t>
            </a:r>
            <a:r>
              <a:rPr lang="zh-CN" altLang="zh-CN"/>
              <a:t>思谋工业</a:t>
            </a:r>
            <a:r>
              <a:rPr lang="en-US" altLang="zh-CN"/>
              <a:t> </a:t>
            </a:r>
            <a:r>
              <a:rPr lang="zh-CN" altLang="zh-CN"/>
              <a:t>AI</a:t>
            </a:r>
            <a:r>
              <a:rPr lang="en-US" altLang="zh-CN" dirty="0"/>
              <a:t> OCR </a:t>
            </a:r>
            <a:r>
              <a:rPr lang="zh-CN" altLang="en-US" dirty="0"/>
              <a:t>应用</a:t>
            </a:r>
            <a:r>
              <a:rPr lang="zh-CN" altLang="zh-CN" dirty="0"/>
              <a:t>案例</a:t>
            </a:r>
          </a:p>
        </p:txBody>
      </p:sp>
      <p:sp>
        <p:nvSpPr>
          <p:cNvPr id="44" name="矩形: 圆顶角 43">
            <a:extLst>
              <a:ext uri="{FF2B5EF4-FFF2-40B4-BE49-F238E27FC236}">
                <a16:creationId xmlns:a16="http://schemas.microsoft.com/office/drawing/2014/main" id="{DEB3E25C-D2CD-408D-AEE0-27923660E38F}"/>
              </a:ext>
            </a:extLst>
          </p:cNvPr>
          <p:cNvSpPr/>
          <p:nvPr/>
        </p:nvSpPr>
        <p:spPr>
          <a:xfrm>
            <a:off x="342901" y="184693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8A0EE86-25B0-4C22-980D-46F5C836C045}"/>
              </a:ext>
            </a:extLst>
          </p:cNvPr>
          <p:cNvSpPr txBox="1"/>
          <p:nvPr/>
        </p:nvSpPr>
        <p:spPr>
          <a:xfrm>
            <a:off x="342901" y="186952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/>
          <a:p>
            <a:pPr algn="l" defTabSz="114300"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杭州智见科技-苹果震动马达OCR识别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常州精研-苹果手机震动马达外壳字符检测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常州精研-苹果显示器外框模号识别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228600"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常州精研-苹果微小元器件字符检测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114300"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博众-iWatch表带OCR读取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广州捷普电子-条形码识别</a:t>
            </a:r>
            <a:endParaRPr lang="zh-CN" sz="1050" b="0" i="0" strike="noStrike" spc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457200">
              <a:lnSpc>
                <a:spcPct val="150000"/>
              </a:lnSpc>
            </a:pPr>
            <a:r>
              <a:rPr lang="en-US" alt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sz="1050" b="0" i="0" strike="noStrike" spc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艾视-SIM卡槽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319D435A-DBDC-40C5-A6E2-E4E6DEB5BA9D}"/>
              </a:ext>
            </a:extLst>
          </p:cNvPr>
          <p:cNvGrpSpPr/>
          <p:nvPr/>
        </p:nvGrpSpPr>
        <p:grpSpPr>
          <a:xfrm>
            <a:off x="416720" y="1990726"/>
            <a:ext cx="100012" cy="100012"/>
            <a:chOff x="4936473" y="3105150"/>
            <a:chExt cx="174782" cy="174782"/>
          </a:xfrm>
        </p:grpSpPr>
        <p:sp>
          <p:nvSpPr>
            <p:cNvPr id="48" name="椭圆 47">
              <a:extLst>
                <a:ext uri="{FF2B5EF4-FFF2-40B4-BE49-F238E27FC236}">
                  <a16:creationId xmlns:a16="http://schemas.microsoft.com/office/drawing/2014/main" id="{41D61A61-704D-4236-AF3A-6FDDB820E366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AAA8A98D-8D61-4D67-A7BF-0DBA18460292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DC6C99EC-7609-455B-8C20-8C314596D3E6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接连接符 50">
                <a:extLst>
                  <a:ext uri="{FF2B5EF4-FFF2-40B4-BE49-F238E27FC236}">
                    <a16:creationId xmlns:a16="http://schemas.microsoft.com/office/drawing/2014/main" id="{347DB1BD-3617-447A-9D71-0EE129988A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接连接符 52">
                <a:extLst>
                  <a:ext uri="{FF2B5EF4-FFF2-40B4-BE49-F238E27FC236}">
                    <a16:creationId xmlns:a16="http://schemas.microsoft.com/office/drawing/2014/main" id="{E0CC1F29-BD3D-4BC0-A8C7-A863BF4C17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4" name="组合 93">
            <a:extLst>
              <a:ext uri="{FF2B5EF4-FFF2-40B4-BE49-F238E27FC236}">
                <a16:creationId xmlns:a16="http://schemas.microsoft.com/office/drawing/2014/main" id="{B98AB3CC-F440-4129-897B-E4FEFC769768}"/>
              </a:ext>
            </a:extLst>
          </p:cNvPr>
          <p:cNvGrpSpPr/>
          <p:nvPr/>
        </p:nvGrpSpPr>
        <p:grpSpPr>
          <a:xfrm>
            <a:off x="416720" y="2230439"/>
            <a:ext cx="100012" cy="100012"/>
            <a:chOff x="4936473" y="3105150"/>
            <a:chExt cx="174782" cy="174782"/>
          </a:xfrm>
        </p:grpSpPr>
        <p:sp>
          <p:nvSpPr>
            <p:cNvPr id="95" name="椭圆 94">
              <a:extLst>
                <a:ext uri="{FF2B5EF4-FFF2-40B4-BE49-F238E27FC236}">
                  <a16:creationId xmlns:a16="http://schemas.microsoft.com/office/drawing/2014/main" id="{A704F6AF-C571-4698-912B-93396B9BA330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F3A5813F-3502-44E8-AD39-04DCF400F303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97" name="直接连接符 96">
                <a:extLst>
                  <a:ext uri="{FF2B5EF4-FFF2-40B4-BE49-F238E27FC236}">
                    <a16:creationId xmlns:a16="http://schemas.microsoft.com/office/drawing/2014/main" id="{6852D582-F882-4FAD-AB53-886EA4B866B2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>
                <a:extLst>
                  <a:ext uri="{FF2B5EF4-FFF2-40B4-BE49-F238E27FC236}">
                    <a16:creationId xmlns:a16="http://schemas.microsoft.com/office/drawing/2014/main" id="{ED85DD82-2680-481A-AD2F-9E625D526D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>
                <a:extLst>
                  <a:ext uri="{FF2B5EF4-FFF2-40B4-BE49-F238E27FC236}">
                    <a16:creationId xmlns:a16="http://schemas.microsoft.com/office/drawing/2014/main" id="{872E00E4-BB20-4B23-B1EA-226016DBEA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1370C71A-A545-44FF-A04D-BEF0623B8676}"/>
              </a:ext>
            </a:extLst>
          </p:cNvPr>
          <p:cNvGrpSpPr/>
          <p:nvPr/>
        </p:nvGrpSpPr>
        <p:grpSpPr>
          <a:xfrm>
            <a:off x="416720" y="2470152"/>
            <a:ext cx="100012" cy="100012"/>
            <a:chOff x="4936473" y="3105150"/>
            <a:chExt cx="174782" cy="174782"/>
          </a:xfrm>
        </p:grpSpPr>
        <p:sp>
          <p:nvSpPr>
            <p:cNvPr id="101" name="椭圆 100">
              <a:extLst>
                <a:ext uri="{FF2B5EF4-FFF2-40B4-BE49-F238E27FC236}">
                  <a16:creationId xmlns:a16="http://schemas.microsoft.com/office/drawing/2014/main" id="{47773E66-3142-4901-AB25-E8DBF616D94B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BDFE768B-F121-4151-A74E-170C3629B5CB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03" name="直接连接符 102">
                <a:extLst>
                  <a:ext uri="{FF2B5EF4-FFF2-40B4-BE49-F238E27FC236}">
                    <a16:creationId xmlns:a16="http://schemas.microsoft.com/office/drawing/2014/main" id="{00154BB4-258D-4700-8A6F-8D4825023208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>
                <a:extLst>
                  <a:ext uri="{FF2B5EF4-FFF2-40B4-BE49-F238E27FC236}">
                    <a16:creationId xmlns:a16="http://schemas.microsoft.com/office/drawing/2014/main" id="{1D68DBCE-76A9-4367-BDBF-F48228D9B4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>
                <a:extLst>
                  <a:ext uri="{FF2B5EF4-FFF2-40B4-BE49-F238E27FC236}">
                    <a16:creationId xmlns:a16="http://schemas.microsoft.com/office/drawing/2014/main" id="{D69E5CF5-A1F0-47CA-A94A-1161E1F7A1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D155AA03-BECC-4206-BA50-3F61CF93E7ED}"/>
              </a:ext>
            </a:extLst>
          </p:cNvPr>
          <p:cNvGrpSpPr/>
          <p:nvPr/>
        </p:nvGrpSpPr>
        <p:grpSpPr>
          <a:xfrm>
            <a:off x="416720" y="2709865"/>
            <a:ext cx="100012" cy="100012"/>
            <a:chOff x="4936473" y="3105150"/>
            <a:chExt cx="174782" cy="174782"/>
          </a:xfrm>
        </p:grpSpPr>
        <p:sp>
          <p:nvSpPr>
            <p:cNvPr id="107" name="椭圆 106">
              <a:extLst>
                <a:ext uri="{FF2B5EF4-FFF2-40B4-BE49-F238E27FC236}">
                  <a16:creationId xmlns:a16="http://schemas.microsoft.com/office/drawing/2014/main" id="{AD6CCB85-48F1-4C5D-B4FE-4E382687CEAA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DA71FE67-F6A2-4D7A-872A-8C6FC84E318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09" name="直接连接符 108">
                <a:extLst>
                  <a:ext uri="{FF2B5EF4-FFF2-40B4-BE49-F238E27FC236}">
                    <a16:creationId xmlns:a16="http://schemas.microsoft.com/office/drawing/2014/main" id="{6FECBFA7-D392-4D3E-8420-84D66FB59B63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>
                <a:extLst>
                  <a:ext uri="{FF2B5EF4-FFF2-40B4-BE49-F238E27FC236}">
                    <a16:creationId xmlns:a16="http://schemas.microsoft.com/office/drawing/2014/main" id="{F73DEE0D-CC52-4B4D-B772-732C404C9D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>
                <a:extLst>
                  <a:ext uri="{FF2B5EF4-FFF2-40B4-BE49-F238E27FC236}">
                    <a16:creationId xmlns:a16="http://schemas.microsoft.com/office/drawing/2014/main" id="{95131537-A89C-4F3C-929F-A7805FDC7E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E2F54927-0202-471B-AC73-BDDBC1462080}"/>
              </a:ext>
            </a:extLst>
          </p:cNvPr>
          <p:cNvGrpSpPr/>
          <p:nvPr/>
        </p:nvGrpSpPr>
        <p:grpSpPr>
          <a:xfrm>
            <a:off x="416720" y="2949578"/>
            <a:ext cx="100012" cy="100012"/>
            <a:chOff x="4936473" y="3105150"/>
            <a:chExt cx="174782" cy="174782"/>
          </a:xfrm>
        </p:grpSpPr>
        <p:sp>
          <p:nvSpPr>
            <p:cNvPr id="113" name="椭圆 112">
              <a:extLst>
                <a:ext uri="{FF2B5EF4-FFF2-40B4-BE49-F238E27FC236}">
                  <a16:creationId xmlns:a16="http://schemas.microsoft.com/office/drawing/2014/main" id="{4A2C28D3-76BA-43BA-AA92-D4EE4CB4638B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CC91540-D9AB-4643-B05F-DD185429A5B9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15" name="直接连接符 114">
                <a:extLst>
                  <a:ext uri="{FF2B5EF4-FFF2-40B4-BE49-F238E27FC236}">
                    <a16:creationId xmlns:a16="http://schemas.microsoft.com/office/drawing/2014/main" id="{43CCD1A6-AB26-4D89-A8C1-9DDF91053F5C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直接连接符 115">
                <a:extLst>
                  <a:ext uri="{FF2B5EF4-FFF2-40B4-BE49-F238E27FC236}">
                    <a16:creationId xmlns:a16="http://schemas.microsoft.com/office/drawing/2014/main" id="{C34BC598-8835-4B0C-810F-DC6D598EAE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直接连接符 116">
                <a:extLst>
                  <a:ext uri="{FF2B5EF4-FFF2-40B4-BE49-F238E27FC236}">
                    <a16:creationId xmlns:a16="http://schemas.microsoft.com/office/drawing/2014/main" id="{B53988AE-9B74-425D-9940-1543CC5C02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C5E3818C-A4AC-498D-A7F4-1A3F2776A301}"/>
              </a:ext>
            </a:extLst>
          </p:cNvPr>
          <p:cNvGrpSpPr/>
          <p:nvPr/>
        </p:nvGrpSpPr>
        <p:grpSpPr>
          <a:xfrm>
            <a:off x="416720" y="3189291"/>
            <a:ext cx="100012" cy="100012"/>
            <a:chOff x="4936473" y="3105150"/>
            <a:chExt cx="174782" cy="174782"/>
          </a:xfrm>
        </p:grpSpPr>
        <p:sp>
          <p:nvSpPr>
            <p:cNvPr id="119" name="椭圆 118">
              <a:extLst>
                <a:ext uri="{FF2B5EF4-FFF2-40B4-BE49-F238E27FC236}">
                  <a16:creationId xmlns:a16="http://schemas.microsoft.com/office/drawing/2014/main" id="{F7815CF4-FA7D-4E1E-986F-091D349C759D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0150FF2E-39EB-4E6D-84A9-6C30962387E0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21" name="直接连接符 120">
                <a:extLst>
                  <a:ext uri="{FF2B5EF4-FFF2-40B4-BE49-F238E27FC236}">
                    <a16:creationId xmlns:a16="http://schemas.microsoft.com/office/drawing/2014/main" id="{18BD888F-1BB8-4341-85CF-A41237200267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直接连接符 121">
                <a:extLst>
                  <a:ext uri="{FF2B5EF4-FFF2-40B4-BE49-F238E27FC236}">
                    <a16:creationId xmlns:a16="http://schemas.microsoft.com/office/drawing/2014/main" id="{3EA563D9-A974-44A6-B3AA-65165D3D1E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直接连接符 122">
                <a:extLst>
                  <a:ext uri="{FF2B5EF4-FFF2-40B4-BE49-F238E27FC236}">
                    <a16:creationId xmlns:a16="http://schemas.microsoft.com/office/drawing/2014/main" id="{2DEE7D6D-8906-4D81-8754-E2E397B36B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4" name="组合 123">
            <a:extLst>
              <a:ext uri="{FF2B5EF4-FFF2-40B4-BE49-F238E27FC236}">
                <a16:creationId xmlns:a16="http://schemas.microsoft.com/office/drawing/2014/main" id="{62DD92CB-E74F-4D12-A3B8-96F717CD8324}"/>
              </a:ext>
            </a:extLst>
          </p:cNvPr>
          <p:cNvGrpSpPr/>
          <p:nvPr/>
        </p:nvGrpSpPr>
        <p:grpSpPr>
          <a:xfrm>
            <a:off x="416720" y="3429002"/>
            <a:ext cx="100012" cy="100012"/>
            <a:chOff x="4936473" y="3105150"/>
            <a:chExt cx="174782" cy="174782"/>
          </a:xfrm>
        </p:grpSpPr>
        <p:sp>
          <p:nvSpPr>
            <p:cNvPr id="125" name="椭圆 124">
              <a:extLst>
                <a:ext uri="{FF2B5EF4-FFF2-40B4-BE49-F238E27FC236}">
                  <a16:creationId xmlns:a16="http://schemas.microsoft.com/office/drawing/2014/main" id="{A7C8E7AA-98FA-472E-8423-19BFCEDCB781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816AD59A-5D25-4120-A680-EF427FB9A24B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27" name="直接连接符 126">
                <a:extLst>
                  <a:ext uri="{FF2B5EF4-FFF2-40B4-BE49-F238E27FC236}">
                    <a16:creationId xmlns:a16="http://schemas.microsoft.com/office/drawing/2014/main" id="{4FDAE0A5-7A4B-4A0F-92DB-DBE4DF5CFCE9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直接连接符 127">
                <a:extLst>
                  <a:ext uri="{FF2B5EF4-FFF2-40B4-BE49-F238E27FC236}">
                    <a16:creationId xmlns:a16="http://schemas.microsoft.com/office/drawing/2014/main" id="{318E12DF-27FA-4DE9-A414-7E45E1CD1E5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接连接符 128">
                <a:extLst>
                  <a:ext uri="{FF2B5EF4-FFF2-40B4-BE49-F238E27FC236}">
                    <a16:creationId xmlns:a16="http://schemas.microsoft.com/office/drawing/2014/main" id="{4D470225-4BDF-46A2-9639-A003EB71EA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7" name="矩形: 圆顶角 176">
            <a:extLst>
              <a:ext uri="{FF2B5EF4-FFF2-40B4-BE49-F238E27FC236}">
                <a16:creationId xmlns:a16="http://schemas.microsoft.com/office/drawing/2014/main" id="{06F3C06B-53CE-4BAB-999E-182812A55D6C}"/>
              </a:ext>
            </a:extLst>
          </p:cNvPr>
          <p:cNvSpPr/>
          <p:nvPr/>
        </p:nvSpPr>
        <p:spPr>
          <a:xfrm>
            <a:off x="6165701" y="184693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文本框 177">
            <a:extLst>
              <a:ext uri="{FF2B5EF4-FFF2-40B4-BE49-F238E27FC236}">
                <a16:creationId xmlns:a16="http://schemas.microsoft.com/office/drawing/2014/main" id="{4493C68A-2689-42A1-A93A-8330AA5EF242}"/>
              </a:ext>
            </a:extLst>
          </p:cNvPr>
          <p:cNvSpPr txBox="1"/>
          <p:nvPr/>
        </p:nvSpPr>
        <p:spPr>
          <a:xfrm>
            <a:off x="6165701" y="186952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深南电路-PCB板表面字符检测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金海通-芯片封装字符检测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华通-PCB字符及二维码识别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嘉兴天通-硅片溯源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无锡捷普-电路板元器件OCR识别分类</a:t>
            </a:r>
          </a:p>
        </p:txBody>
      </p:sp>
      <p:grpSp>
        <p:nvGrpSpPr>
          <p:cNvPr id="179" name="组合 178">
            <a:extLst>
              <a:ext uri="{FF2B5EF4-FFF2-40B4-BE49-F238E27FC236}">
                <a16:creationId xmlns:a16="http://schemas.microsoft.com/office/drawing/2014/main" id="{079FFBD3-C797-4EF9-A1E3-6293CA93A4FB}"/>
              </a:ext>
            </a:extLst>
          </p:cNvPr>
          <p:cNvGrpSpPr/>
          <p:nvPr/>
        </p:nvGrpSpPr>
        <p:grpSpPr>
          <a:xfrm>
            <a:off x="6239520" y="1990726"/>
            <a:ext cx="100012" cy="100012"/>
            <a:chOff x="4936473" y="3105150"/>
            <a:chExt cx="174782" cy="174782"/>
          </a:xfrm>
        </p:grpSpPr>
        <p:sp>
          <p:nvSpPr>
            <p:cNvPr id="216" name="椭圆 215">
              <a:extLst>
                <a:ext uri="{FF2B5EF4-FFF2-40B4-BE49-F238E27FC236}">
                  <a16:creationId xmlns:a16="http://schemas.microsoft.com/office/drawing/2014/main" id="{CAF0888C-EDE9-4DF9-A5E6-EBAD791C0E80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17" name="组合 216">
              <a:extLst>
                <a:ext uri="{FF2B5EF4-FFF2-40B4-BE49-F238E27FC236}">
                  <a16:creationId xmlns:a16="http://schemas.microsoft.com/office/drawing/2014/main" id="{A54EB69B-23B7-43BE-89AB-283BC289E2E6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18" name="直接连接符 217">
                <a:extLst>
                  <a:ext uri="{FF2B5EF4-FFF2-40B4-BE49-F238E27FC236}">
                    <a16:creationId xmlns:a16="http://schemas.microsoft.com/office/drawing/2014/main" id="{1E91E300-8D62-4430-B8D5-2397618F5D9A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直接连接符 218">
                <a:extLst>
                  <a:ext uri="{FF2B5EF4-FFF2-40B4-BE49-F238E27FC236}">
                    <a16:creationId xmlns:a16="http://schemas.microsoft.com/office/drawing/2014/main" id="{600E2C42-BBB8-4C57-9E20-0A7467413C9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直接连接符 219">
                <a:extLst>
                  <a:ext uri="{FF2B5EF4-FFF2-40B4-BE49-F238E27FC236}">
                    <a16:creationId xmlns:a16="http://schemas.microsoft.com/office/drawing/2014/main" id="{F81402CF-AE9A-4857-85FA-42B40BAEC8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0" name="组合 179">
            <a:extLst>
              <a:ext uri="{FF2B5EF4-FFF2-40B4-BE49-F238E27FC236}">
                <a16:creationId xmlns:a16="http://schemas.microsoft.com/office/drawing/2014/main" id="{124379F1-3322-44E1-B9E7-D8F36D34CB9D}"/>
              </a:ext>
            </a:extLst>
          </p:cNvPr>
          <p:cNvGrpSpPr/>
          <p:nvPr/>
        </p:nvGrpSpPr>
        <p:grpSpPr>
          <a:xfrm>
            <a:off x="6239520" y="2230439"/>
            <a:ext cx="100012" cy="100012"/>
            <a:chOff x="4936473" y="3105150"/>
            <a:chExt cx="174782" cy="174782"/>
          </a:xfrm>
        </p:grpSpPr>
        <p:sp>
          <p:nvSpPr>
            <p:cNvPr id="211" name="椭圆 210">
              <a:extLst>
                <a:ext uri="{FF2B5EF4-FFF2-40B4-BE49-F238E27FC236}">
                  <a16:creationId xmlns:a16="http://schemas.microsoft.com/office/drawing/2014/main" id="{EFF8EFAA-2FEB-41D3-BC4A-3015CEAE9B03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12" name="组合 211">
              <a:extLst>
                <a:ext uri="{FF2B5EF4-FFF2-40B4-BE49-F238E27FC236}">
                  <a16:creationId xmlns:a16="http://schemas.microsoft.com/office/drawing/2014/main" id="{CE4859BC-76EB-45EF-B5E0-2F518AB06BD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13" name="直接连接符 212">
                <a:extLst>
                  <a:ext uri="{FF2B5EF4-FFF2-40B4-BE49-F238E27FC236}">
                    <a16:creationId xmlns:a16="http://schemas.microsoft.com/office/drawing/2014/main" id="{50C95277-0F4D-4C4F-8E8C-8013C598F3B5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直接连接符 213">
                <a:extLst>
                  <a:ext uri="{FF2B5EF4-FFF2-40B4-BE49-F238E27FC236}">
                    <a16:creationId xmlns:a16="http://schemas.microsoft.com/office/drawing/2014/main" id="{56D6D4BE-66AF-406C-A13D-D33DFB3C7A4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直接连接符 214">
                <a:extLst>
                  <a:ext uri="{FF2B5EF4-FFF2-40B4-BE49-F238E27FC236}">
                    <a16:creationId xmlns:a16="http://schemas.microsoft.com/office/drawing/2014/main" id="{9BC576CD-C1E2-4061-B580-D96E28A41D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1" name="组合 180">
            <a:extLst>
              <a:ext uri="{FF2B5EF4-FFF2-40B4-BE49-F238E27FC236}">
                <a16:creationId xmlns:a16="http://schemas.microsoft.com/office/drawing/2014/main" id="{5887BD73-98F2-4509-BC80-9EEA03322B8C}"/>
              </a:ext>
            </a:extLst>
          </p:cNvPr>
          <p:cNvGrpSpPr/>
          <p:nvPr/>
        </p:nvGrpSpPr>
        <p:grpSpPr>
          <a:xfrm>
            <a:off x="6239520" y="2470152"/>
            <a:ext cx="100012" cy="100012"/>
            <a:chOff x="4936473" y="3105150"/>
            <a:chExt cx="174782" cy="174782"/>
          </a:xfrm>
        </p:grpSpPr>
        <p:sp>
          <p:nvSpPr>
            <p:cNvPr id="206" name="椭圆 205">
              <a:extLst>
                <a:ext uri="{FF2B5EF4-FFF2-40B4-BE49-F238E27FC236}">
                  <a16:creationId xmlns:a16="http://schemas.microsoft.com/office/drawing/2014/main" id="{65CD11F4-80AC-4E8C-BC5A-704819D53FE9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07" name="组合 206">
              <a:extLst>
                <a:ext uri="{FF2B5EF4-FFF2-40B4-BE49-F238E27FC236}">
                  <a16:creationId xmlns:a16="http://schemas.microsoft.com/office/drawing/2014/main" id="{914DE09A-0AE7-4058-B287-6F77ECE99411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08" name="直接连接符 207">
                <a:extLst>
                  <a:ext uri="{FF2B5EF4-FFF2-40B4-BE49-F238E27FC236}">
                    <a16:creationId xmlns:a16="http://schemas.microsoft.com/office/drawing/2014/main" id="{CBFA20FD-FA4A-420B-991B-25A1D89A9E5E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直接连接符 208">
                <a:extLst>
                  <a:ext uri="{FF2B5EF4-FFF2-40B4-BE49-F238E27FC236}">
                    <a16:creationId xmlns:a16="http://schemas.microsoft.com/office/drawing/2014/main" id="{D27FDCCA-11E4-4117-9FCA-3752C9196D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直接连接符 209">
                <a:extLst>
                  <a:ext uri="{FF2B5EF4-FFF2-40B4-BE49-F238E27FC236}">
                    <a16:creationId xmlns:a16="http://schemas.microsoft.com/office/drawing/2014/main" id="{AC617057-D46D-4A3C-96AA-1DC65487CE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2" name="组合 181">
            <a:extLst>
              <a:ext uri="{FF2B5EF4-FFF2-40B4-BE49-F238E27FC236}">
                <a16:creationId xmlns:a16="http://schemas.microsoft.com/office/drawing/2014/main" id="{A4673684-B13F-483A-8DCC-A0C16E4C8BF4}"/>
              </a:ext>
            </a:extLst>
          </p:cNvPr>
          <p:cNvGrpSpPr/>
          <p:nvPr/>
        </p:nvGrpSpPr>
        <p:grpSpPr>
          <a:xfrm>
            <a:off x="6239520" y="2709865"/>
            <a:ext cx="100012" cy="100012"/>
            <a:chOff x="4936473" y="3105150"/>
            <a:chExt cx="174782" cy="174782"/>
          </a:xfrm>
        </p:grpSpPr>
        <p:sp>
          <p:nvSpPr>
            <p:cNvPr id="201" name="椭圆 200">
              <a:extLst>
                <a:ext uri="{FF2B5EF4-FFF2-40B4-BE49-F238E27FC236}">
                  <a16:creationId xmlns:a16="http://schemas.microsoft.com/office/drawing/2014/main" id="{980C385A-85BA-48BA-8A95-13B1D5F29AA4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02" name="组合 201">
              <a:extLst>
                <a:ext uri="{FF2B5EF4-FFF2-40B4-BE49-F238E27FC236}">
                  <a16:creationId xmlns:a16="http://schemas.microsoft.com/office/drawing/2014/main" id="{2FD46E58-2FA0-4EDC-87F6-EC2A64C93CD1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03" name="直接连接符 202">
                <a:extLst>
                  <a:ext uri="{FF2B5EF4-FFF2-40B4-BE49-F238E27FC236}">
                    <a16:creationId xmlns:a16="http://schemas.microsoft.com/office/drawing/2014/main" id="{64BDE464-DAEB-4EF5-922D-FBC610EEA58B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直接连接符 203">
                <a:extLst>
                  <a:ext uri="{FF2B5EF4-FFF2-40B4-BE49-F238E27FC236}">
                    <a16:creationId xmlns:a16="http://schemas.microsoft.com/office/drawing/2014/main" id="{05A9C8BA-4BDA-4CFB-8C73-B15A29564B3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直接连接符 204">
                <a:extLst>
                  <a:ext uri="{FF2B5EF4-FFF2-40B4-BE49-F238E27FC236}">
                    <a16:creationId xmlns:a16="http://schemas.microsoft.com/office/drawing/2014/main" id="{239C97A2-6C7F-4BAE-9185-8FE8F70F7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3" name="组合 182">
            <a:extLst>
              <a:ext uri="{FF2B5EF4-FFF2-40B4-BE49-F238E27FC236}">
                <a16:creationId xmlns:a16="http://schemas.microsoft.com/office/drawing/2014/main" id="{42414F3E-B206-4AD0-9798-C847CA13B5ED}"/>
              </a:ext>
            </a:extLst>
          </p:cNvPr>
          <p:cNvGrpSpPr/>
          <p:nvPr/>
        </p:nvGrpSpPr>
        <p:grpSpPr>
          <a:xfrm>
            <a:off x="6239520" y="2949578"/>
            <a:ext cx="100012" cy="100012"/>
            <a:chOff x="4936473" y="3105150"/>
            <a:chExt cx="174782" cy="174782"/>
          </a:xfrm>
        </p:grpSpPr>
        <p:sp>
          <p:nvSpPr>
            <p:cNvPr id="196" name="椭圆 195">
              <a:extLst>
                <a:ext uri="{FF2B5EF4-FFF2-40B4-BE49-F238E27FC236}">
                  <a16:creationId xmlns:a16="http://schemas.microsoft.com/office/drawing/2014/main" id="{91314E59-F3F8-4441-BE40-0FC29AC00271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97" name="组合 196">
              <a:extLst>
                <a:ext uri="{FF2B5EF4-FFF2-40B4-BE49-F238E27FC236}">
                  <a16:creationId xmlns:a16="http://schemas.microsoft.com/office/drawing/2014/main" id="{0F23421B-1181-4592-B545-E882DD1B411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198" name="直接连接符 197">
                <a:extLst>
                  <a:ext uri="{FF2B5EF4-FFF2-40B4-BE49-F238E27FC236}">
                    <a16:creationId xmlns:a16="http://schemas.microsoft.com/office/drawing/2014/main" id="{46419258-2347-41F6-A691-FD7E23FB0E11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直接连接符 198">
                <a:extLst>
                  <a:ext uri="{FF2B5EF4-FFF2-40B4-BE49-F238E27FC236}">
                    <a16:creationId xmlns:a16="http://schemas.microsoft.com/office/drawing/2014/main" id="{DB344A5A-8D7D-4D37-AC43-67A7F423D2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直接连接符 199">
                <a:extLst>
                  <a:ext uri="{FF2B5EF4-FFF2-40B4-BE49-F238E27FC236}">
                    <a16:creationId xmlns:a16="http://schemas.microsoft.com/office/drawing/2014/main" id="{71E7FB26-D820-4507-8BBA-FA6DB5DA5F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" name="文本框 22">
            <a:extLst>
              <a:ext uri="{FF2B5EF4-FFF2-40B4-BE49-F238E27FC236}">
                <a16:creationId xmlns:a16="http://schemas.microsoft.com/office/drawing/2014/main" id="{215F42FA-A742-451D-9F1A-1A8FE10C99E1}"/>
              </a:ext>
            </a:extLst>
          </p:cNvPr>
          <p:cNvSpPr txBox="1"/>
          <p:nvPr/>
        </p:nvSpPr>
        <p:spPr>
          <a:xfrm>
            <a:off x="6165701" y="1486939"/>
            <a:ext cx="2772000" cy="369332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    泛半导体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A62A484-EDBF-4226-8974-87D9CA91C3CE}"/>
              </a:ext>
            </a:extLst>
          </p:cNvPr>
          <p:cNvSpPr txBox="1"/>
          <p:nvPr/>
        </p:nvSpPr>
        <p:spPr>
          <a:xfrm>
            <a:off x="3254301" y="1486939"/>
            <a:ext cx="2772000" cy="36933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    汽车行业</a:t>
            </a:r>
            <a:endParaRPr lang="en-US" dirty="0"/>
          </a:p>
        </p:txBody>
      </p:sp>
      <p:sp>
        <p:nvSpPr>
          <p:cNvPr id="222" name="矩形: 圆顶角 221">
            <a:extLst>
              <a:ext uri="{FF2B5EF4-FFF2-40B4-BE49-F238E27FC236}">
                <a16:creationId xmlns:a16="http://schemas.microsoft.com/office/drawing/2014/main" id="{352FBDB2-057E-4B58-A6E4-15170D94A2FC}"/>
              </a:ext>
            </a:extLst>
          </p:cNvPr>
          <p:cNvSpPr/>
          <p:nvPr/>
        </p:nvSpPr>
        <p:spPr>
          <a:xfrm>
            <a:off x="9077100" y="184693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3" name="文本框 222">
            <a:extLst>
              <a:ext uri="{FF2B5EF4-FFF2-40B4-BE49-F238E27FC236}">
                <a16:creationId xmlns:a16="http://schemas.microsoft.com/office/drawing/2014/main" id="{C84C7068-A118-412C-B358-955505345885}"/>
              </a:ext>
            </a:extLst>
          </p:cNvPr>
          <p:cNvSpPr txBox="1"/>
          <p:nvPr/>
        </p:nvSpPr>
        <p:spPr>
          <a:xfrm>
            <a:off x="9077100" y="186952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航天-华迈- 航天芯片字符检测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钢铁-上海照影-钢料OCR字符识别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钢铁-北京拓野-钢卷OCR识别 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铁路-株洲时代新材料科技-火车金属板字符检测</a:t>
            </a:r>
            <a:endParaRPr lang="zh-CN" altLang="zh-CN" sz="96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水利-水管编号OCR识别</a:t>
            </a:r>
            <a:endParaRPr lang="zh-CN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zh-CN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军工-诺顶-枪械OCR识别</a:t>
            </a:r>
          </a:p>
        </p:txBody>
      </p:sp>
      <p:grpSp>
        <p:nvGrpSpPr>
          <p:cNvPr id="224" name="组合 223">
            <a:extLst>
              <a:ext uri="{FF2B5EF4-FFF2-40B4-BE49-F238E27FC236}">
                <a16:creationId xmlns:a16="http://schemas.microsoft.com/office/drawing/2014/main" id="{9C584E50-1ECB-4993-B283-585F38DAE671}"/>
              </a:ext>
            </a:extLst>
          </p:cNvPr>
          <p:cNvGrpSpPr/>
          <p:nvPr/>
        </p:nvGrpSpPr>
        <p:grpSpPr>
          <a:xfrm>
            <a:off x="9150919" y="1990726"/>
            <a:ext cx="100012" cy="100012"/>
            <a:chOff x="4936473" y="3105150"/>
            <a:chExt cx="174782" cy="174782"/>
          </a:xfrm>
        </p:grpSpPr>
        <p:sp>
          <p:nvSpPr>
            <p:cNvPr id="261" name="椭圆 260">
              <a:extLst>
                <a:ext uri="{FF2B5EF4-FFF2-40B4-BE49-F238E27FC236}">
                  <a16:creationId xmlns:a16="http://schemas.microsoft.com/office/drawing/2014/main" id="{7A40BF23-F049-4B43-8483-2F34B0EFDA8E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" name="组合 261">
              <a:extLst>
                <a:ext uri="{FF2B5EF4-FFF2-40B4-BE49-F238E27FC236}">
                  <a16:creationId xmlns:a16="http://schemas.microsoft.com/office/drawing/2014/main" id="{B49EC9C4-1890-48D8-B273-D1B9900175D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63" name="直接连接符 262">
                <a:extLst>
                  <a:ext uri="{FF2B5EF4-FFF2-40B4-BE49-F238E27FC236}">
                    <a16:creationId xmlns:a16="http://schemas.microsoft.com/office/drawing/2014/main" id="{B7C35B77-E32D-4013-8598-CB29F46129B3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直接连接符 263">
                <a:extLst>
                  <a:ext uri="{FF2B5EF4-FFF2-40B4-BE49-F238E27FC236}">
                    <a16:creationId xmlns:a16="http://schemas.microsoft.com/office/drawing/2014/main" id="{41C29111-BD49-46CD-95D3-FB74557781B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直接连接符 264">
                <a:extLst>
                  <a:ext uri="{FF2B5EF4-FFF2-40B4-BE49-F238E27FC236}">
                    <a16:creationId xmlns:a16="http://schemas.microsoft.com/office/drawing/2014/main" id="{E064F43F-848A-4A22-A739-024D146ED2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5" name="组合 224">
            <a:extLst>
              <a:ext uri="{FF2B5EF4-FFF2-40B4-BE49-F238E27FC236}">
                <a16:creationId xmlns:a16="http://schemas.microsoft.com/office/drawing/2014/main" id="{F75A36E1-91C7-4595-978B-491C0C7C7279}"/>
              </a:ext>
            </a:extLst>
          </p:cNvPr>
          <p:cNvGrpSpPr/>
          <p:nvPr/>
        </p:nvGrpSpPr>
        <p:grpSpPr>
          <a:xfrm>
            <a:off x="9150919" y="2230439"/>
            <a:ext cx="100012" cy="100012"/>
            <a:chOff x="4936473" y="3105150"/>
            <a:chExt cx="174782" cy="174782"/>
          </a:xfrm>
        </p:grpSpPr>
        <p:sp>
          <p:nvSpPr>
            <p:cNvPr id="256" name="椭圆 255">
              <a:extLst>
                <a:ext uri="{FF2B5EF4-FFF2-40B4-BE49-F238E27FC236}">
                  <a16:creationId xmlns:a16="http://schemas.microsoft.com/office/drawing/2014/main" id="{FEA6C080-69C7-40CC-8D27-92867548FC49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57" name="组合 256">
              <a:extLst>
                <a:ext uri="{FF2B5EF4-FFF2-40B4-BE49-F238E27FC236}">
                  <a16:creationId xmlns:a16="http://schemas.microsoft.com/office/drawing/2014/main" id="{8A70BE09-3689-4EAA-9FB0-06E0C9D9E342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58" name="直接连接符 257">
                <a:extLst>
                  <a:ext uri="{FF2B5EF4-FFF2-40B4-BE49-F238E27FC236}">
                    <a16:creationId xmlns:a16="http://schemas.microsoft.com/office/drawing/2014/main" id="{2865C6B4-E3E6-467F-8BD9-3874F960AB0B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直接连接符 258">
                <a:extLst>
                  <a:ext uri="{FF2B5EF4-FFF2-40B4-BE49-F238E27FC236}">
                    <a16:creationId xmlns:a16="http://schemas.microsoft.com/office/drawing/2014/main" id="{B2FBB003-6971-4533-91D7-D04DF1D4F96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直接连接符 259">
                <a:extLst>
                  <a:ext uri="{FF2B5EF4-FFF2-40B4-BE49-F238E27FC236}">
                    <a16:creationId xmlns:a16="http://schemas.microsoft.com/office/drawing/2014/main" id="{1F263ACA-C557-4ED3-94BE-DE7ECD17BB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6" name="组合 225">
            <a:extLst>
              <a:ext uri="{FF2B5EF4-FFF2-40B4-BE49-F238E27FC236}">
                <a16:creationId xmlns:a16="http://schemas.microsoft.com/office/drawing/2014/main" id="{82CDD2B4-839C-49FD-A861-559DE48F67DB}"/>
              </a:ext>
            </a:extLst>
          </p:cNvPr>
          <p:cNvGrpSpPr/>
          <p:nvPr/>
        </p:nvGrpSpPr>
        <p:grpSpPr>
          <a:xfrm>
            <a:off x="9150919" y="2470152"/>
            <a:ext cx="100012" cy="100012"/>
            <a:chOff x="4936473" y="3105150"/>
            <a:chExt cx="174782" cy="174782"/>
          </a:xfrm>
        </p:grpSpPr>
        <p:sp>
          <p:nvSpPr>
            <p:cNvPr id="251" name="椭圆 250">
              <a:extLst>
                <a:ext uri="{FF2B5EF4-FFF2-40B4-BE49-F238E27FC236}">
                  <a16:creationId xmlns:a16="http://schemas.microsoft.com/office/drawing/2014/main" id="{C452B72A-E6B1-4DBE-9C61-D56F8F34CF54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52" name="组合 251">
              <a:extLst>
                <a:ext uri="{FF2B5EF4-FFF2-40B4-BE49-F238E27FC236}">
                  <a16:creationId xmlns:a16="http://schemas.microsoft.com/office/drawing/2014/main" id="{20681D7B-2B56-4067-B5D4-744D13B08CEE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53" name="直接连接符 252">
                <a:extLst>
                  <a:ext uri="{FF2B5EF4-FFF2-40B4-BE49-F238E27FC236}">
                    <a16:creationId xmlns:a16="http://schemas.microsoft.com/office/drawing/2014/main" id="{6A9BA215-16C5-4C6F-9114-666F52E31DAE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直接连接符 253">
                <a:extLst>
                  <a:ext uri="{FF2B5EF4-FFF2-40B4-BE49-F238E27FC236}">
                    <a16:creationId xmlns:a16="http://schemas.microsoft.com/office/drawing/2014/main" id="{71E92188-5832-49E3-8AAD-E9506ED696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直接连接符 254">
                <a:extLst>
                  <a:ext uri="{FF2B5EF4-FFF2-40B4-BE49-F238E27FC236}">
                    <a16:creationId xmlns:a16="http://schemas.microsoft.com/office/drawing/2014/main" id="{B26ECB23-3C43-4F6B-BAF7-BEA08F31EA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7" name="组合 226">
            <a:extLst>
              <a:ext uri="{FF2B5EF4-FFF2-40B4-BE49-F238E27FC236}">
                <a16:creationId xmlns:a16="http://schemas.microsoft.com/office/drawing/2014/main" id="{FB352FFC-D2B2-418D-8FE5-3CF599A1BF6F}"/>
              </a:ext>
            </a:extLst>
          </p:cNvPr>
          <p:cNvGrpSpPr/>
          <p:nvPr/>
        </p:nvGrpSpPr>
        <p:grpSpPr>
          <a:xfrm>
            <a:off x="9150919" y="2709865"/>
            <a:ext cx="100012" cy="100012"/>
            <a:chOff x="4936473" y="3105150"/>
            <a:chExt cx="174782" cy="174782"/>
          </a:xfrm>
        </p:grpSpPr>
        <p:sp>
          <p:nvSpPr>
            <p:cNvPr id="246" name="椭圆 245">
              <a:extLst>
                <a:ext uri="{FF2B5EF4-FFF2-40B4-BE49-F238E27FC236}">
                  <a16:creationId xmlns:a16="http://schemas.microsoft.com/office/drawing/2014/main" id="{4D6627E1-59BF-4A69-8B6E-13126B6E849A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47" name="组合 246">
              <a:extLst>
                <a:ext uri="{FF2B5EF4-FFF2-40B4-BE49-F238E27FC236}">
                  <a16:creationId xmlns:a16="http://schemas.microsoft.com/office/drawing/2014/main" id="{5410C226-ABC9-4365-811C-AD48F5244D1F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48" name="直接连接符 247">
                <a:extLst>
                  <a:ext uri="{FF2B5EF4-FFF2-40B4-BE49-F238E27FC236}">
                    <a16:creationId xmlns:a16="http://schemas.microsoft.com/office/drawing/2014/main" id="{479B6964-9B41-4BDD-BA32-50A9D30DE3F5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直接连接符 248">
                <a:extLst>
                  <a:ext uri="{FF2B5EF4-FFF2-40B4-BE49-F238E27FC236}">
                    <a16:creationId xmlns:a16="http://schemas.microsoft.com/office/drawing/2014/main" id="{682148E0-4BBF-4CAA-8C38-8C6A0D5C4B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直接连接符 249">
                <a:extLst>
                  <a:ext uri="{FF2B5EF4-FFF2-40B4-BE49-F238E27FC236}">
                    <a16:creationId xmlns:a16="http://schemas.microsoft.com/office/drawing/2014/main" id="{808BFE54-A4DE-4D67-868E-3764A4CA50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8" name="组合 227">
            <a:extLst>
              <a:ext uri="{FF2B5EF4-FFF2-40B4-BE49-F238E27FC236}">
                <a16:creationId xmlns:a16="http://schemas.microsoft.com/office/drawing/2014/main" id="{E7487047-F7A0-4AC7-BF82-8F76F0A8C14F}"/>
              </a:ext>
            </a:extLst>
          </p:cNvPr>
          <p:cNvGrpSpPr/>
          <p:nvPr/>
        </p:nvGrpSpPr>
        <p:grpSpPr>
          <a:xfrm>
            <a:off x="9150919" y="2949578"/>
            <a:ext cx="100012" cy="100012"/>
            <a:chOff x="4936473" y="3105150"/>
            <a:chExt cx="174782" cy="174782"/>
          </a:xfrm>
        </p:grpSpPr>
        <p:sp>
          <p:nvSpPr>
            <p:cNvPr id="241" name="椭圆 240">
              <a:extLst>
                <a:ext uri="{FF2B5EF4-FFF2-40B4-BE49-F238E27FC236}">
                  <a16:creationId xmlns:a16="http://schemas.microsoft.com/office/drawing/2014/main" id="{782BA8F0-1CBB-4E02-A5A1-22E06F9CAD55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42" name="组合 241">
              <a:extLst>
                <a:ext uri="{FF2B5EF4-FFF2-40B4-BE49-F238E27FC236}">
                  <a16:creationId xmlns:a16="http://schemas.microsoft.com/office/drawing/2014/main" id="{961374E7-7294-4A29-8DDF-194A106D9507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43" name="直接连接符 242">
                <a:extLst>
                  <a:ext uri="{FF2B5EF4-FFF2-40B4-BE49-F238E27FC236}">
                    <a16:creationId xmlns:a16="http://schemas.microsoft.com/office/drawing/2014/main" id="{635E2888-9E0A-45B9-831D-62BAC88182DF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直接连接符 243">
                <a:extLst>
                  <a:ext uri="{FF2B5EF4-FFF2-40B4-BE49-F238E27FC236}">
                    <a16:creationId xmlns:a16="http://schemas.microsoft.com/office/drawing/2014/main" id="{F7657994-EA22-46B1-B1C2-2446EC05BB2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直接连接符 244">
                <a:extLst>
                  <a:ext uri="{FF2B5EF4-FFF2-40B4-BE49-F238E27FC236}">
                    <a16:creationId xmlns:a16="http://schemas.microsoft.com/office/drawing/2014/main" id="{DBD4E9ED-0E4D-4AA8-982B-74AB3E1B4A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9" name="组合 228">
            <a:extLst>
              <a:ext uri="{FF2B5EF4-FFF2-40B4-BE49-F238E27FC236}">
                <a16:creationId xmlns:a16="http://schemas.microsoft.com/office/drawing/2014/main" id="{BD8A0230-EFDC-477B-B7CB-54845B5F04DF}"/>
              </a:ext>
            </a:extLst>
          </p:cNvPr>
          <p:cNvGrpSpPr/>
          <p:nvPr/>
        </p:nvGrpSpPr>
        <p:grpSpPr>
          <a:xfrm>
            <a:off x="9150919" y="3189291"/>
            <a:ext cx="100012" cy="100012"/>
            <a:chOff x="4936473" y="3105150"/>
            <a:chExt cx="174782" cy="174782"/>
          </a:xfrm>
        </p:grpSpPr>
        <p:sp>
          <p:nvSpPr>
            <p:cNvPr id="236" name="椭圆 235">
              <a:extLst>
                <a:ext uri="{FF2B5EF4-FFF2-40B4-BE49-F238E27FC236}">
                  <a16:creationId xmlns:a16="http://schemas.microsoft.com/office/drawing/2014/main" id="{312859A3-6732-4E24-B3A5-0AFDF74F24F4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37" name="组合 236">
              <a:extLst>
                <a:ext uri="{FF2B5EF4-FFF2-40B4-BE49-F238E27FC236}">
                  <a16:creationId xmlns:a16="http://schemas.microsoft.com/office/drawing/2014/main" id="{23C1B453-268E-49B8-8DFE-B8C8EB2A8DD3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38" name="直接连接符 237">
                <a:extLst>
                  <a:ext uri="{FF2B5EF4-FFF2-40B4-BE49-F238E27FC236}">
                    <a16:creationId xmlns:a16="http://schemas.microsoft.com/office/drawing/2014/main" id="{CEC031D4-EA3E-45FA-9CCD-F89A28CFA5F6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直接连接符 238">
                <a:extLst>
                  <a:ext uri="{FF2B5EF4-FFF2-40B4-BE49-F238E27FC236}">
                    <a16:creationId xmlns:a16="http://schemas.microsoft.com/office/drawing/2014/main" id="{1F767A4F-24E1-40BC-AAF9-280C18D1FB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直接连接符 239">
                <a:extLst>
                  <a:ext uri="{FF2B5EF4-FFF2-40B4-BE49-F238E27FC236}">
                    <a16:creationId xmlns:a16="http://schemas.microsoft.com/office/drawing/2014/main" id="{B5081D4E-A00F-4FE9-9EAA-F45BB05409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1FC6C352-18B5-4191-AEB0-16FFF06B2387}"/>
              </a:ext>
            </a:extLst>
          </p:cNvPr>
          <p:cNvSpPr txBox="1"/>
          <p:nvPr/>
        </p:nvSpPr>
        <p:spPr>
          <a:xfrm>
            <a:off x="9077100" y="1486939"/>
            <a:ext cx="2772000" cy="36933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    泛工业</a:t>
            </a:r>
          </a:p>
        </p:txBody>
      </p:sp>
      <p:sp>
        <p:nvSpPr>
          <p:cNvPr id="266" name="矩形: 圆顶角 265">
            <a:extLst>
              <a:ext uri="{FF2B5EF4-FFF2-40B4-BE49-F238E27FC236}">
                <a16:creationId xmlns:a16="http://schemas.microsoft.com/office/drawing/2014/main" id="{4EE4EFB6-292E-46FE-880D-04A8EB9B32A3}"/>
              </a:ext>
            </a:extLst>
          </p:cNvPr>
          <p:cNvSpPr/>
          <p:nvPr/>
        </p:nvSpPr>
        <p:spPr>
          <a:xfrm>
            <a:off x="3254301" y="423707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7" name="文本框 266">
            <a:extLst>
              <a:ext uri="{FF2B5EF4-FFF2-40B4-BE49-F238E27FC236}">
                <a16:creationId xmlns:a16="http://schemas.microsoft.com/office/drawing/2014/main" id="{9896C72F-A61A-427E-BE73-3645DAE49584}"/>
              </a:ext>
            </a:extLst>
          </p:cNvPr>
          <p:cNvSpPr txBox="1"/>
          <p:nvPr/>
        </p:nvSpPr>
        <p:spPr>
          <a:xfrm>
            <a:off x="3254301" y="425966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某头部制药公司-药盒包装字符识别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hlinkClick r:id="rId5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grpSp>
        <p:nvGrpSpPr>
          <p:cNvPr id="268" name="组合 267">
            <a:extLst>
              <a:ext uri="{FF2B5EF4-FFF2-40B4-BE49-F238E27FC236}">
                <a16:creationId xmlns:a16="http://schemas.microsoft.com/office/drawing/2014/main" id="{DBDDC571-9765-47AB-856A-29BAC8ECC0B6}"/>
              </a:ext>
            </a:extLst>
          </p:cNvPr>
          <p:cNvGrpSpPr/>
          <p:nvPr/>
        </p:nvGrpSpPr>
        <p:grpSpPr>
          <a:xfrm>
            <a:off x="3328120" y="4380866"/>
            <a:ext cx="100012" cy="100012"/>
            <a:chOff x="4936473" y="3105150"/>
            <a:chExt cx="174782" cy="174782"/>
          </a:xfrm>
        </p:grpSpPr>
        <p:sp>
          <p:nvSpPr>
            <p:cNvPr id="269" name="椭圆 268">
              <a:extLst>
                <a:ext uri="{FF2B5EF4-FFF2-40B4-BE49-F238E27FC236}">
                  <a16:creationId xmlns:a16="http://schemas.microsoft.com/office/drawing/2014/main" id="{104CB9E0-D588-423B-B225-E95750929767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70" name="组合 269">
              <a:extLst>
                <a:ext uri="{FF2B5EF4-FFF2-40B4-BE49-F238E27FC236}">
                  <a16:creationId xmlns:a16="http://schemas.microsoft.com/office/drawing/2014/main" id="{605767A5-A3B1-4081-9B99-F3F67060509C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271" name="直接连接符 270">
                <a:extLst>
                  <a:ext uri="{FF2B5EF4-FFF2-40B4-BE49-F238E27FC236}">
                    <a16:creationId xmlns:a16="http://schemas.microsoft.com/office/drawing/2014/main" id="{4C60B336-DB14-43D2-8F62-CC0C12A02307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直接连接符 271">
                <a:extLst>
                  <a:ext uri="{FF2B5EF4-FFF2-40B4-BE49-F238E27FC236}">
                    <a16:creationId xmlns:a16="http://schemas.microsoft.com/office/drawing/2014/main" id="{7CFD37E9-D6AA-403F-A74E-8F74041C1FC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直接连接符 272">
                <a:extLst>
                  <a:ext uri="{FF2B5EF4-FFF2-40B4-BE49-F238E27FC236}">
                    <a16:creationId xmlns:a16="http://schemas.microsoft.com/office/drawing/2014/main" id="{4461750A-7B3C-4DED-AB01-F9BFEC8837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4" name="矩形: 圆顶角 293">
            <a:extLst>
              <a:ext uri="{FF2B5EF4-FFF2-40B4-BE49-F238E27FC236}">
                <a16:creationId xmlns:a16="http://schemas.microsoft.com/office/drawing/2014/main" id="{405C2DCC-D86C-4016-A112-C2A190A1993A}"/>
              </a:ext>
            </a:extLst>
          </p:cNvPr>
          <p:cNvSpPr/>
          <p:nvPr/>
        </p:nvSpPr>
        <p:spPr>
          <a:xfrm>
            <a:off x="342901" y="423707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5" name="文本框 294">
            <a:extLst>
              <a:ext uri="{FF2B5EF4-FFF2-40B4-BE49-F238E27FC236}">
                <a16:creationId xmlns:a16="http://schemas.microsoft.com/office/drawing/2014/main" id="{DA830D35-131E-4810-813C-5757F65B17DB}"/>
              </a:ext>
            </a:extLst>
          </p:cNvPr>
          <p:cNvSpPr txBox="1"/>
          <p:nvPr/>
        </p:nvSpPr>
        <p:spPr>
          <a:xfrm>
            <a:off x="342901" y="425966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中国烟草-标签字符识别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hlinkClick r:id="rId20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grpSp>
        <p:nvGrpSpPr>
          <p:cNvPr id="296" name="组合 295">
            <a:extLst>
              <a:ext uri="{FF2B5EF4-FFF2-40B4-BE49-F238E27FC236}">
                <a16:creationId xmlns:a16="http://schemas.microsoft.com/office/drawing/2014/main" id="{BE84A39E-E44B-445F-81B8-4D15427FA45A}"/>
              </a:ext>
            </a:extLst>
          </p:cNvPr>
          <p:cNvGrpSpPr/>
          <p:nvPr/>
        </p:nvGrpSpPr>
        <p:grpSpPr>
          <a:xfrm>
            <a:off x="416720" y="4380866"/>
            <a:ext cx="100012" cy="100012"/>
            <a:chOff x="4936473" y="3105150"/>
            <a:chExt cx="174782" cy="174782"/>
          </a:xfrm>
        </p:grpSpPr>
        <p:sp>
          <p:nvSpPr>
            <p:cNvPr id="333" name="椭圆 332">
              <a:extLst>
                <a:ext uri="{FF2B5EF4-FFF2-40B4-BE49-F238E27FC236}">
                  <a16:creationId xmlns:a16="http://schemas.microsoft.com/office/drawing/2014/main" id="{4B3834BD-21D9-4073-92CD-C8DDFED00100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34" name="组合 333">
              <a:extLst>
                <a:ext uri="{FF2B5EF4-FFF2-40B4-BE49-F238E27FC236}">
                  <a16:creationId xmlns:a16="http://schemas.microsoft.com/office/drawing/2014/main" id="{92500822-1D8A-4B9C-984D-AC24B976FFA7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35" name="直接连接符 334">
                <a:extLst>
                  <a:ext uri="{FF2B5EF4-FFF2-40B4-BE49-F238E27FC236}">
                    <a16:creationId xmlns:a16="http://schemas.microsoft.com/office/drawing/2014/main" id="{B79BCF0E-5BC6-4903-B4F3-43E7B5C42973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直接连接符 335">
                <a:extLst>
                  <a:ext uri="{FF2B5EF4-FFF2-40B4-BE49-F238E27FC236}">
                    <a16:creationId xmlns:a16="http://schemas.microsoft.com/office/drawing/2014/main" id="{F7044065-24F1-4B77-A94F-2EC8D046A7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直接连接符 336">
                <a:extLst>
                  <a:ext uri="{FF2B5EF4-FFF2-40B4-BE49-F238E27FC236}">
                    <a16:creationId xmlns:a16="http://schemas.microsoft.com/office/drawing/2014/main" id="{C49BBED3-FE03-4BA1-97EF-BC5C5E23D7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8" name="矩形: 圆顶角 337">
            <a:extLst>
              <a:ext uri="{FF2B5EF4-FFF2-40B4-BE49-F238E27FC236}">
                <a16:creationId xmlns:a16="http://schemas.microsoft.com/office/drawing/2014/main" id="{0ECBDC4E-52B6-4EE2-B36F-9F0F130C3E1D}"/>
              </a:ext>
            </a:extLst>
          </p:cNvPr>
          <p:cNvSpPr/>
          <p:nvPr/>
        </p:nvSpPr>
        <p:spPr>
          <a:xfrm>
            <a:off x="6165701" y="423707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9" name="文本框 338">
            <a:extLst>
              <a:ext uri="{FF2B5EF4-FFF2-40B4-BE49-F238E27FC236}">
                <a16:creationId xmlns:a16="http://schemas.microsoft.com/office/drawing/2014/main" id="{81872554-5798-442C-921B-DEF90F018190}"/>
              </a:ext>
            </a:extLst>
          </p:cNvPr>
          <p:cNvSpPr txBox="1"/>
          <p:nvPr/>
        </p:nvSpPr>
        <p:spPr>
          <a:xfrm>
            <a:off x="6165701" y="425966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珠宝-周大福-戒指手镯字符识别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（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项目</a:t>
            </a: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）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食品-光明乳业-牛奶外包装字符识别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食品-光明乳业-外包装字符识别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食品-思锐-果冻生产批次检测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食品-李锦记-薄盐生抽生产批次检测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快消-发那科-鞋头字符检测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hlinkClick r:id="rId25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grpSp>
        <p:nvGrpSpPr>
          <p:cNvPr id="340" name="组合 339">
            <a:extLst>
              <a:ext uri="{FF2B5EF4-FFF2-40B4-BE49-F238E27FC236}">
                <a16:creationId xmlns:a16="http://schemas.microsoft.com/office/drawing/2014/main" id="{C62A4A50-6D0B-4031-8F54-7F948F672184}"/>
              </a:ext>
            </a:extLst>
          </p:cNvPr>
          <p:cNvGrpSpPr/>
          <p:nvPr/>
        </p:nvGrpSpPr>
        <p:grpSpPr>
          <a:xfrm>
            <a:off x="6239520" y="4380866"/>
            <a:ext cx="100012" cy="100012"/>
            <a:chOff x="4936473" y="3105150"/>
            <a:chExt cx="174782" cy="174782"/>
          </a:xfrm>
        </p:grpSpPr>
        <p:sp>
          <p:nvSpPr>
            <p:cNvPr id="341" name="椭圆 340">
              <a:extLst>
                <a:ext uri="{FF2B5EF4-FFF2-40B4-BE49-F238E27FC236}">
                  <a16:creationId xmlns:a16="http://schemas.microsoft.com/office/drawing/2014/main" id="{863FFF3A-344F-4D76-9528-69519FF421A6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42" name="组合 341">
              <a:extLst>
                <a:ext uri="{FF2B5EF4-FFF2-40B4-BE49-F238E27FC236}">
                  <a16:creationId xmlns:a16="http://schemas.microsoft.com/office/drawing/2014/main" id="{DAA55F2F-1CF0-47D5-92A0-41838CD002C6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43" name="直接连接符 342">
                <a:extLst>
                  <a:ext uri="{FF2B5EF4-FFF2-40B4-BE49-F238E27FC236}">
                    <a16:creationId xmlns:a16="http://schemas.microsoft.com/office/drawing/2014/main" id="{47BF9A48-82F8-456E-80F5-237F09344FC1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直接连接符 343">
                <a:extLst>
                  <a:ext uri="{FF2B5EF4-FFF2-40B4-BE49-F238E27FC236}">
                    <a16:creationId xmlns:a16="http://schemas.microsoft.com/office/drawing/2014/main" id="{14091B65-7FC2-489A-8C56-22B06FEE6C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5" name="直接连接符 344">
                <a:extLst>
                  <a:ext uri="{FF2B5EF4-FFF2-40B4-BE49-F238E27FC236}">
                    <a16:creationId xmlns:a16="http://schemas.microsoft.com/office/drawing/2014/main" id="{525295A4-217D-4A6E-BD9E-D9C90015A5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46" name="组合 345">
            <a:extLst>
              <a:ext uri="{FF2B5EF4-FFF2-40B4-BE49-F238E27FC236}">
                <a16:creationId xmlns:a16="http://schemas.microsoft.com/office/drawing/2014/main" id="{EC0B6EAF-CF37-4E43-9A86-62BA524B7284}"/>
              </a:ext>
            </a:extLst>
          </p:cNvPr>
          <p:cNvGrpSpPr/>
          <p:nvPr/>
        </p:nvGrpSpPr>
        <p:grpSpPr>
          <a:xfrm>
            <a:off x="6239520" y="4620579"/>
            <a:ext cx="100012" cy="100012"/>
            <a:chOff x="4936473" y="3105150"/>
            <a:chExt cx="174782" cy="174782"/>
          </a:xfrm>
        </p:grpSpPr>
        <p:sp>
          <p:nvSpPr>
            <p:cNvPr id="347" name="椭圆 346">
              <a:extLst>
                <a:ext uri="{FF2B5EF4-FFF2-40B4-BE49-F238E27FC236}">
                  <a16:creationId xmlns:a16="http://schemas.microsoft.com/office/drawing/2014/main" id="{DB84C314-E645-44E9-9026-D1EDFFAE648B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48" name="组合 347">
              <a:extLst>
                <a:ext uri="{FF2B5EF4-FFF2-40B4-BE49-F238E27FC236}">
                  <a16:creationId xmlns:a16="http://schemas.microsoft.com/office/drawing/2014/main" id="{157CAE3C-23DC-4D64-92C0-346D290B3D73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49" name="直接连接符 348">
                <a:extLst>
                  <a:ext uri="{FF2B5EF4-FFF2-40B4-BE49-F238E27FC236}">
                    <a16:creationId xmlns:a16="http://schemas.microsoft.com/office/drawing/2014/main" id="{F366121A-5AA0-48E6-88B0-7509574BE4B4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0" name="直接连接符 349">
                <a:extLst>
                  <a:ext uri="{FF2B5EF4-FFF2-40B4-BE49-F238E27FC236}">
                    <a16:creationId xmlns:a16="http://schemas.microsoft.com/office/drawing/2014/main" id="{1FBC31BD-F366-4221-8F5D-4FDD553AE0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直接连接符 350">
                <a:extLst>
                  <a:ext uri="{FF2B5EF4-FFF2-40B4-BE49-F238E27FC236}">
                    <a16:creationId xmlns:a16="http://schemas.microsoft.com/office/drawing/2014/main" id="{79439168-35B7-4921-AEBC-4DDF2F519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2" name="组合 351">
            <a:extLst>
              <a:ext uri="{FF2B5EF4-FFF2-40B4-BE49-F238E27FC236}">
                <a16:creationId xmlns:a16="http://schemas.microsoft.com/office/drawing/2014/main" id="{A05FF829-6D82-4C0A-878B-E6B208A6885A}"/>
              </a:ext>
            </a:extLst>
          </p:cNvPr>
          <p:cNvGrpSpPr/>
          <p:nvPr/>
        </p:nvGrpSpPr>
        <p:grpSpPr>
          <a:xfrm>
            <a:off x="6239520" y="4860292"/>
            <a:ext cx="100012" cy="100012"/>
            <a:chOff x="4936473" y="3105150"/>
            <a:chExt cx="174782" cy="174782"/>
          </a:xfrm>
        </p:grpSpPr>
        <p:sp>
          <p:nvSpPr>
            <p:cNvPr id="353" name="椭圆 352">
              <a:extLst>
                <a:ext uri="{FF2B5EF4-FFF2-40B4-BE49-F238E27FC236}">
                  <a16:creationId xmlns:a16="http://schemas.microsoft.com/office/drawing/2014/main" id="{4DDC07A1-12EA-474B-97EA-EB4E0572C7FA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54" name="组合 353">
              <a:extLst>
                <a:ext uri="{FF2B5EF4-FFF2-40B4-BE49-F238E27FC236}">
                  <a16:creationId xmlns:a16="http://schemas.microsoft.com/office/drawing/2014/main" id="{A27A6B4F-B48F-44DE-ACCA-265E0C9965F1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55" name="直接连接符 354">
                <a:extLst>
                  <a:ext uri="{FF2B5EF4-FFF2-40B4-BE49-F238E27FC236}">
                    <a16:creationId xmlns:a16="http://schemas.microsoft.com/office/drawing/2014/main" id="{1A2CF3C0-24C0-4DFE-9D7C-515FA55C661B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6" name="直接连接符 355">
                <a:extLst>
                  <a:ext uri="{FF2B5EF4-FFF2-40B4-BE49-F238E27FC236}">
                    <a16:creationId xmlns:a16="http://schemas.microsoft.com/office/drawing/2014/main" id="{0D4BE86E-FC49-4F74-A929-3C5107DFDE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7" name="直接连接符 356">
                <a:extLst>
                  <a:ext uri="{FF2B5EF4-FFF2-40B4-BE49-F238E27FC236}">
                    <a16:creationId xmlns:a16="http://schemas.microsoft.com/office/drawing/2014/main" id="{8285BF7E-AC57-499E-BA01-5D0549F05F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8" name="组合 357">
            <a:extLst>
              <a:ext uri="{FF2B5EF4-FFF2-40B4-BE49-F238E27FC236}">
                <a16:creationId xmlns:a16="http://schemas.microsoft.com/office/drawing/2014/main" id="{867C83EB-05CB-47BA-B29B-69F30DF0BABD}"/>
              </a:ext>
            </a:extLst>
          </p:cNvPr>
          <p:cNvGrpSpPr/>
          <p:nvPr/>
        </p:nvGrpSpPr>
        <p:grpSpPr>
          <a:xfrm>
            <a:off x="6239520" y="5100005"/>
            <a:ext cx="100012" cy="100012"/>
            <a:chOff x="4936473" y="3105150"/>
            <a:chExt cx="174782" cy="174782"/>
          </a:xfrm>
        </p:grpSpPr>
        <p:sp>
          <p:nvSpPr>
            <p:cNvPr id="359" name="椭圆 358">
              <a:extLst>
                <a:ext uri="{FF2B5EF4-FFF2-40B4-BE49-F238E27FC236}">
                  <a16:creationId xmlns:a16="http://schemas.microsoft.com/office/drawing/2014/main" id="{1392FCA6-2A38-4E7D-A99E-847BC4515560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60" name="组合 359">
              <a:extLst>
                <a:ext uri="{FF2B5EF4-FFF2-40B4-BE49-F238E27FC236}">
                  <a16:creationId xmlns:a16="http://schemas.microsoft.com/office/drawing/2014/main" id="{F5DB4AC5-A54F-431B-8D87-6B5DD56321B9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61" name="直接连接符 360">
                <a:extLst>
                  <a:ext uri="{FF2B5EF4-FFF2-40B4-BE49-F238E27FC236}">
                    <a16:creationId xmlns:a16="http://schemas.microsoft.com/office/drawing/2014/main" id="{16CBB9F8-45E2-4304-95D5-4C6E7EE5C60D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2" name="直接连接符 361">
                <a:extLst>
                  <a:ext uri="{FF2B5EF4-FFF2-40B4-BE49-F238E27FC236}">
                    <a16:creationId xmlns:a16="http://schemas.microsoft.com/office/drawing/2014/main" id="{5A784E52-BA64-46C7-A25D-1EC6C7E8B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直接连接符 362">
                <a:extLst>
                  <a:ext uri="{FF2B5EF4-FFF2-40B4-BE49-F238E27FC236}">
                    <a16:creationId xmlns:a16="http://schemas.microsoft.com/office/drawing/2014/main" id="{61E80A15-02E7-4B76-82BA-455D51A06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4" name="组合 363">
            <a:extLst>
              <a:ext uri="{FF2B5EF4-FFF2-40B4-BE49-F238E27FC236}">
                <a16:creationId xmlns:a16="http://schemas.microsoft.com/office/drawing/2014/main" id="{956C3D5F-515B-4FBB-8590-D7DD86EB2F7F}"/>
              </a:ext>
            </a:extLst>
          </p:cNvPr>
          <p:cNvGrpSpPr/>
          <p:nvPr/>
        </p:nvGrpSpPr>
        <p:grpSpPr>
          <a:xfrm>
            <a:off x="6239520" y="5339718"/>
            <a:ext cx="100012" cy="100012"/>
            <a:chOff x="4936473" y="3105150"/>
            <a:chExt cx="174782" cy="174782"/>
          </a:xfrm>
        </p:grpSpPr>
        <p:sp>
          <p:nvSpPr>
            <p:cNvPr id="365" name="椭圆 364">
              <a:extLst>
                <a:ext uri="{FF2B5EF4-FFF2-40B4-BE49-F238E27FC236}">
                  <a16:creationId xmlns:a16="http://schemas.microsoft.com/office/drawing/2014/main" id="{4F259966-121C-4411-8DE8-FF9BE8445A20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66" name="组合 365">
              <a:extLst>
                <a:ext uri="{FF2B5EF4-FFF2-40B4-BE49-F238E27FC236}">
                  <a16:creationId xmlns:a16="http://schemas.microsoft.com/office/drawing/2014/main" id="{C77083F7-6463-411F-9E7A-40FEB63BD675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67" name="直接连接符 366">
                <a:extLst>
                  <a:ext uri="{FF2B5EF4-FFF2-40B4-BE49-F238E27FC236}">
                    <a16:creationId xmlns:a16="http://schemas.microsoft.com/office/drawing/2014/main" id="{B6C8B9CF-9958-4C49-A801-F54EA66F41EB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8" name="直接连接符 367">
                <a:extLst>
                  <a:ext uri="{FF2B5EF4-FFF2-40B4-BE49-F238E27FC236}">
                    <a16:creationId xmlns:a16="http://schemas.microsoft.com/office/drawing/2014/main" id="{F507EFE3-3DB6-4115-9B7C-DB923CAE4F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9" name="直接连接符 368">
                <a:extLst>
                  <a:ext uri="{FF2B5EF4-FFF2-40B4-BE49-F238E27FC236}">
                    <a16:creationId xmlns:a16="http://schemas.microsoft.com/office/drawing/2014/main" id="{ADB54D4D-740C-4B36-B386-7DD9D67863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0" name="文本框 369">
            <a:extLst>
              <a:ext uri="{FF2B5EF4-FFF2-40B4-BE49-F238E27FC236}">
                <a16:creationId xmlns:a16="http://schemas.microsoft.com/office/drawing/2014/main" id="{277CC7A8-4562-430E-8DB9-26DF57F4F0AA}"/>
              </a:ext>
            </a:extLst>
          </p:cNvPr>
          <p:cNvSpPr txBox="1"/>
          <p:nvPr/>
        </p:nvSpPr>
        <p:spPr>
          <a:xfrm>
            <a:off x="6165701" y="3877079"/>
            <a:ext cx="2772000" cy="369332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    </a:t>
            </a:r>
            <a:r>
              <a:rPr lang="zh-CN" altLang="zh-CN" dirty="0"/>
              <a:t>快消品食品</a:t>
            </a:r>
            <a:endParaRPr lang="zh-CN" altLang="en-US" dirty="0"/>
          </a:p>
        </p:txBody>
      </p:sp>
      <p:sp>
        <p:nvSpPr>
          <p:cNvPr id="371" name="文本框 370">
            <a:extLst>
              <a:ext uri="{FF2B5EF4-FFF2-40B4-BE49-F238E27FC236}">
                <a16:creationId xmlns:a16="http://schemas.microsoft.com/office/drawing/2014/main" id="{AFF53FC2-19E4-471B-9D31-5C70EBE68A93}"/>
              </a:ext>
            </a:extLst>
          </p:cNvPr>
          <p:cNvSpPr txBox="1"/>
          <p:nvPr/>
        </p:nvSpPr>
        <p:spPr>
          <a:xfrm>
            <a:off x="3254301" y="3877079"/>
            <a:ext cx="2772000" cy="36933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    </a:t>
            </a:r>
            <a:r>
              <a:rPr lang="zh-CN" altLang="zh-CN" dirty="0"/>
              <a:t>医药制造</a:t>
            </a:r>
            <a:endParaRPr lang="en-US" dirty="0"/>
          </a:p>
        </p:txBody>
      </p:sp>
      <p:sp>
        <p:nvSpPr>
          <p:cNvPr id="372" name="矩形: 圆顶角 371">
            <a:extLst>
              <a:ext uri="{FF2B5EF4-FFF2-40B4-BE49-F238E27FC236}">
                <a16:creationId xmlns:a16="http://schemas.microsoft.com/office/drawing/2014/main" id="{F3FC0F0B-D462-4315-876D-C2F98FB0FB0F}"/>
              </a:ext>
            </a:extLst>
          </p:cNvPr>
          <p:cNvSpPr/>
          <p:nvPr/>
        </p:nvSpPr>
        <p:spPr>
          <a:xfrm>
            <a:off x="9077100" y="4237078"/>
            <a:ext cx="2772000" cy="1892305"/>
          </a:xfrm>
          <a:prstGeom prst="round2SameRect">
            <a:avLst>
              <a:gd name="adj1" fmla="val 0"/>
              <a:gd name="adj2" fmla="val 3698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3" name="文本框 372">
            <a:extLst>
              <a:ext uri="{FF2B5EF4-FFF2-40B4-BE49-F238E27FC236}">
                <a16:creationId xmlns:a16="http://schemas.microsoft.com/office/drawing/2014/main" id="{215A0651-D192-4F45-AF10-5EDA8AD13CFC}"/>
              </a:ext>
            </a:extLst>
          </p:cNvPr>
          <p:cNvSpPr txBox="1"/>
          <p:nvPr/>
        </p:nvSpPr>
        <p:spPr>
          <a:xfrm>
            <a:off x="9077100" y="4259667"/>
            <a:ext cx="2772000" cy="1763816"/>
          </a:xfrm>
          <a:prstGeom prst="rect">
            <a:avLst/>
          </a:prstGeom>
          <a:ln w="6350">
            <a:prstDash val="solid"/>
          </a:ln>
        </p:spPr>
        <p:txBody>
          <a:bodyPr wrap="none" lIns="72000">
            <a:noAutofit/>
          </a:bodyPr>
          <a:lstStyle>
            <a:defPPr>
              <a:defRPr lang="zh-CN"/>
            </a:defPPr>
            <a:lvl1pPr defTabSz="114300">
              <a:lnSpc>
                <a:spcPct val="150000"/>
              </a:lnSpc>
              <a:defRPr sz="1050" b="0" i="0" strike="noStrike" spc="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DHL-</a:t>
            </a:r>
            <a:r>
              <a:rPr lang="en-US" altLang="zh-CN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快递单识别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74" name="组合 373">
            <a:extLst>
              <a:ext uri="{FF2B5EF4-FFF2-40B4-BE49-F238E27FC236}">
                <a16:creationId xmlns:a16="http://schemas.microsoft.com/office/drawing/2014/main" id="{01C67FEC-29E0-4B2F-9E59-1576B6D3EECD}"/>
              </a:ext>
            </a:extLst>
          </p:cNvPr>
          <p:cNvGrpSpPr/>
          <p:nvPr/>
        </p:nvGrpSpPr>
        <p:grpSpPr>
          <a:xfrm>
            <a:off x="9150919" y="4380866"/>
            <a:ext cx="100012" cy="100012"/>
            <a:chOff x="4936473" y="3105150"/>
            <a:chExt cx="174782" cy="174782"/>
          </a:xfrm>
        </p:grpSpPr>
        <p:sp>
          <p:nvSpPr>
            <p:cNvPr id="375" name="椭圆 374">
              <a:extLst>
                <a:ext uri="{FF2B5EF4-FFF2-40B4-BE49-F238E27FC236}">
                  <a16:creationId xmlns:a16="http://schemas.microsoft.com/office/drawing/2014/main" id="{2F582D4E-CE1E-4155-9029-85EB14F70B97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76" name="组合 375">
              <a:extLst>
                <a:ext uri="{FF2B5EF4-FFF2-40B4-BE49-F238E27FC236}">
                  <a16:creationId xmlns:a16="http://schemas.microsoft.com/office/drawing/2014/main" id="{6DD9BA37-F70D-4E04-9F95-B65188B01D3D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377" name="直接连接符 376">
                <a:extLst>
                  <a:ext uri="{FF2B5EF4-FFF2-40B4-BE49-F238E27FC236}">
                    <a16:creationId xmlns:a16="http://schemas.microsoft.com/office/drawing/2014/main" id="{A16A2D6A-72F8-4253-9DB4-FBB4BE322E25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直接连接符 377">
                <a:extLst>
                  <a:ext uri="{FF2B5EF4-FFF2-40B4-BE49-F238E27FC236}">
                    <a16:creationId xmlns:a16="http://schemas.microsoft.com/office/drawing/2014/main" id="{8B39AD5E-F27B-465F-8D7A-3E1E3F7E09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直接连接符 378">
                <a:extLst>
                  <a:ext uri="{FF2B5EF4-FFF2-40B4-BE49-F238E27FC236}">
                    <a16:creationId xmlns:a16="http://schemas.microsoft.com/office/drawing/2014/main" id="{624794D8-6A9E-489F-A309-7B1591C110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4" name="组合 403">
            <a:extLst>
              <a:ext uri="{FF2B5EF4-FFF2-40B4-BE49-F238E27FC236}">
                <a16:creationId xmlns:a16="http://schemas.microsoft.com/office/drawing/2014/main" id="{08307D9F-552A-4027-9070-7DB0D424A652}"/>
              </a:ext>
            </a:extLst>
          </p:cNvPr>
          <p:cNvGrpSpPr/>
          <p:nvPr/>
        </p:nvGrpSpPr>
        <p:grpSpPr>
          <a:xfrm>
            <a:off x="6239520" y="5579431"/>
            <a:ext cx="100012" cy="100012"/>
            <a:chOff x="4936473" y="3105150"/>
            <a:chExt cx="174782" cy="174782"/>
          </a:xfrm>
        </p:grpSpPr>
        <p:sp>
          <p:nvSpPr>
            <p:cNvPr id="405" name="椭圆 404">
              <a:extLst>
                <a:ext uri="{FF2B5EF4-FFF2-40B4-BE49-F238E27FC236}">
                  <a16:creationId xmlns:a16="http://schemas.microsoft.com/office/drawing/2014/main" id="{9E539086-525B-4F60-8D7C-01A0AD48EE59}"/>
                </a:ext>
              </a:extLst>
            </p:cNvPr>
            <p:cNvSpPr/>
            <p:nvPr/>
          </p:nvSpPr>
          <p:spPr>
            <a:xfrm>
              <a:off x="4936473" y="3105150"/>
              <a:ext cx="174782" cy="174782"/>
            </a:xfrm>
            <a:prstGeom prst="ellipse">
              <a:avLst/>
            </a:prstGeom>
            <a:noFill/>
            <a:ln w="31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406" name="组合 405">
              <a:extLst>
                <a:ext uri="{FF2B5EF4-FFF2-40B4-BE49-F238E27FC236}">
                  <a16:creationId xmlns:a16="http://schemas.microsoft.com/office/drawing/2014/main" id="{5A77D6B5-2457-41E5-AAF2-E72AB2BDB0B0}"/>
                </a:ext>
              </a:extLst>
            </p:cNvPr>
            <p:cNvGrpSpPr/>
            <p:nvPr/>
          </p:nvGrpSpPr>
          <p:grpSpPr>
            <a:xfrm>
              <a:off x="4978656" y="3145286"/>
              <a:ext cx="90416" cy="94510"/>
              <a:chOff x="4973037" y="2643146"/>
              <a:chExt cx="302860" cy="316573"/>
            </a:xfrm>
          </p:grpSpPr>
          <p:cxnSp>
            <p:nvCxnSpPr>
              <p:cNvPr id="407" name="直接连接符 406">
                <a:extLst>
                  <a:ext uri="{FF2B5EF4-FFF2-40B4-BE49-F238E27FC236}">
                    <a16:creationId xmlns:a16="http://schemas.microsoft.com/office/drawing/2014/main" id="{9B6E1DD2-C0FA-46F8-B793-8201C9634D66}"/>
                  </a:ext>
                </a:extLst>
              </p:cNvPr>
              <p:cNvCxnSpPr/>
              <p:nvPr/>
            </p:nvCxnSpPr>
            <p:spPr>
              <a:xfrm>
                <a:off x="5115877" y="2643146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直接连接符 407">
                <a:extLst>
                  <a:ext uri="{FF2B5EF4-FFF2-40B4-BE49-F238E27FC236}">
                    <a16:creationId xmlns:a16="http://schemas.microsoft.com/office/drawing/2014/main" id="{249578EF-4FA1-4D15-ACDE-9859B473760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15877" y="2799699"/>
                <a:ext cx="160020" cy="16002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9" name="直接连接符 408">
                <a:extLst>
                  <a:ext uri="{FF2B5EF4-FFF2-40B4-BE49-F238E27FC236}">
                    <a16:creationId xmlns:a16="http://schemas.microsoft.com/office/drawing/2014/main" id="{0F930339-8DF0-487D-82CA-C9A9CAF3AA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3037" y="2799697"/>
                <a:ext cx="302860" cy="0"/>
              </a:xfrm>
              <a:prstGeom prst="line">
                <a:avLst/>
              </a:prstGeom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0" name="文本框 409">
            <a:extLst>
              <a:ext uri="{FF2B5EF4-FFF2-40B4-BE49-F238E27FC236}">
                <a16:creationId xmlns:a16="http://schemas.microsoft.com/office/drawing/2014/main" id="{F7C8BB5E-13D7-452C-966F-C520D6C1AC79}"/>
              </a:ext>
            </a:extLst>
          </p:cNvPr>
          <p:cNvSpPr txBox="1"/>
          <p:nvPr/>
        </p:nvSpPr>
        <p:spPr>
          <a:xfrm>
            <a:off x="9077100" y="3877079"/>
            <a:ext cx="2772000" cy="36933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27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    </a:t>
            </a:r>
            <a:r>
              <a:rPr lang="zh-CN" altLang="zh-CN" dirty="0"/>
              <a:t>快递</a:t>
            </a:r>
            <a:endParaRPr lang="zh-CN" altLang="en-US" dirty="0"/>
          </a:p>
        </p:txBody>
      </p:sp>
      <p:sp>
        <p:nvSpPr>
          <p:cNvPr id="292" name="文本框 291">
            <a:extLst>
              <a:ext uri="{FF2B5EF4-FFF2-40B4-BE49-F238E27FC236}">
                <a16:creationId xmlns:a16="http://schemas.microsoft.com/office/drawing/2014/main" id="{CA1F3D21-73B6-4027-A262-5257F6867A7D}"/>
              </a:ext>
            </a:extLst>
          </p:cNvPr>
          <p:cNvSpPr txBox="1"/>
          <p:nvPr/>
        </p:nvSpPr>
        <p:spPr>
          <a:xfrm>
            <a:off x="342901" y="3877079"/>
            <a:ext cx="2772000" cy="369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216000" rIns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烟草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1" name="iconfont-1177-866028">
            <a:extLst>
              <a:ext uri="{FF2B5EF4-FFF2-40B4-BE49-F238E27FC236}">
                <a16:creationId xmlns:a16="http://schemas.microsoft.com/office/drawing/2014/main" id="{A55D25A3-E800-4A5B-B706-CB72B5C5C96D}"/>
              </a:ext>
            </a:extLst>
          </p:cNvPr>
          <p:cNvSpPr/>
          <p:nvPr/>
        </p:nvSpPr>
        <p:spPr>
          <a:xfrm>
            <a:off x="3841359" y="1571625"/>
            <a:ext cx="347612" cy="176492"/>
          </a:xfrm>
          <a:custGeom>
            <a:avLst/>
            <a:gdLst>
              <a:gd name="T0" fmla="*/ 7008 w 7008"/>
              <a:gd name="T1" fmla="*/ 2188 h 3558"/>
              <a:gd name="T2" fmla="*/ 6762 w 7008"/>
              <a:gd name="T3" fmla="*/ 2188 h 3558"/>
              <a:gd name="T4" fmla="*/ 6762 w 7008"/>
              <a:gd name="T5" fmla="*/ 1281 h 3558"/>
              <a:gd name="T6" fmla="*/ 6227 w 7008"/>
              <a:gd name="T7" fmla="*/ 1281 h 3558"/>
              <a:gd name="T8" fmla="*/ 5485 w 7008"/>
              <a:gd name="T9" fmla="*/ 0 h 3558"/>
              <a:gd name="T10" fmla="*/ 2438 w 7008"/>
              <a:gd name="T11" fmla="*/ 0 h 3558"/>
              <a:gd name="T12" fmla="*/ 1696 w 7008"/>
              <a:gd name="T13" fmla="*/ 1281 h 3558"/>
              <a:gd name="T14" fmla="*/ 185 w 7008"/>
              <a:gd name="T15" fmla="*/ 1281 h 3558"/>
              <a:gd name="T16" fmla="*/ 185 w 7008"/>
              <a:gd name="T17" fmla="*/ 2188 h 3558"/>
              <a:gd name="T18" fmla="*/ 0 w 7008"/>
              <a:gd name="T19" fmla="*/ 2188 h 3558"/>
              <a:gd name="T20" fmla="*/ 0 w 7008"/>
              <a:gd name="T21" fmla="*/ 2700 h 3558"/>
              <a:gd name="T22" fmla="*/ 185 w 7008"/>
              <a:gd name="T23" fmla="*/ 2700 h 3558"/>
              <a:gd name="T24" fmla="*/ 185 w 7008"/>
              <a:gd name="T25" fmla="*/ 3020 h 3558"/>
              <a:gd name="T26" fmla="*/ 1249 w 7008"/>
              <a:gd name="T27" fmla="*/ 3020 h 3558"/>
              <a:gd name="T28" fmla="*/ 1902 w 7008"/>
              <a:gd name="T29" fmla="*/ 3558 h 3558"/>
              <a:gd name="T30" fmla="*/ 2556 w 7008"/>
              <a:gd name="T31" fmla="*/ 3020 h 3558"/>
              <a:gd name="T32" fmla="*/ 4528 w 7008"/>
              <a:gd name="T33" fmla="*/ 3020 h 3558"/>
              <a:gd name="T34" fmla="*/ 5182 w 7008"/>
              <a:gd name="T35" fmla="*/ 3558 h 3558"/>
              <a:gd name="T36" fmla="*/ 5836 w 7008"/>
              <a:gd name="T37" fmla="*/ 3020 h 3558"/>
              <a:gd name="T38" fmla="*/ 6763 w 7008"/>
              <a:gd name="T39" fmla="*/ 3020 h 3558"/>
              <a:gd name="T40" fmla="*/ 6763 w 7008"/>
              <a:gd name="T41" fmla="*/ 2700 h 3558"/>
              <a:gd name="T42" fmla="*/ 7008 w 7008"/>
              <a:gd name="T43" fmla="*/ 2700 h 3558"/>
              <a:gd name="T44" fmla="*/ 7008 w 7008"/>
              <a:gd name="T45" fmla="*/ 2188 h 3558"/>
              <a:gd name="T46" fmla="*/ 1902 w 7008"/>
              <a:gd name="T47" fmla="*/ 3302 h 3558"/>
              <a:gd name="T48" fmla="*/ 1492 w 7008"/>
              <a:gd name="T49" fmla="*/ 2891 h 3558"/>
              <a:gd name="T50" fmla="*/ 1902 w 7008"/>
              <a:gd name="T51" fmla="*/ 2481 h 3558"/>
              <a:gd name="T52" fmla="*/ 2313 w 7008"/>
              <a:gd name="T53" fmla="*/ 2891 h 3558"/>
              <a:gd name="T54" fmla="*/ 1902 w 7008"/>
              <a:gd name="T55" fmla="*/ 3302 h 3558"/>
              <a:gd name="T56" fmla="*/ 5182 w 7008"/>
              <a:gd name="T57" fmla="*/ 3302 h 3558"/>
              <a:gd name="T58" fmla="*/ 4771 w 7008"/>
              <a:gd name="T59" fmla="*/ 2891 h 3558"/>
              <a:gd name="T60" fmla="*/ 5182 w 7008"/>
              <a:gd name="T61" fmla="*/ 2481 h 3558"/>
              <a:gd name="T62" fmla="*/ 5592 w 7008"/>
              <a:gd name="T63" fmla="*/ 2891 h 3558"/>
              <a:gd name="T64" fmla="*/ 5182 w 7008"/>
              <a:gd name="T65" fmla="*/ 3302 h 3558"/>
              <a:gd name="T66" fmla="*/ 6506 w 7008"/>
              <a:gd name="T67" fmla="*/ 2764 h 3558"/>
              <a:gd name="T68" fmla="*/ 5835 w 7008"/>
              <a:gd name="T69" fmla="*/ 2764 h 3558"/>
              <a:gd name="T70" fmla="*/ 5182 w 7008"/>
              <a:gd name="T71" fmla="*/ 2225 h 3558"/>
              <a:gd name="T72" fmla="*/ 4527 w 7008"/>
              <a:gd name="T73" fmla="*/ 2764 h 3558"/>
              <a:gd name="T74" fmla="*/ 2556 w 7008"/>
              <a:gd name="T75" fmla="*/ 2764 h 3558"/>
              <a:gd name="T76" fmla="*/ 1902 w 7008"/>
              <a:gd name="T77" fmla="*/ 2225 h 3558"/>
              <a:gd name="T78" fmla="*/ 1248 w 7008"/>
              <a:gd name="T79" fmla="*/ 2764 h 3558"/>
              <a:gd name="T80" fmla="*/ 440 w 7008"/>
              <a:gd name="T81" fmla="*/ 2764 h 3558"/>
              <a:gd name="T82" fmla="*/ 440 w 7008"/>
              <a:gd name="T83" fmla="*/ 1537 h 3558"/>
              <a:gd name="T84" fmla="*/ 1843 w 7008"/>
              <a:gd name="T85" fmla="*/ 1537 h 3558"/>
              <a:gd name="T86" fmla="*/ 2585 w 7008"/>
              <a:gd name="T87" fmla="*/ 256 h 3558"/>
              <a:gd name="T88" fmla="*/ 5337 w 7008"/>
              <a:gd name="T89" fmla="*/ 256 h 3558"/>
              <a:gd name="T90" fmla="*/ 6078 w 7008"/>
              <a:gd name="T91" fmla="*/ 1537 h 3558"/>
              <a:gd name="T92" fmla="*/ 6505 w 7008"/>
              <a:gd name="T93" fmla="*/ 1537 h 3558"/>
              <a:gd name="T94" fmla="*/ 6505 w 7008"/>
              <a:gd name="T95" fmla="*/ 2764 h 3558"/>
              <a:gd name="T96" fmla="*/ 6506 w 7008"/>
              <a:gd name="T97" fmla="*/ 2764 h 3558"/>
              <a:gd name="T98" fmla="*/ 5310 w 7008"/>
              <a:gd name="T99" fmla="*/ 719 h 3558"/>
              <a:gd name="T100" fmla="*/ 5768 w 7008"/>
              <a:gd name="T101" fmla="*/ 1509 h 3558"/>
              <a:gd name="T102" fmla="*/ 5310 w 7008"/>
              <a:gd name="T103" fmla="*/ 1509 h 3558"/>
              <a:gd name="T104" fmla="*/ 5310 w 7008"/>
              <a:gd name="T105" fmla="*/ 719 h 3558"/>
              <a:gd name="T106" fmla="*/ 3847 w 7008"/>
              <a:gd name="T107" fmla="*/ 512 h 3558"/>
              <a:gd name="T108" fmla="*/ 5054 w 7008"/>
              <a:gd name="T109" fmla="*/ 512 h 3558"/>
              <a:gd name="T110" fmla="*/ 5054 w 7008"/>
              <a:gd name="T111" fmla="*/ 1509 h 3558"/>
              <a:gd name="T112" fmla="*/ 3847 w 7008"/>
              <a:gd name="T113" fmla="*/ 1509 h 3558"/>
              <a:gd name="T114" fmla="*/ 3847 w 7008"/>
              <a:gd name="T115" fmla="*/ 512 h 3558"/>
              <a:gd name="T116" fmla="*/ 2733 w 7008"/>
              <a:gd name="T117" fmla="*/ 512 h 3558"/>
              <a:gd name="T118" fmla="*/ 3591 w 7008"/>
              <a:gd name="T119" fmla="*/ 512 h 3558"/>
              <a:gd name="T120" fmla="*/ 3591 w 7008"/>
              <a:gd name="T121" fmla="*/ 1509 h 3558"/>
              <a:gd name="T122" fmla="*/ 2155 w 7008"/>
              <a:gd name="T123" fmla="*/ 1509 h 3558"/>
              <a:gd name="T124" fmla="*/ 2733 w 7008"/>
              <a:gd name="T125" fmla="*/ 512 h 3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08" h="3558">
                <a:moveTo>
                  <a:pt x="7008" y="2188"/>
                </a:moveTo>
                <a:lnTo>
                  <a:pt x="6762" y="2188"/>
                </a:lnTo>
                <a:lnTo>
                  <a:pt x="6762" y="1281"/>
                </a:lnTo>
                <a:lnTo>
                  <a:pt x="6227" y="1281"/>
                </a:lnTo>
                <a:lnTo>
                  <a:pt x="5485" y="0"/>
                </a:lnTo>
                <a:lnTo>
                  <a:pt x="2438" y="0"/>
                </a:lnTo>
                <a:lnTo>
                  <a:pt x="1696" y="1281"/>
                </a:lnTo>
                <a:lnTo>
                  <a:pt x="185" y="1281"/>
                </a:lnTo>
                <a:lnTo>
                  <a:pt x="185" y="2188"/>
                </a:lnTo>
                <a:lnTo>
                  <a:pt x="0" y="2188"/>
                </a:lnTo>
                <a:lnTo>
                  <a:pt x="0" y="2700"/>
                </a:lnTo>
                <a:lnTo>
                  <a:pt x="185" y="2700"/>
                </a:lnTo>
                <a:lnTo>
                  <a:pt x="185" y="3020"/>
                </a:lnTo>
                <a:lnTo>
                  <a:pt x="1249" y="3020"/>
                </a:lnTo>
                <a:cubicBezTo>
                  <a:pt x="1309" y="3326"/>
                  <a:pt x="1579" y="3558"/>
                  <a:pt x="1902" y="3558"/>
                </a:cubicBezTo>
                <a:cubicBezTo>
                  <a:pt x="2226" y="3558"/>
                  <a:pt x="2496" y="3327"/>
                  <a:pt x="2556" y="3020"/>
                </a:cubicBezTo>
                <a:lnTo>
                  <a:pt x="4528" y="3020"/>
                </a:lnTo>
                <a:cubicBezTo>
                  <a:pt x="4588" y="3326"/>
                  <a:pt x="4858" y="3558"/>
                  <a:pt x="5182" y="3558"/>
                </a:cubicBezTo>
                <a:cubicBezTo>
                  <a:pt x="5506" y="3558"/>
                  <a:pt x="5776" y="3327"/>
                  <a:pt x="5836" y="3020"/>
                </a:cubicBezTo>
                <a:lnTo>
                  <a:pt x="6763" y="3020"/>
                </a:lnTo>
                <a:lnTo>
                  <a:pt x="6763" y="2700"/>
                </a:lnTo>
                <a:lnTo>
                  <a:pt x="7008" y="2700"/>
                </a:lnTo>
                <a:lnTo>
                  <a:pt x="7008" y="2188"/>
                </a:lnTo>
                <a:close/>
                <a:moveTo>
                  <a:pt x="1902" y="3302"/>
                </a:moveTo>
                <a:cubicBezTo>
                  <a:pt x="1676" y="3302"/>
                  <a:pt x="1492" y="3118"/>
                  <a:pt x="1492" y="2891"/>
                </a:cubicBezTo>
                <a:cubicBezTo>
                  <a:pt x="1492" y="2665"/>
                  <a:pt x="1676" y="2481"/>
                  <a:pt x="1902" y="2481"/>
                </a:cubicBezTo>
                <a:cubicBezTo>
                  <a:pt x="2129" y="2481"/>
                  <a:pt x="2313" y="2665"/>
                  <a:pt x="2313" y="2891"/>
                </a:cubicBezTo>
                <a:cubicBezTo>
                  <a:pt x="2313" y="3118"/>
                  <a:pt x="2129" y="3302"/>
                  <a:pt x="1902" y="3302"/>
                </a:cubicBezTo>
                <a:close/>
                <a:moveTo>
                  <a:pt x="5182" y="3302"/>
                </a:moveTo>
                <a:cubicBezTo>
                  <a:pt x="4955" y="3302"/>
                  <a:pt x="4771" y="3118"/>
                  <a:pt x="4771" y="2891"/>
                </a:cubicBezTo>
                <a:cubicBezTo>
                  <a:pt x="4771" y="2665"/>
                  <a:pt x="4955" y="2481"/>
                  <a:pt x="5182" y="2481"/>
                </a:cubicBezTo>
                <a:cubicBezTo>
                  <a:pt x="5408" y="2481"/>
                  <a:pt x="5592" y="2665"/>
                  <a:pt x="5592" y="2891"/>
                </a:cubicBezTo>
                <a:cubicBezTo>
                  <a:pt x="5592" y="3118"/>
                  <a:pt x="5408" y="3302"/>
                  <a:pt x="5182" y="3302"/>
                </a:cubicBezTo>
                <a:close/>
                <a:moveTo>
                  <a:pt x="6506" y="2764"/>
                </a:moveTo>
                <a:lnTo>
                  <a:pt x="5835" y="2764"/>
                </a:lnTo>
                <a:cubicBezTo>
                  <a:pt x="5776" y="2457"/>
                  <a:pt x="5505" y="2225"/>
                  <a:pt x="5182" y="2225"/>
                </a:cubicBezTo>
                <a:cubicBezTo>
                  <a:pt x="4857" y="2225"/>
                  <a:pt x="4588" y="2457"/>
                  <a:pt x="4527" y="2764"/>
                </a:cubicBezTo>
                <a:lnTo>
                  <a:pt x="2556" y="2764"/>
                </a:lnTo>
                <a:cubicBezTo>
                  <a:pt x="2496" y="2457"/>
                  <a:pt x="2226" y="2225"/>
                  <a:pt x="1902" y="2225"/>
                </a:cubicBezTo>
                <a:cubicBezTo>
                  <a:pt x="1578" y="2225"/>
                  <a:pt x="1308" y="2457"/>
                  <a:pt x="1248" y="2764"/>
                </a:cubicBezTo>
                <a:lnTo>
                  <a:pt x="440" y="2764"/>
                </a:lnTo>
                <a:lnTo>
                  <a:pt x="440" y="1537"/>
                </a:lnTo>
                <a:lnTo>
                  <a:pt x="1843" y="1537"/>
                </a:lnTo>
                <a:lnTo>
                  <a:pt x="2585" y="256"/>
                </a:lnTo>
                <a:lnTo>
                  <a:pt x="5337" y="256"/>
                </a:lnTo>
                <a:lnTo>
                  <a:pt x="6078" y="1537"/>
                </a:lnTo>
                <a:lnTo>
                  <a:pt x="6505" y="1537"/>
                </a:lnTo>
                <a:lnTo>
                  <a:pt x="6505" y="2764"/>
                </a:lnTo>
                <a:lnTo>
                  <a:pt x="6506" y="2764"/>
                </a:lnTo>
                <a:close/>
                <a:moveTo>
                  <a:pt x="5310" y="719"/>
                </a:moveTo>
                <a:lnTo>
                  <a:pt x="5768" y="1509"/>
                </a:lnTo>
                <a:lnTo>
                  <a:pt x="5310" y="1509"/>
                </a:lnTo>
                <a:lnTo>
                  <a:pt x="5310" y="719"/>
                </a:lnTo>
                <a:close/>
                <a:moveTo>
                  <a:pt x="3847" y="512"/>
                </a:moveTo>
                <a:lnTo>
                  <a:pt x="5054" y="512"/>
                </a:lnTo>
                <a:lnTo>
                  <a:pt x="5054" y="1509"/>
                </a:lnTo>
                <a:lnTo>
                  <a:pt x="3847" y="1509"/>
                </a:lnTo>
                <a:lnTo>
                  <a:pt x="3847" y="512"/>
                </a:lnTo>
                <a:close/>
                <a:moveTo>
                  <a:pt x="2733" y="512"/>
                </a:moveTo>
                <a:lnTo>
                  <a:pt x="3591" y="512"/>
                </a:lnTo>
                <a:lnTo>
                  <a:pt x="3591" y="1509"/>
                </a:lnTo>
                <a:lnTo>
                  <a:pt x="2155" y="1509"/>
                </a:lnTo>
                <a:lnTo>
                  <a:pt x="2733" y="5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2" name="computer-microprocessor_22434">
            <a:extLst>
              <a:ext uri="{FF2B5EF4-FFF2-40B4-BE49-F238E27FC236}">
                <a16:creationId xmlns:a16="http://schemas.microsoft.com/office/drawing/2014/main" id="{567A2305-A7AD-4F3F-B699-25196F5680CE}"/>
              </a:ext>
            </a:extLst>
          </p:cNvPr>
          <p:cNvSpPr/>
          <p:nvPr/>
        </p:nvSpPr>
        <p:spPr>
          <a:xfrm>
            <a:off x="6878617" y="1559475"/>
            <a:ext cx="224652" cy="224260"/>
          </a:xfrm>
          <a:custGeom>
            <a:avLst/>
            <a:gdLst>
              <a:gd name="connsiteX0" fmla="*/ 432496 w 608415"/>
              <a:gd name="connsiteY0" fmla="*/ 535027 h 607356"/>
              <a:gd name="connsiteX1" fmla="*/ 441528 w 608415"/>
              <a:gd name="connsiteY1" fmla="*/ 544294 h 607356"/>
              <a:gd name="connsiteX2" fmla="*/ 441528 w 608415"/>
              <a:gd name="connsiteY2" fmla="*/ 598315 h 607356"/>
              <a:gd name="connsiteX3" fmla="*/ 432496 w 608415"/>
              <a:gd name="connsiteY3" fmla="*/ 607356 h 607356"/>
              <a:gd name="connsiteX4" fmla="*/ 423463 w 608415"/>
              <a:gd name="connsiteY4" fmla="*/ 598315 h 607356"/>
              <a:gd name="connsiteX5" fmla="*/ 423463 w 608415"/>
              <a:gd name="connsiteY5" fmla="*/ 544294 h 607356"/>
              <a:gd name="connsiteX6" fmla="*/ 432496 w 608415"/>
              <a:gd name="connsiteY6" fmla="*/ 535027 h 607356"/>
              <a:gd name="connsiteX7" fmla="*/ 382916 w 608415"/>
              <a:gd name="connsiteY7" fmla="*/ 535027 h 607356"/>
              <a:gd name="connsiteX8" fmla="*/ 392203 w 608415"/>
              <a:gd name="connsiteY8" fmla="*/ 544294 h 607356"/>
              <a:gd name="connsiteX9" fmla="*/ 392203 w 608415"/>
              <a:gd name="connsiteY9" fmla="*/ 598315 h 607356"/>
              <a:gd name="connsiteX10" fmla="*/ 382916 w 608415"/>
              <a:gd name="connsiteY10" fmla="*/ 607356 h 607356"/>
              <a:gd name="connsiteX11" fmla="*/ 373856 w 608415"/>
              <a:gd name="connsiteY11" fmla="*/ 598315 h 607356"/>
              <a:gd name="connsiteX12" fmla="*/ 373856 w 608415"/>
              <a:gd name="connsiteY12" fmla="*/ 544294 h 607356"/>
              <a:gd name="connsiteX13" fmla="*/ 382916 w 608415"/>
              <a:gd name="connsiteY13" fmla="*/ 535027 h 607356"/>
              <a:gd name="connsiteX14" fmla="*/ 332646 w 608415"/>
              <a:gd name="connsiteY14" fmla="*/ 535027 h 607356"/>
              <a:gd name="connsiteX15" fmla="*/ 341678 w 608415"/>
              <a:gd name="connsiteY15" fmla="*/ 544294 h 607356"/>
              <a:gd name="connsiteX16" fmla="*/ 341678 w 608415"/>
              <a:gd name="connsiteY16" fmla="*/ 598315 h 607356"/>
              <a:gd name="connsiteX17" fmla="*/ 332646 w 608415"/>
              <a:gd name="connsiteY17" fmla="*/ 607356 h 607356"/>
              <a:gd name="connsiteX18" fmla="*/ 323613 w 608415"/>
              <a:gd name="connsiteY18" fmla="*/ 598315 h 607356"/>
              <a:gd name="connsiteX19" fmla="*/ 323613 w 608415"/>
              <a:gd name="connsiteY19" fmla="*/ 544294 h 607356"/>
              <a:gd name="connsiteX20" fmla="*/ 332646 w 608415"/>
              <a:gd name="connsiteY20" fmla="*/ 535027 h 607356"/>
              <a:gd name="connsiteX21" fmla="*/ 283284 w 608415"/>
              <a:gd name="connsiteY21" fmla="*/ 535027 h 607356"/>
              <a:gd name="connsiteX22" fmla="*/ 292352 w 608415"/>
              <a:gd name="connsiteY22" fmla="*/ 544294 h 607356"/>
              <a:gd name="connsiteX23" fmla="*/ 292352 w 608415"/>
              <a:gd name="connsiteY23" fmla="*/ 598315 h 607356"/>
              <a:gd name="connsiteX24" fmla="*/ 283284 w 608415"/>
              <a:gd name="connsiteY24" fmla="*/ 607356 h 607356"/>
              <a:gd name="connsiteX25" fmla="*/ 274217 w 608415"/>
              <a:gd name="connsiteY25" fmla="*/ 598315 h 607356"/>
              <a:gd name="connsiteX26" fmla="*/ 274217 w 608415"/>
              <a:gd name="connsiteY26" fmla="*/ 544294 h 607356"/>
              <a:gd name="connsiteX27" fmla="*/ 283284 w 608415"/>
              <a:gd name="connsiteY27" fmla="*/ 535027 h 607356"/>
              <a:gd name="connsiteX28" fmla="*/ 237524 w 608415"/>
              <a:gd name="connsiteY28" fmla="*/ 535027 h 607356"/>
              <a:gd name="connsiteX29" fmla="*/ 246556 w 608415"/>
              <a:gd name="connsiteY29" fmla="*/ 544294 h 607356"/>
              <a:gd name="connsiteX30" fmla="*/ 246556 w 608415"/>
              <a:gd name="connsiteY30" fmla="*/ 598315 h 607356"/>
              <a:gd name="connsiteX31" fmla="*/ 237524 w 608415"/>
              <a:gd name="connsiteY31" fmla="*/ 607356 h 607356"/>
              <a:gd name="connsiteX32" fmla="*/ 228491 w 608415"/>
              <a:gd name="connsiteY32" fmla="*/ 598315 h 607356"/>
              <a:gd name="connsiteX33" fmla="*/ 228491 w 608415"/>
              <a:gd name="connsiteY33" fmla="*/ 544294 h 607356"/>
              <a:gd name="connsiteX34" fmla="*/ 237524 w 608415"/>
              <a:gd name="connsiteY34" fmla="*/ 535027 h 607356"/>
              <a:gd name="connsiteX35" fmla="*/ 188162 w 608415"/>
              <a:gd name="connsiteY35" fmla="*/ 535027 h 607356"/>
              <a:gd name="connsiteX36" fmla="*/ 197230 w 608415"/>
              <a:gd name="connsiteY36" fmla="*/ 544294 h 607356"/>
              <a:gd name="connsiteX37" fmla="*/ 197230 w 608415"/>
              <a:gd name="connsiteY37" fmla="*/ 598315 h 607356"/>
              <a:gd name="connsiteX38" fmla="*/ 188162 w 608415"/>
              <a:gd name="connsiteY38" fmla="*/ 607356 h 607356"/>
              <a:gd name="connsiteX39" fmla="*/ 179095 w 608415"/>
              <a:gd name="connsiteY39" fmla="*/ 598315 h 607356"/>
              <a:gd name="connsiteX40" fmla="*/ 179095 w 608415"/>
              <a:gd name="connsiteY40" fmla="*/ 544294 h 607356"/>
              <a:gd name="connsiteX41" fmla="*/ 188162 w 608415"/>
              <a:gd name="connsiteY41" fmla="*/ 535027 h 607356"/>
              <a:gd name="connsiteX42" fmla="*/ 545003 w 608415"/>
              <a:gd name="connsiteY42" fmla="*/ 409561 h 607356"/>
              <a:gd name="connsiteX43" fmla="*/ 599356 w 608415"/>
              <a:gd name="connsiteY43" fmla="*/ 409561 h 607356"/>
              <a:gd name="connsiteX44" fmla="*/ 608415 w 608415"/>
              <a:gd name="connsiteY44" fmla="*/ 418812 h 607356"/>
              <a:gd name="connsiteX45" fmla="*/ 599356 w 608415"/>
              <a:gd name="connsiteY45" fmla="*/ 427837 h 607356"/>
              <a:gd name="connsiteX46" fmla="*/ 545003 w 608415"/>
              <a:gd name="connsiteY46" fmla="*/ 427837 h 607356"/>
              <a:gd name="connsiteX47" fmla="*/ 535944 w 608415"/>
              <a:gd name="connsiteY47" fmla="*/ 418812 h 607356"/>
              <a:gd name="connsiteX48" fmla="*/ 545003 w 608415"/>
              <a:gd name="connsiteY48" fmla="*/ 409561 h 607356"/>
              <a:gd name="connsiteX49" fmla="*/ 9059 w 608415"/>
              <a:gd name="connsiteY49" fmla="*/ 409561 h 607356"/>
              <a:gd name="connsiteX50" fmla="*/ 63412 w 608415"/>
              <a:gd name="connsiteY50" fmla="*/ 409561 h 607356"/>
              <a:gd name="connsiteX51" fmla="*/ 72471 w 608415"/>
              <a:gd name="connsiteY51" fmla="*/ 418812 h 607356"/>
              <a:gd name="connsiteX52" fmla="*/ 63412 w 608415"/>
              <a:gd name="connsiteY52" fmla="*/ 427837 h 607356"/>
              <a:gd name="connsiteX53" fmla="*/ 9059 w 608415"/>
              <a:gd name="connsiteY53" fmla="*/ 427837 h 607356"/>
              <a:gd name="connsiteX54" fmla="*/ 0 w 608415"/>
              <a:gd name="connsiteY54" fmla="*/ 418812 h 607356"/>
              <a:gd name="connsiteX55" fmla="*/ 9059 w 608415"/>
              <a:gd name="connsiteY55" fmla="*/ 409561 h 607356"/>
              <a:gd name="connsiteX56" fmla="*/ 545003 w 608415"/>
              <a:gd name="connsiteY56" fmla="*/ 360307 h 607356"/>
              <a:gd name="connsiteX57" fmla="*/ 599356 w 608415"/>
              <a:gd name="connsiteY57" fmla="*/ 360307 h 607356"/>
              <a:gd name="connsiteX58" fmla="*/ 608415 w 608415"/>
              <a:gd name="connsiteY58" fmla="*/ 369340 h 607356"/>
              <a:gd name="connsiteX59" fmla="*/ 599356 w 608415"/>
              <a:gd name="connsiteY59" fmla="*/ 378372 h 607356"/>
              <a:gd name="connsiteX60" fmla="*/ 545003 w 608415"/>
              <a:gd name="connsiteY60" fmla="*/ 378372 h 607356"/>
              <a:gd name="connsiteX61" fmla="*/ 535944 w 608415"/>
              <a:gd name="connsiteY61" fmla="*/ 369340 h 607356"/>
              <a:gd name="connsiteX62" fmla="*/ 545003 w 608415"/>
              <a:gd name="connsiteY62" fmla="*/ 360307 h 607356"/>
              <a:gd name="connsiteX63" fmla="*/ 9059 w 608415"/>
              <a:gd name="connsiteY63" fmla="*/ 360307 h 607356"/>
              <a:gd name="connsiteX64" fmla="*/ 63412 w 608415"/>
              <a:gd name="connsiteY64" fmla="*/ 360307 h 607356"/>
              <a:gd name="connsiteX65" fmla="*/ 72471 w 608415"/>
              <a:gd name="connsiteY65" fmla="*/ 369340 h 607356"/>
              <a:gd name="connsiteX66" fmla="*/ 63412 w 608415"/>
              <a:gd name="connsiteY66" fmla="*/ 378372 h 607356"/>
              <a:gd name="connsiteX67" fmla="*/ 9059 w 608415"/>
              <a:gd name="connsiteY67" fmla="*/ 378372 h 607356"/>
              <a:gd name="connsiteX68" fmla="*/ 0 w 608415"/>
              <a:gd name="connsiteY68" fmla="*/ 369340 h 607356"/>
              <a:gd name="connsiteX69" fmla="*/ 9059 w 608415"/>
              <a:gd name="connsiteY69" fmla="*/ 360307 h 607356"/>
              <a:gd name="connsiteX70" fmla="*/ 545003 w 608415"/>
              <a:gd name="connsiteY70" fmla="*/ 314863 h 607356"/>
              <a:gd name="connsiteX71" fmla="*/ 599356 w 608415"/>
              <a:gd name="connsiteY71" fmla="*/ 314863 h 607356"/>
              <a:gd name="connsiteX72" fmla="*/ 608415 w 608415"/>
              <a:gd name="connsiteY72" fmla="*/ 323896 h 607356"/>
              <a:gd name="connsiteX73" fmla="*/ 599356 w 608415"/>
              <a:gd name="connsiteY73" fmla="*/ 332928 h 607356"/>
              <a:gd name="connsiteX74" fmla="*/ 545003 w 608415"/>
              <a:gd name="connsiteY74" fmla="*/ 332928 h 607356"/>
              <a:gd name="connsiteX75" fmla="*/ 535944 w 608415"/>
              <a:gd name="connsiteY75" fmla="*/ 323896 h 607356"/>
              <a:gd name="connsiteX76" fmla="*/ 545003 w 608415"/>
              <a:gd name="connsiteY76" fmla="*/ 314863 h 607356"/>
              <a:gd name="connsiteX77" fmla="*/ 9059 w 608415"/>
              <a:gd name="connsiteY77" fmla="*/ 314863 h 607356"/>
              <a:gd name="connsiteX78" fmla="*/ 63412 w 608415"/>
              <a:gd name="connsiteY78" fmla="*/ 314863 h 607356"/>
              <a:gd name="connsiteX79" fmla="*/ 72471 w 608415"/>
              <a:gd name="connsiteY79" fmla="*/ 323896 h 607356"/>
              <a:gd name="connsiteX80" fmla="*/ 63412 w 608415"/>
              <a:gd name="connsiteY80" fmla="*/ 332928 h 607356"/>
              <a:gd name="connsiteX81" fmla="*/ 9059 w 608415"/>
              <a:gd name="connsiteY81" fmla="*/ 332928 h 607356"/>
              <a:gd name="connsiteX82" fmla="*/ 0 w 608415"/>
              <a:gd name="connsiteY82" fmla="*/ 323896 h 607356"/>
              <a:gd name="connsiteX83" fmla="*/ 9059 w 608415"/>
              <a:gd name="connsiteY83" fmla="*/ 314863 h 607356"/>
              <a:gd name="connsiteX84" fmla="*/ 545003 w 608415"/>
              <a:gd name="connsiteY84" fmla="*/ 265326 h 607356"/>
              <a:gd name="connsiteX85" fmla="*/ 599356 w 608415"/>
              <a:gd name="connsiteY85" fmla="*/ 265326 h 607356"/>
              <a:gd name="connsiteX86" fmla="*/ 608415 w 608415"/>
              <a:gd name="connsiteY86" fmla="*/ 274613 h 607356"/>
              <a:gd name="connsiteX87" fmla="*/ 599356 w 608415"/>
              <a:gd name="connsiteY87" fmla="*/ 283673 h 607356"/>
              <a:gd name="connsiteX88" fmla="*/ 545003 w 608415"/>
              <a:gd name="connsiteY88" fmla="*/ 283673 h 607356"/>
              <a:gd name="connsiteX89" fmla="*/ 535944 w 608415"/>
              <a:gd name="connsiteY89" fmla="*/ 274613 h 607356"/>
              <a:gd name="connsiteX90" fmla="*/ 545003 w 608415"/>
              <a:gd name="connsiteY90" fmla="*/ 265326 h 607356"/>
              <a:gd name="connsiteX91" fmla="*/ 9059 w 608415"/>
              <a:gd name="connsiteY91" fmla="*/ 265326 h 607356"/>
              <a:gd name="connsiteX92" fmla="*/ 63412 w 608415"/>
              <a:gd name="connsiteY92" fmla="*/ 265326 h 607356"/>
              <a:gd name="connsiteX93" fmla="*/ 72471 w 608415"/>
              <a:gd name="connsiteY93" fmla="*/ 274613 h 607356"/>
              <a:gd name="connsiteX94" fmla="*/ 63412 w 608415"/>
              <a:gd name="connsiteY94" fmla="*/ 283673 h 607356"/>
              <a:gd name="connsiteX95" fmla="*/ 9059 w 608415"/>
              <a:gd name="connsiteY95" fmla="*/ 283673 h 607356"/>
              <a:gd name="connsiteX96" fmla="*/ 0 w 608415"/>
              <a:gd name="connsiteY96" fmla="*/ 274613 h 607356"/>
              <a:gd name="connsiteX97" fmla="*/ 9059 w 608415"/>
              <a:gd name="connsiteY97" fmla="*/ 265326 h 607356"/>
              <a:gd name="connsiteX98" fmla="*/ 237111 w 608415"/>
              <a:gd name="connsiteY98" fmla="*/ 218363 h 607356"/>
              <a:gd name="connsiteX99" fmla="*/ 237111 w 608415"/>
              <a:gd name="connsiteY99" fmla="*/ 368446 h 607356"/>
              <a:gd name="connsiteX100" fmla="*/ 385644 w 608415"/>
              <a:gd name="connsiteY100" fmla="*/ 368446 h 607356"/>
              <a:gd name="connsiteX101" fmla="*/ 385644 w 608415"/>
              <a:gd name="connsiteY101" fmla="*/ 218363 h 607356"/>
              <a:gd name="connsiteX102" fmla="*/ 545003 w 608415"/>
              <a:gd name="connsiteY102" fmla="*/ 215154 h 607356"/>
              <a:gd name="connsiteX103" fmla="*/ 599356 w 608415"/>
              <a:gd name="connsiteY103" fmla="*/ 215154 h 607356"/>
              <a:gd name="connsiteX104" fmla="*/ 608415 w 608415"/>
              <a:gd name="connsiteY104" fmla="*/ 224222 h 607356"/>
              <a:gd name="connsiteX105" fmla="*/ 599356 w 608415"/>
              <a:gd name="connsiteY105" fmla="*/ 233289 h 607356"/>
              <a:gd name="connsiteX106" fmla="*/ 545003 w 608415"/>
              <a:gd name="connsiteY106" fmla="*/ 233289 h 607356"/>
              <a:gd name="connsiteX107" fmla="*/ 535944 w 608415"/>
              <a:gd name="connsiteY107" fmla="*/ 224222 h 607356"/>
              <a:gd name="connsiteX108" fmla="*/ 545003 w 608415"/>
              <a:gd name="connsiteY108" fmla="*/ 215154 h 607356"/>
              <a:gd name="connsiteX109" fmla="*/ 9059 w 608415"/>
              <a:gd name="connsiteY109" fmla="*/ 215154 h 607356"/>
              <a:gd name="connsiteX110" fmla="*/ 63412 w 608415"/>
              <a:gd name="connsiteY110" fmla="*/ 215154 h 607356"/>
              <a:gd name="connsiteX111" fmla="*/ 72471 w 608415"/>
              <a:gd name="connsiteY111" fmla="*/ 224222 h 607356"/>
              <a:gd name="connsiteX112" fmla="*/ 63412 w 608415"/>
              <a:gd name="connsiteY112" fmla="*/ 233289 h 607356"/>
              <a:gd name="connsiteX113" fmla="*/ 9059 w 608415"/>
              <a:gd name="connsiteY113" fmla="*/ 233289 h 607356"/>
              <a:gd name="connsiteX114" fmla="*/ 0 w 608415"/>
              <a:gd name="connsiteY114" fmla="*/ 224222 h 607356"/>
              <a:gd name="connsiteX115" fmla="*/ 9059 w 608415"/>
              <a:gd name="connsiteY115" fmla="*/ 215154 h 607356"/>
              <a:gd name="connsiteX116" fmla="*/ 217412 w 608415"/>
              <a:gd name="connsiteY116" fmla="*/ 198924 h 607356"/>
              <a:gd name="connsiteX117" fmla="*/ 405116 w 608415"/>
              <a:gd name="connsiteY117" fmla="*/ 198924 h 607356"/>
              <a:gd name="connsiteX118" fmla="*/ 405116 w 608415"/>
              <a:gd name="connsiteY118" fmla="*/ 388110 h 607356"/>
              <a:gd name="connsiteX119" fmla="*/ 217412 w 608415"/>
              <a:gd name="connsiteY119" fmla="*/ 388110 h 607356"/>
              <a:gd name="connsiteX120" fmla="*/ 545003 w 608415"/>
              <a:gd name="connsiteY120" fmla="*/ 165899 h 607356"/>
              <a:gd name="connsiteX121" fmla="*/ 599356 w 608415"/>
              <a:gd name="connsiteY121" fmla="*/ 165899 h 607356"/>
              <a:gd name="connsiteX122" fmla="*/ 608415 w 608415"/>
              <a:gd name="connsiteY122" fmla="*/ 174931 h 607356"/>
              <a:gd name="connsiteX123" fmla="*/ 599356 w 608415"/>
              <a:gd name="connsiteY123" fmla="*/ 183964 h 607356"/>
              <a:gd name="connsiteX124" fmla="*/ 545003 w 608415"/>
              <a:gd name="connsiteY124" fmla="*/ 183964 h 607356"/>
              <a:gd name="connsiteX125" fmla="*/ 535944 w 608415"/>
              <a:gd name="connsiteY125" fmla="*/ 174931 h 607356"/>
              <a:gd name="connsiteX126" fmla="*/ 545003 w 608415"/>
              <a:gd name="connsiteY126" fmla="*/ 165899 h 607356"/>
              <a:gd name="connsiteX127" fmla="*/ 9059 w 608415"/>
              <a:gd name="connsiteY127" fmla="*/ 165899 h 607356"/>
              <a:gd name="connsiteX128" fmla="*/ 63412 w 608415"/>
              <a:gd name="connsiteY128" fmla="*/ 165899 h 607356"/>
              <a:gd name="connsiteX129" fmla="*/ 72471 w 608415"/>
              <a:gd name="connsiteY129" fmla="*/ 174931 h 607356"/>
              <a:gd name="connsiteX130" fmla="*/ 63412 w 608415"/>
              <a:gd name="connsiteY130" fmla="*/ 183964 h 607356"/>
              <a:gd name="connsiteX131" fmla="*/ 9059 w 608415"/>
              <a:gd name="connsiteY131" fmla="*/ 183964 h 607356"/>
              <a:gd name="connsiteX132" fmla="*/ 0 w 608415"/>
              <a:gd name="connsiteY132" fmla="*/ 174931 h 607356"/>
              <a:gd name="connsiteX133" fmla="*/ 9059 w 608415"/>
              <a:gd name="connsiteY133" fmla="*/ 165899 h 607356"/>
              <a:gd name="connsiteX134" fmla="*/ 191339 w 608415"/>
              <a:gd name="connsiteY134" fmla="*/ 149599 h 607356"/>
              <a:gd name="connsiteX135" fmla="*/ 209228 w 608415"/>
              <a:gd name="connsiteY135" fmla="*/ 167488 h 607356"/>
              <a:gd name="connsiteX136" fmla="*/ 191339 w 608415"/>
              <a:gd name="connsiteY136" fmla="*/ 185377 h 607356"/>
              <a:gd name="connsiteX137" fmla="*/ 173450 w 608415"/>
              <a:gd name="connsiteY137" fmla="*/ 167488 h 607356"/>
              <a:gd name="connsiteX138" fmla="*/ 191339 w 608415"/>
              <a:gd name="connsiteY138" fmla="*/ 149599 h 607356"/>
              <a:gd name="connsiteX139" fmla="*/ 162833 w 608415"/>
              <a:gd name="connsiteY139" fmla="*/ 114120 h 607356"/>
              <a:gd name="connsiteX140" fmla="*/ 125021 w 608415"/>
              <a:gd name="connsiteY140" fmla="*/ 152092 h 607356"/>
              <a:gd name="connsiteX141" fmla="*/ 125021 w 608415"/>
              <a:gd name="connsiteY141" fmla="*/ 446146 h 607356"/>
              <a:gd name="connsiteX142" fmla="*/ 162833 w 608415"/>
              <a:gd name="connsiteY142" fmla="*/ 484118 h 607356"/>
              <a:gd name="connsiteX143" fmla="*/ 457634 w 608415"/>
              <a:gd name="connsiteY143" fmla="*/ 484118 h 607356"/>
              <a:gd name="connsiteX144" fmla="*/ 495673 w 608415"/>
              <a:gd name="connsiteY144" fmla="*/ 446372 h 607356"/>
              <a:gd name="connsiteX145" fmla="*/ 495673 w 608415"/>
              <a:gd name="connsiteY145" fmla="*/ 152092 h 607356"/>
              <a:gd name="connsiteX146" fmla="*/ 457634 w 608415"/>
              <a:gd name="connsiteY146" fmla="*/ 114120 h 607356"/>
              <a:gd name="connsiteX147" fmla="*/ 162833 w 608415"/>
              <a:gd name="connsiteY147" fmla="*/ 96039 h 607356"/>
              <a:gd name="connsiteX148" fmla="*/ 457634 w 608415"/>
              <a:gd name="connsiteY148" fmla="*/ 96039 h 607356"/>
              <a:gd name="connsiteX149" fmla="*/ 513787 w 608415"/>
              <a:gd name="connsiteY149" fmla="*/ 152092 h 607356"/>
              <a:gd name="connsiteX150" fmla="*/ 513787 w 608415"/>
              <a:gd name="connsiteY150" fmla="*/ 446372 h 607356"/>
              <a:gd name="connsiteX151" fmla="*/ 457634 w 608415"/>
              <a:gd name="connsiteY151" fmla="*/ 502425 h 607356"/>
              <a:gd name="connsiteX152" fmla="*/ 162833 w 608415"/>
              <a:gd name="connsiteY152" fmla="*/ 502425 h 607356"/>
              <a:gd name="connsiteX153" fmla="*/ 106907 w 608415"/>
              <a:gd name="connsiteY153" fmla="*/ 446372 h 607356"/>
              <a:gd name="connsiteX154" fmla="*/ 106907 w 608415"/>
              <a:gd name="connsiteY154" fmla="*/ 152092 h 607356"/>
              <a:gd name="connsiteX155" fmla="*/ 162833 w 608415"/>
              <a:gd name="connsiteY155" fmla="*/ 96039 h 607356"/>
              <a:gd name="connsiteX156" fmla="*/ 432496 w 608415"/>
              <a:gd name="connsiteY156" fmla="*/ 0 h 607356"/>
              <a:gd name="connsiteX157" fmla="*/ 441528 w 608415"/>
              <a:gd name="connsiteY157" fmla="*/ 9041 h 607356"/>
              <a:gd name="connsiteX158" fmla="*/ 441528 w 608415"/>
              <a:gd name="connsiteY158" fmla="*/ 63288 h 607356"/>
              <a:gd name="connsiteX159" fmla="*/ 432496 w 608415"/>
              <a:gd name="connsiteY159" fmla="*/ 72329 h 607356"/>
              <a:gd name="connsiteX160" fmla="*/ 423463 w 608415"/>
              <a:gd name="connsiteY160" fmla="*/ 63288 h 607356"/>
              <a:gd name="connsiteX161" fmla="*/ 423463 w 608415"/>
              <a:gd name="connsiteY161" fmla="*/ 9041 h 607356"/>
              <a:gd name="connsiteX162" fmla="*/ 432496 w 608415"/>
              <a:gd name="connsiteY162" fmla="*/ 0 h 607356"/>
              <a:gd name="connsiteX163" fmla="*/ 382916 w 608415"/>
              <a:gd name="connsiteY163" fmla="*/ 0 h 607356"/>
              <a:gd name="connsiteX164" fmla="*/ 392203 w 608415"/>
              <a:gd name="connsiteY164" fmla="*/ 9041 h 607356"/>
              <a:gd name="connsiteX165" fmla="*/ 392203 w 608415"/>
              <a:gd name="connsiteY165" fmla="*/ 63288 h 607356"/>
              <a:gd name="connsiteX166" fmla="*/ 382916 w 608415"/>
              <a:gd name="connsiteY166" fmla="*/ 72329 h 607356"/>
              <a:gd name="connsiteX167" fmla="*/ 373856 w 608415"/>
              <a:gd name="connsiteY167" fmla="*/ 63288 h 607356"/>
              <a:gd name="connsiteX168" fmla="*/ 373856 w 608415"/>
              <a:gd name="connsiteY168" fmla="*/ 9041 h 607356"/>
              <a:gd name="connsiteX169" fmla="*/ 382916 w 608415"/>
              <a:gd name="connsiteY169" fmla="*/ 0 h 607356"/>
              <a:gd name="connsiteX170" fmla="*/ 332646 w 608415"/>
              <a:gd name="connsiteY170" fmla="*/ 0 h 607356"/>
              <a:gd name="connsiteX171" fmla="*/ 341678 w 608415"/>
              <a:gd name="connsiteY171" fmla="*/ 9041 h 607356"/>
              <a:gd name="connsiteX172" fmla="*/ 341678 w 608415"/>
              <a:gd name="connsiteY172" fmla="*/ 63288 h 607356"/>
              <a:gd name="connsiteX173" fmla="*/ 332646 w 608415"/>
              <a:gd name="connsiteY173" fmla="*/ 72329 h 607356"/>
              <a:gd name="connsiteX174" fmla="*/ 323613 w 608415"/>
              <a:gd name="connsiteY174" fmla="*/ 63288 h 607356"/>
              <a:gd name="connsiteX175" fmla="*/ 323613 w 608415"/>
              <a:gd name="connsiteY175" fmla="*/ 9041 h 607356"/>
              <a:gd name="connsiteX176" fmla="*/ 332646 w 608415"/>
              <a:gd name="connsiteY176" fmla="*/ 0 h 607356"/>
              <a:gd name="connsiteX177" fmla="*/ 283284 w 608415"/>
              <a:gd name="connsiteY177" fmla="*/ 0 h 607356"/>
              <a:gd name="connsiteX178" fmla="*/ 292352 w 608415"/>
              <a:gd name="connsiteY178" fmla="*/ 9041 h 607356"/>
              <a:gd name="connsiteX179" fmla="*/ 292352 w 608415"/>
              <a:gd name="connsiteY179" fmla="*/ 63288 h 607356"/>
              <a:gd name="connsiteX180" fmla="*/ 283284 w 608415"/>
              <a:gd name="connsiteY180" fmla="*/ 72329 h 607356"/>
              <a:gd name="connsiteX181" fmla="*/ 274217 w 608415"/>
              <a:gd name="connsiteY181" fmla="*/ 63288 h 607356"/>
              <a:gd name="connsiteX182" fmla="*/ 274217 w 608415"/>
              <a:gd name="connsiteY182" fmla="*/ 9041 h 607356"/>
              <a:gd name="connsiteX183" fmla="*/ 283284 w 608415"/>
              <a:gd name="connsiteY183" fmla="*/ 0 h 607356"/>
              <a:gd name="connsiteX184" fmla="*/ 237524 w 608415"/>
              <a:gd name="connsiteY184" fmla="*/ 0 h 607356"/>
              <a:gd name="connsiteX185" fmla="*/ 246556 w 608415"/>
              <a:gd name="connsiteY185" fmla="*/ 9041 h 607356"/>
              <a:gd name="connsiteX186" fmla="*/ 246556 w 608415"/>
              <a:gd name="connsiteY186" fmla="*/ 63288 h 607356"/>
              <a:gd name="connsiteX187" fmla="*/ 237524 w 608415"/>
              <a:gd name="connsiteY187" fmla="*/ 72329 h 607356"/>
              <a:gd name="connsiteX188" fmla="*/ 228491 w 608415"/>
              <a:gd name="connsiteY188" fmla="*/ 63288 h 607356"/>
              <a:gd name="connsiteX189" fmla="*/ 228491 w 608415"/>
              <a:gd name="connsiteY189" fmla="*/ 9041 h 607356"/>
              <a:gd name="connsiteX190" fmla="*/ 237524 w 608415"/>
              <a:gd name="connsiteY190" fmla="*/ 0 h 607356"/>
              <a:gd name="connsiteX191" fmla="*/ 188162 w 608415"/>
              <a:gd name="connsiteY191" fmla="*/ 0 h 607356"/>
              <a:gd name="connsiteX192" fmla="*/ 197230 w 608415"/>
              <a:gd name="connsiteY192" fmla="*/ 9041 h 607356"/>
              <a:gd name="connsiteX193" fmla="*/ 197230 w 608415"/>
              <a:gd name="connsiteY193" fmla="*/ 63288 h 607356"/>
              <a:gd name="connsiteX194" fmla="*/ 188162 w 608415"/>
              <a:gd name="connsiteY194" fmla="*/ 72329 h 607356"/>
              <a:gd name="connsiteX195" fmla="*/ 179095 w 608415"/>
              <a:gd name="connsiteY195" fmla="*/ 63288 h 607356"/>
              <a:gd name="connsiteX196" fmla="*/ 179095 w 608415"/>
              <a:gd name="connsiteY196" fmla="*/ 9041 h 607356"/>
              <a:gd name="connsiteX197" fmla="*/ 188162 w 608415"/>
              <a:gd name="connsiteY197" fmla="*/ 0 h 607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608415" h="607356">
                <a:moveTo>
                  <a:pt x="432496" y="535027"/>
                </a:moveTo>
                <a:cubicBezTo>
                  <a:pt x="437463" y="535027"/>
                  <a:pt x="441528" y="539096"/>
                  <a:pt x="441528" y="544294"/>
                </a:cubicBezTo>
                <a:lnTo>
                  <a:pt x="441528" y="598315"/>
                </a:lnTo>
                <a:cubicBezTo>
                  <a:pt x="441528" y="603288"/>
                  <a:pt x="437463" y="607356"/>
                  <a:pt x="432496" y="607356"/>
                </a:cubicBezTo>
                <a:cubicBezTo>
                  <a:pt x="427528" y="607356"/>
                  <a:pt x="423463" y="603288"/>
                  <a:pt x="423463" y="598315"/>
                </a:cubicBezTo>
                <a:lnTo>
                  <a:pt x="423463" y="544294"/>
                </a:lnTo>
                <a:cubicBezTo>
                  <a:pt x="423463" y="539096"/>
                  <a:pt x="427528" y="535027"/>
                  <a:pt x="432496" y="535027"/>
                </a:cubicBezTo>
                <a:close/>
                <a:moveTo>
                  <a:pt x="382916" y="535027"/>
                </a:moveTo>
                <a:cubicBezTo>
                  <a:pt x="388126" y="535027"/>
                  <a:pt x="392203" y="539096"/>
                  <a:pt x="392203" y="544294"/>
                </a:cubicBezTo>
                <a:lnTo>
                  <a:pt x="392203" y="598315"/>
                </a:lnTo>
                <a:cubicBezTo>
                  <a:pt x="392203" y="603288"/>
                  <a:pt x="388126" y="607356"/>
                  <a:pt x="382916" y="607356"/>
                </a:cubicBezTo>
                <a:cubicBezTo>
                  <a:pt x="377933" y="607356"/>
                  <a:pt x="373856" y="603288"/>
                  <a:pt x="373856" y="598315"/>
                </a:cubicBezTo>
                <a:lnTo>
                  <a:pt x="373856" y="544294"/>
                </a:lnTo>
                <a:cubicBezTo>
                  <a:pt x="373856" y="539096"/>
                  <a:pt x="377933" y="535027"/>
                  <a:pt x="382916" y="535027"/>
                </a:cubicBezTo>
                <a:close/>
                <a:moveTo>
                  <a:pt x="332646" y="535027"/>
                </a:moveTo>
                <a:cubicBezTo>
                  <a:pt x="337613" y="535027"/>
                  <a:pt x="341678" y="539096"/>
                  <a:pt x="341678" y="544294"/>
                </a:cubicBezTo>
                <a:lnTo>
                  <a:pt x="341678" y="598315"/>
                </a:lnTo>
                <a:cubicBezTo>
                  <a:pt x="341678" y="603288"/>
                  <a:pt x="337613" y="607356"/>
                  <a:pt x="332646" y="607356"/>
                </a:cubicBezTo>
                <a:cubicBezTo>
                  <a:pt x="327678" y="607356"/>
                  <a:pt x="323613" y="603288"/>
                  <a:pt x="323613" y="598315"/>
                </a:cubicBezTo>
                <a:lnTo>
                  <a:pt x="323613" y="544294"/>
                </a:lnTo>
                <a:cubicBezTo>
                  <a:pt x="323613" y="539096"/>
                  <a:pt x="327678" y="535027"/>
                  <a:pt x="332646" y="535027"/>
                </a:cubicBezTo>
                <a:close/>
                <a:moveTo>
                  <a:pt x="283284" y="535027"/>
                </a:moveTo>
                <a:cubicBezTo>
                  <a:pt x="288272" y="535027"/>
                  <a:pt x="292352" y="539096"/>
                  <a:pt x="292352" y="544294"/>
                </a:cubicBezTo>
                <a:lnTo>
                  <a:pt x="292352" y="598315"/>
                </a:lnTo>
                <a:cubicBezTo>
                  <a:pt x="292352" y="603288"/>
                  <a:pt x="288272" y="607356"/>
                  <a:pt x="283284" y="607356"/>
                </a:cubicBezTo>
                <a:cubicBezTo>
                  <a:pt x="278297" y="607356"/>
                  <a:pt x="274217" y="603288"/>
                  <a:pt x="274217" y="598315"/>
                </a:cubicBezTo>
                <a:lnTo>
                  <a:pt x="274217" y="544294"/>
                </a:lnTo>
                <a:cubicBezTo>
                  <a:pt x="274217" y="539096"/>
                  <a:pt x="278071" y="535027"/>
                  <a:pt x="283284" y="535027"/>
                </a:cubicBezTo>
                <a:close/>
                <a:moveTo>
                  <a:pt x="237524" y="535027"/>
                </a:moveTo>
                <a:cubicBezTo>
                  <a:pt x="242491" y="535027"/>
                  <a:pt x="246556" y="539096"/>
                  <a:pt x="246556" y="544294"/>
                </a:cubicBezTo>
                <a:lnTo>
                  <a:pt x="246556" y="598315"/>
                </a:lnTo>
                <a:cubicBezTo>
                  <a:pt x="246556" y="603288"/>
                  <a:pt x="242491" y="607356"/>
                  <a:pt x="237524" y="607356"/>
                </a:cubicBezTo>
                <a:cubicBezTo>
                  <a:pt x="232556" y="607356"/>
                  <a:pt x="228491" y="603288"/>
                  <a:pt x="228491" y="598315"/>
                </a:cubicBezTo>
                <a:lnTo>
                  <a:pt x="228491" y="544294"/>
                </a:lnTo>
                <a:cubicBezTo>
                  <a:pt x="228491" y="539096"/>
                  <a:pt x="232556" y="535027"/>
                  <a:pt x="237524" y="535027"/>
                </a:cubicBezTo>
                <a:close/>
                <a:moveTo>
                  <a:pt x="188162" y="535027"/>
                </a:moveTo>
                <a:cubicBezTo>
                  <a:pt x="193150" y="535027"/>
                  <a:pt x="197230" y="539096"/>
                  <a:pt x="197230" y="544294"/>
                </a:cubicBezTo>
                <a:lnTo>
                  <a:pt x="197230" y="598315"/>
                </a:lnTo>
                <a:cubicBezTo>
                  <a:pt x="197230" y="603288"/>
                  <a:pt x="193150" y="607356"/>
                  <a:pt x="188162" y="607356"/>
                </a:cubicBezTo>
                <a:cubicBezTo>
                  <a:pt x="183175" y="607356"/>
                  <a:pt x="179095" y="603288"/>
                  <a:pt x="179095" y="598315"/>
                </a:cubicBezTo>
                <a:lnTo>
                  <a:pt x="179095" y="544294"/>
                </a:lnTo>
                <a:cubicBezTo>
                  <a:pt x="179095" y="539096"/>
                  <a:pt x="183175" y="535027"/>
                  <a:pt x="188162" y="535027"/>
                </a:cubicBezTo>
                <a:close/>
                <a:moveTo>
                  <a:pt x="545003" y="409561"/>
                </a:moveTo>
                <a:lnTo>
                  <a:pt x="599356" y="409561"/>
                </a:lnTo>
                <a:cubicBezTo>
                  <a:pt x="604339" y="409561"/>
                  <a:pt x="608415" y="413848"/>
                  <a:pt x="608415" y="418812"/>
                </a:cubicBezTo>
                <a:cubicBezTo>
                  <a:pt x="608415" y="423776"/>
                  <a:pt x="604339" y="427837"/>
                  <a:pt x="599356" y="427837"/>
                </a:cubicBezTo>
                <a:lnTo>
                  <a:pt x="545003" y="427837"/>
                </a:lnTo>
                <a:cubicBezTo>
                  <a:pt x="540020" y="427837"/>
                  <a:pt x="535944" y="423776"/>
                  <a:pt x="535944" y="418812"/>
                </a:cubicBezTo>
                <a:cubicBezTo>
                  <a:pt x="535944" y="413848"/>
                  <a:pt x="540020" y="409561"/>
                  <a:pt x="545003" y="409561"/>
                </a:cubicBezTo>
                <a:close/>
                <a:moveTo>
                  <a:pt x="9059" y="409561"/>
                </a:moveTo>
                <a:lnTo>
                  <a:pt x="63412" y="409561"/>
                </a:lnTo>
                <a:cubicBezTo>
                  <a:pt x="68395" y="409561"/>
                  <a:pt x="72471" y="413848"/>
                  <a:pt x="72471" y="418812"/>
                </a:cubicBezTo>
                <a:cubicBezTo>
                  <a:pt x="72471" y="423776"/>
                  <a:pt x="68395" y="427837"/>
                  <a:pt x="63412" y="427837"/>
                </a:cubicBezTo>
                <a:lnTo>
                  <a:pt x="9059" y="427837"/>
                </a:lnTo>
                <a:cubicBezTo>
                  <a:pt x="4076" y="427837"/>
                  <a:pt x="0" y="423776"/>
                  <a:pt x="0" y="418812"/>
                </a:cubicBezTo>
                <a:cubicBezTo>
                  <a:pt x="0" y="413848"/>
                  <a:pt x="4076" y="409561"/>
                  <a:pt x="9059" y="409561"/>
                </a:cubicBezTo>
                <a:close/>
                <a:moveTo>
                  <a:pt x="545003" y="360307"/>
                </a:moveTo>
                <a:lnTo>
                  <a:pt x="599356" y="360307"/>
                </a:lnTo>
                <a:cubicBezTo>
                  <a:pt x="604339" y="360307"/>
                  <a:pt x="608415" y="364372"/>
                  <a:pt x="608415" y="369340"/>
                </a:cubicBezTo>
                <a:cubicBezTo>
                  <a:pt x="608415" y="374308"/>
                  <a:pt x="604339" y="378372"/>
                  <a:pt x="599356" y="378372"/>
                </a:cubicBezTo>
                <a:lnTo>
                  <a:pt x="545003" y="378372"/>
                </a:lnTo>
                <a:cubicBezTo>
                  <a:pt x="540020" y="378372"/>
                  <a:pt x="535944" y="374308"/>
                  <a:pt x="535944" y="369340"/>
                </a:cubicBezTo>
                <a:cubicBezTo>
                  <a:pt x="535944" y="364372"/>
                  <a:pt x="540020" y="360307"/>
                  <a:pt x="545003" y="360307"/>
                </a:cubicBezTo>
                <a:close/>
                <a:moveTo>
                  <a:pt x="9059" y="360307"/>
                </a:moveTo>
                <a:lnTo>
                  <a:pt x="63412" y="360307"/>
                </a:lnTo>
                <a:cubicBezTo>
                  <a:pt x="68395" y="360307"/>
                  <a:pt x="72471" y="364372"/>
                  <a:pt x="72471" y="369340"/>
                </a:cubicBezTo>
                <a:cubicBezTo>
                  <a:pt x="72471" y="374308"/>
                  <a:pt x="68395" y="378372"/>
                  <a:pt x="63412" y="378372"/>
                </a:cubicBezTo>
                <a:lnTo>
                  <a:pt x="9059" y="378372"/>
                </a:lnTo>
                <a:cubicBezTo>
                  <a:pt x="4076" y="378372"/>
                  <a:pt x="0" y="374308"/>
                  <a:pt x="0" y="369340"/>
                </a:cubicBezTo>
                <a:cubicBezTo>
                  <a:pt x="0" y="364372"/>
                  <a:pt x="4076" y="360307"/>
                  <a:pt x="9059" y="360307"/>
                </a:cubicBezTo>
                <a:close/>
                <a:moveTo>
                  <a:pt x="545003" y="314863"/>
                </a:moveTo>
                <a:lnTo>
                  <a:pt x="599356" y="314863"/>
                </a:lnTo>
                <a:cubicBezTo>
                  <a:pt x="604339" y="314863"/>
                  <a:pt x="608415" y="318928"/>
                  <a:pt x="608415" y="323896"/>
                </a:cubicBezTo>
                <a:cubicBezTo>
                  <a:pt x="608415" y="328864"/>
                  <a:pt x="604339" y="332928"/>
                  <a:pt x="599356" y="332928"/>
                </a:cubicBezTo>
                <a:lnTo>
                  <a:pt x="545003" y="332928"/>
                </a:lnTo>
                <a:cubicBezTo>
                  <a:pt x="540020" y="332928"/>
                  <a:pt x="535944" y="328864"/>
                  <a:pt x="535944" y="323896"/>
                </a:cubicBezTo>
                <a:cubicBezTo>
                  <a:pt x="535944" y="318928"/>
                  <a:pt x="540020" y="314863"/>
                  <a:pt x="545003" y="314863"/>
                </a:cubicBezTo>
                <a:close/>
                <a:moveTo>
                  <a:pt x="9059" y="314863"/>
                </a:moveTo>
                <a:lnTo>
                  <a:pt x="63412" y="314863"/>
                </a:lnTo>
                <a:cubicBezTo>
                  <a:pt x="68395" y="314863"/>
                  <a:pt x="72471" y="318928"/>
                  <a:pt x="72471" y="323896"/>
                </a:cubicBezTo>
                <a:cubicBezTo>
                  <a:pt x="72471" y="328864"/>
                  <a:pt x="68395" y="332928"/>
                  <a:pt x="63412" y="332928"/>
                </a:cubicBezTo>
                <a:lnTo>
                  <a:pt x="9059" y="332928"/>
                </a:lnTo>
                <a:cubicBezTo>
                  <a:pt x="4076" y="332928"/>
                  <a:pt x="0" y="328864"/>
                  <a:pt x="0" y="323896"/>
                </a:cubicBezTo>
                <a:cubicBezTo>
                  <a:pt x="0" y="318928"/>
                  <a:pt x="4076" y="314863"/>
                  <a:pt x="9059" y="314863"/>
                </a:cubicBezTo>
                <a:close/>
                <a:moveTo>
                  <a:pt x="545003" y="265326"/>
                </a:moveTo>
                <a:lnTo>
                  <a:pt x="599356" y="265326"/>
                </a:lnTo>
                <a:cubicBezTo>
                  <a:pt x="604339" y="265326"/>
                  <a:pt x="608415" y="269403"/>
                  <a:pt x="608415" y="274613"/>
                </a:cubicBezTo>
                <a:cubicBezTo>
                  <a:pt x="608415" y="279596"/>
                  <a:pt x="604339" y="283673"/>
                  <a:pt x="599356" y="283673"/>
                </a:cubicBezTo>
                <a:lnTo>
                  <a:pt x="545003" y="283673"/>
                </a:lnTo>
                <a:cubicBezTo>
                  <a:pt x="540020" y="283673"/>
                  <a:pt x="535944" y="279596"/>
                  <a:pt x="535944" y="274613"/>
                </a:cubicBezTo>
                <a:cubicBezTo>
                  <a:pt x="535944" y="269403"/>
                  <a:pt x="540020" y="265326"/>
                  <a:pt x="545003" y="265326"/>
                </a:cubicBezTo>
                <a:close/>
                <a:moveTo>
                  <a:pt x="9059" y="265326"/>
                </a:moveTo>
                <a:lnTo>
                  <a:pt x="63412" y="265326"/>
                </a:lnTo>
                <a:cubicBezTo>
                  <a:pt x="68395" y="265326"/>
                  <a:pt x="72471" y="269403"/>
                  <a:pt x="72471" y="274613"/>
                </a:cubicBezTo>
                <a:cubicBezTo>
                  <a:pt x="72471" y="279596"/>
                  <a:pt x="68395" y="283673"/>
                  <a:pt x="63412" y="283673"/>
                </a:cubicBezTo>
                <a:lnTo>
                  <a:pt x="9059" y="283673"/>
                </a:lnTo>
                <a:cubicBezTo>
                  <a:pt x="4076" y="283673"/>
                  <a:pt x="0" y="279596"/>
                  <a:pt x="0" y="274613"/>
                </a:cubicBezTo>
                <a:cubicBezTo>
                  <a:pt x="0" y="269403"/>
                  <a:pt x="4076" y="265326"/>
                  <a:pt x="9059" y="265326"/>
                </a:cubicBezTo>
                <a:close/>
                <a:moveTo>
                  <a:pt x="237111" y="218363"/>
                </a:moveTo>
                <a:lnTo>
                  <a:pt x="237111" y="368446"/>
                </a:lnTo>
                <a:lnTo>
                  <a:pt x="385644" y="368446"/>
                </a:lnTo>
                <a:lnTo>
                  <a:pt x="385644" y="218363"/>
                </a:lnTo>
                <a:close/>
                <a:moveTo>
                  <a:pt x="545003" y="215154"/>
                </a:moveTo>
                <a:lnTo>
                  <a:pt x="599356" y="215154"/>
                </a:lnTo>
                <a:cubicBezTo>
                  <a:pt x="604339" y="215154"/>
                  <a:pt x="608415" y="219235"/>
                  <a:pt x="608415" y="224222"/>
                </a:cubicBezTo>
                <a:cubicBezTo>
                  <a:pt x="608415" y="229209"/>
                  <a:pt x="604339" y="233289"/>
                  <a:pt x="599356" y="233289"/>
                </a:cubicBezTo>
                <a:lnTo>
                  <a:pt x="545003" y="233289"/>
                </a:lnTo>
                <a:cubicBezTo>
                  <a:pt x="540020" y="233289"/>
                  <a:pt x="535944" y="229209"/>
                  <a:pt x="535944" y="224222"/>
                </a:cubicBezTo>
                <a:cubicBezTo>
                  <a:pt x="535944" y="219235"/>
                  <a:pt x="540020" y="215154"/>
                  <a:pt x="545003" y="215154"/>
                </a:cubicBezTo>
                <a:close/>
                <a:moveTo>
                  <a:pt x="9059" y="215154"/>
                </a:moveTo>
                <a:lnTo>
                  <a:pt x="63412" y="215154"/>
                </a:lnTo>
                <a:cubicBezTo>
                  <a:pt x="68395" y="215154"/>
                  <a:pt x="72471" y="219235"/>
                  <a:pt x="72471" y="224222"/>
                </a:cubicBezTo>
                <a:cubicBezTo>
                  <a:pt x="72471" y="229209"/>
                  <a:pt x="68395" y="233289"/>
                  <a:pt x="63412" y="233289"/>
                </a:cubicBezTo>
                <a:lnTo>
                  <a:pt x="9059" y="233289"/>
                </a:lnTo>
                <a:cubicBezTo>
                  <a:pt x="4076" y="233289"/>
                  <a:pt x="0" y="229209"/>
                  <a:pt x="0" y="224222"/>
                </a:cubicBezTo>
                <a:cubicBezTo>
                  <a:pt x="0" y="219235"/>
                  <a:pt x="4076" y="215154"/>
                  <a:pt x="9059" y="215154"/>
                </a:cubicBezTo>
                <a:close/>
                <a:moveTo>
                  <a:pt x="217412" y="198924"/>
                </a:moveTo>
                <a:lnTo>
                  <a:pt x="405116" y="198924"/>
                </a:lnTo>
                <a:lnTo>
                  <a:pt x="405116" y="388110"/>
                </a:lnTo>
                <a:lnTo>
                  <a:pt x="217412" y="388110"/>
                </a:lnTo>
                <a:close/>
                <a:moveTo>
                  <a:pt x="545003" y="165899"/>
                </a:moveTo>
                <a:lnTo>
                  <a:pt x="599356" y="165899"/>
                </a:lnTo>
                <a:cubicBezTo>
                  <a:pt x="604339" y="165899"/>
                  <a:pt x="608415" y="169963"/>
                  <a:pt x="608415" y="174931"/>
                </a:cubicBezTo>
                <a:cubicBezTo>
                  <a:pt x="608415" y="179899"/>
                  <a:pt x="604339" y="183964"/>
                  <a:pt x="599356" y="183964"/>
                </a:cubicBezTo>
                <a:lnTo>
                  <a:pt x="545003" y="183964"/>
                </a:lnTo>
                <a:cubicBezTo>
                  <a:pt x="540020" y="183964"/>
                  <a:pt x="535944" y="179899"/>
                  <a:pt x="535944" y="174931"/>
                </a:cubicBezTo>
                <a:cubicBezTo>
                  <a:pt x="535944" y="169963"/>
                  <a:pt x="540020" y="165899"/>
                  <a:pt x="545003" y="165899"/>
                </a:cubicBezTo>
                <a:close/>
                <a:moveTo>
                  <a:pt x="9059" y="165899"/>
                </a:moveTo>
                <a:lnTo>
                  <a:pt x="63412" y="165899"/>
                </a:lnTo>
                <a:cubicBezTo>
                  <a:pt x="68395" y="165899"/>
                  <a:pt x="72471" y="169963"/>
                  <a:pt x="72471" y="174931"/>
                </a:cubicBezTo>
                <a:cubicBezTo>
                  <a:pt x="72471" y="179899"/>
                  <a:pt x="68395" y="183964"/>
                  <a:pt x="63412" y="183964"/>
                </a:cubicBezTo>
                <a:lnTo>
                  <a:pt x="9059" y="183964"/>
                </a:lnTo>
                <a:cubicBezTo>
                  <a:pt x="4076" y="183964"/>
                  <a:pt x="0" y="179899"/>
                  <a:pt x="0" y="174931"/>
                </a:cubicBezTo>
                <a:cubicBezTo>
                  <a:pt x="0" y="169963"/>
                  <a:pt x="4076" y="165899"/>
                  <a:pt x="9059" y="165899"/>
                </a:cubicBezTo>
                <a:close/>
                <a:moveTo>
                  <a:pt x="191339" y="149599"/>
                </a:moveTo>
                <a:cubicBezTo>
                  <a:pt x="201219" y="149599"/>
                  <a:pt x="209228" y="157608"/>
                  <a:pt x="209228" y="167488"/>
                </a:cubicBezTo>
                <a:cubicBezTo>
                  <a:pt x="209228" y="177368"/>
                  <a:pt x="201219" y="185377"/>
                  <a:pt x="191339" y="185377"/>
                </a:cubicBezTo>
                <a:cubicBezTo>
                  <a:pt x="181459" y="185377"/>
                  <a:pt x="173450" y="177368"/>
                  <a:pt x="173450" y="167488"/>
                </a:cubicBezTo>
                <a:cubicBezTo>
                  <a:pt x="173450" y="157608"/>
                  <a:pt x="181459" y="149599"/>
                  <a:pt x="191339" y="149599"/>
                </a:cubicBezTo>
                <a:close/>
                <a:moveTo>
                  <a:pt x="162833" y="114120"/>
                </a:moveTo>
                <a:cubicBezTo>
                  <a:pt x="142002" y="114120"/>
                  <a:pt x="125021" y="131072"/>
                  <a:pt x="125021" y="152092"/>
                </a:cubicBezTo>
                <a:lnTo>
                  <a:pt x="125021" y="446146"/>
                </a:lnTo>
                <a:cubicBezTo>
                  <a:pt x="125021" y="467166"/>
                  <a:pt x="142002" y="484118"/>
                  <a:pt x="162833" y="484118"/>
                </a:cubicBezTo>
                <a:lnTo>
                  <a:pt x="457634" y="484118"/>
                </a:lnTo>
                <a:cubicBezTo>
                  <a:pt x="478692" y="484118"/>
                  <a:pt x="495673" y="467166"/>
                  <a:pt x="495673" y="446372"/>
                </a:cubicBezTo>
                <a:lnTo>
                  <a:pt x="495673" y="152092"/>
                </a:lnTo>
                <a:cubicBezTo>
                  <a:pt x="495673" y="131072"/>
                  <a:pt x="478692" y="114120"/>
                  <a:pt x="457634" y="114120"/>
                </a:cubicBezTo>
                <a:close/>
                <a:moveTo>
                  <a:pt x="162833" y="96039"/>
                </a:moveTo>
                <a:lnTo>
                  <a:pt x="457634" y="96039"/>
                </a:lnTo>
                <a:cubicBezTo>
                  <a:pt x="488654" y="96039"/>
                  <a:pt x="513787" y="121127"/>
                  <a:pt x="513787" y="152092"/>
                </a:cubicBezTo>
                <a:lnTo>
                  <a:pt x="513787" y="446372"/>
                </a:lnTo>
                <a:cubicBezTo>
                  <a:pt x="513787" y="477111"/>
                  <a:pt x="488654" y="502425"/>
                  <a:pt x="457634" y="502425"/>
                </a:cubicBezTo>
                <a:lnTo>
                  <a:pt x="162833" y="502425"/>
                </a:lnTo>
                <a:cubicBezTo>
                  <a:pt x="132040" y="502425"/>
                  <a:pt x="106907" y="477111"/>
                  <a:pt x="106907" y="446372"/>
                </a:cubicBezTo>
                <a:lnTo>
                  <a:pt x="106907" y="152092"/>
                </a:lnTo>
                <a:cubicBezTo>
                  <a:pt x="106907" y="121127"/>
                  <a:pt x="132040" y="96039"/>
                  <a:pt x="162833" y="96039"/>
                </a:cubicBezTo>
                <a:close/>
                <a:moveTo>
                  <a:pt x="432496" y="0"/>
                </a:moveTo>
                <a:cubicBezTo>
                  <a:pt x="437463" y="0"/>
                  <a:pt x="441528" y="4068"/>
                  <a:pt x="441528" y="9041"/>
                </a:cubicBezTo>
                <a:lnTo>
                  <a:pt x="441528" y="63288"/>
                </a:lnTo>
                <a:cubicBezTo>
                  <a:pt x="441528" y="68260"/>
                  <a:pt x="437463" y="72329"/>
                  <a:pt x="432496" y="72329"/>
                </a:cubicBezTo>
                <a:cubicBezTo>
                  <a:pt x="427528" y="72329"/>
                  <a:pt x="423463" y="68260"/>
                  <a:pt x="423463" y="63288"/>
                </a:cubicBezTo>
                <a:lnTo>
                  <a:pt x="423463" y="9041"/>
                </a:lnTo>
                <a:cubicBezTo>
                  <a:pt x="423463" y="4068"/>
                  <a:pt x="427528" y="0"/>
                  <a:pt x="432496" y="0"/>
                </a:cubicBezTo>
                <a:close/>
                <a:moveTo>
                  <a:pt x="382916" y="0"/>
                </a:moveTo>
                <a:cubicBezTo>
                  <a:pt x="388126" y="0"/>
                  <a:pt x="392203" y="4068"/>
                  <a:pt x="392203" y="9041"/>
                </a:cubicBezTo>
                <a:lnTo>
                  <a:pt x="392203" y="63288"/>
                </a:lnTo>
                <a:cubicBezTo>
                  <a:pt x="392203" y="68260"/>
                  <a:pt x="388126" y="72329"/>
                  <a:pt x="382916" y="72329"/>
                </a:cubicBezTo>
                <a:cubicBezTo>
                  <a:pt x="377933" y="72329"/>
                  <a:pt x="373856" y="68260"/>
                  <a:pt x="373856" y="63288"/>
                </a:cubicBezTo>
                <a:lnTo>
                  <a:pt x="373856" y="9041"/>
                </a:lnTo>
                <a:cubicBezTo>
                  <a:pt x="373856" y="4068"/>
                  <a:pt x="377933" y="0"/>
                  <a:pt x="382916" y="0"/>
                </a:cubicBezTo>
                <a:close/>
                <a:moveTo>
                  <a:pt x="332646" y="0"/>
                </a:moveTo>
                <a:cubicBezTo>
                  <a:pt x="337613" y="0"/>
                  <a:pt x="341678" y="4068"/>
                  <a:pt x="341678" y="9041"/>
                </a:cubicBezTo>
                <a:lnTo>
                  <a:pt x="341678" y="63288"/>
                </a:lnTo>
                <a:cubicBezTo>
                  <a:pt x="341678" y="68260"/>
                  <a:pt x="337613" y="72329"/>
                  <a:pt x="332646" y="72329"/>
                </a:cubicBezTo>
                <a:cubicBezTo>
                  <a:pt x="327678" y="72329"/>
                  <a:pt x="323613" y="68260"/>
                  <a:pt x="323613" y="63288"/>
                </a:cubicBezTo>
                <a:lnTo>
                  <a:pt x="323613" y="9041"/>
                </a:lnTo>
                <a:cubicBezTo>
                  <a:pt x="323613" y="4068"/>
                  <a:pt x="327678" y="0"/>
                  <a:pt x="332646" y="0"/>
                </a:cubicBezTo>
                <a:close/>
                <a:moveTo>
                  <a:pt x="283284" y="0"/>
                </a:moveTo>
                <a:cubicBezTo>
                  <a:pt x="288272" y="0"/>
                  <a:pt x="292352" y="4068"/>
                  <a:pt x="292352" y="9041"/>
                </a:cubicBezTo>
                <a:lnTo>
                  <a:pt x="292352" y="63288"/>
                </a:lnTo>
                <a:cubicBezTo>
                  <a:pt x="292352" y="68260"/>
                  <a:pt x="288272" y="72329"/>
                  <a:pt x="283284" y="72329"/>
                </a:cubicBezTo>
                <a:cubicBezTo>
                  <a:pt x="278297" y="72329"/>
                  <a:pt x="274217" y="68260"/>
                  <a:pt x="274217" y="63288"/>
                </a:cubicBezTo>
                <a:lnTo>
                  <a:pt x="274217" y="9041"/>
                </a:lnTo>
                <a:cubicBezTo>
                  <a:pt x="274217" y="4068"/>
                  <a:pt x="278071" y="0"/>
                  <a:pt x="283284" y="0"/>
                </a:cubicBezTo>
                <a:close/>
                <a:moveTo>
                  <a:pt x="237524" y="0"/>
                </a:moveTo>
                <a:cubicBezTo>
                  <a:pt x="242491" y="0"/>
                  <a:pt x="246556" y="4068"/>
                  <a:pt x="246556" y="9041"/>
                </a:cubicBezTo>
                <a:lnTo>
                  <a:pt x="246556" y="63288"/>
                </a:lnTo>
                <a:cubicBezTo>
                  <a:pt x="246556" y="68260"/>
                  <a:pt x="242491" y="72329"/>
                  <a:pt x="237524" y="72329"/>
                </a:cubicBezTo>
                <a:cubicBezTo>
                  <a:pt x="232556" y="72329"/>
                  <a:pt x="228491" y="68260"/>
                  <a:pt x="228491" y="63288"/>
                </a:cubicBezTo>
                <a:lnTo>
                  <a:pt x="228491" y="9041"/>
                </a:lnTo>
                <a:cubicBezTo>
                  <a:pt x="228491" y="4068"/>
                  <a:pt x="232556" y="0"/>
                  <a:pt x="237524" y="0"/>
                </a:cubicBezTo>
                <a:close/>
                <a:moveTo>
                  <a:pt x="188162" y="0"/>
                </a:moveTo>
                <a:cubicBezTo>
                  <a:pt x="193150" y="0"/>
                  <a:pt x="197230" y="4068"/>
                  <a:pt x="197230" y="9041"/>
                </a:cubicBezTo>
                <a:lnTo>
                  <a:pt x="197230" y="63288"/>
                </a:lnTo>
                <a:cubicBezTo>
                  <a:pt x="197230" y="68260"/>
                  <a:pt x="193150" y="72329"/>
                  <a:pt x="188162" y="72329"/>
                </a:cubicBezTo>
                <a:cubicBezTo>
                  <a:pt x="183175" y="72329"/>
                  <a:pt x="179095" y="68260"/>
                  <a:pt x="179095" y="63288"/>
                </a:cubicBezTo>
                <a:lnTo>
                  <a:pt x="179095" y="9041"/>
                </a:lnTo>
                <a:cubicBezTo>
                  <a:pt x="179095" y="4068"/>
                  <a:pt x="183175" y="0"/>
                  <a:pt x="1881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3" name="circuit-board_247470">
            <a:extLst>
              <a:ext uri="{FF2B5EF4-FFF2-40B4-BE49-F238E27FC236}">
                <a16:creationId xmlns:a16="http://schemas.microsoft.com/office/drawing/2014/main" id="{3E058667-09D6-4066-864D-BB438B53EA28}"/>
              </a:ext>
            </a:extLst>
          </p:cNvPr>
          <p:cNvSpPr/>
          <p:nvPr/>
        </p:nvSpPr>
        <p:spPr>
          <a:xfrm>
            <a:off x="942096" y="1562922"/>
            <a:ext cx="208348" cy="208034"/>
          </a:xfrm>
          <a:custGeom>
            <a:avLst/>
            <a:gdLst>
              <a:gd name="connsiteX0" fmla="*/ 235971 w 609614"/>
              <a:gd name="connsiteY0" fmla="*/ 510552 h 608697"/>
              <a:gd name="connsiteX1" fmla="*/ 216329 w 609614"/>
              <a:gd name="connsiteY1" fmla="*/ 530158 h 608697"/>
              <a:gd name="connsiteX2" fmla="*/ 235971 w 609614"/>
              <a:gd name="connsiteY2" fmla="*/ 549764 h 608697"/>
              <a:gd name="connsiteX3" fmla="*/ 255612 w 609614"/>
              <a:gd name="connsiteY3" fmla="*/ 530158 h 608697"/>
              <a:gd name="connsiteX4" fmla="*/ 235971 w 609614"/>
              <a:gd name="connsiteY4" fmla="*/ 510552 h 608697"/>
              <a:gd name="connsiteX5" fmla="*/ 137627 w 609614"/>
              <a:gd name="connsiteY5" fmla="*/ 510552 h 608697"/>
              <a:gd name="connsiteX6" fmla="*/ 117997 w 609614"/>
              <a:gd name="connsiteY6" fmla="*/ 530158 h 608697"/>
              <a:gd name="connsiteX7" fmla="*/ 137627 w 609614"/>
              <a:gd name="connsiteY7" fmla="*/ 549764 h 608697"/>
              <a:gd name="connsiteX8" fmla="*/ 157349 w 609614"/>
              <a:gd name="connsiteY8" fmla="*/ 530158 h 608697"/>
              <a:gd name="connsiteX9" fmla="*/ 137627 w 609614"/>
              <a:gd name="connsiteY9" fmla="*/ 510552 h 608697"/>
              <a:gd name="connsiteX10" fmla="*/ 235971 w 609614"/>
              <a:gd name="connsiteY10" fmla="*/ 490853 h 608697"/>
              <a:gd name="connsiteX11" fmla="*/ 275346 w 609614"/>
              <a:gd name="connsiteY11" fmla="*/ 530158 h 608697"/>
              <a:gd name="connsiteX12" fmla="*/ 235971 w 609614"/>
              <a:gd name="connsiteY12" fmla="*/ 569463 h 608697"/>
              <a:gd name="connsiteX13" fmla="*/ 196595 w 609614"/>
              <a:gd name="connsiteY13" fmla="*/ 530158 h 608697"/>
              <a:gd name="connsiteX14" fmla="*/ 235971 w 609614"/>
              <a:gd name="connsiteY14" fmla="*/ 490853 h 608697"/>
              <a:gd name="connsiteX15" fmla="*/ 137627 w 609614"/>
              <a:gd name="connsiteY15" fmla="*/ 490853 h 608697"/>
              <a:gd name="connsiteX16" fmla="*/ 176978 w 609614"/>
              <a:gd name="connsiteY16" fmla="*/ 530158 h 608697"/>
              <a:gd name="connsiteX17" fmla="*/ 137627 w 609614"/>
              <a:gd name="connsiteY17" fmla="*/ 569463 h 608697"/>
              <a:gd name="connsiteX18" fmla="*/ 98368 w 609614"/>
              <a:gd name="connsiteY18" fmla="*/ 530158 h 608697"/>
              <a:gd name="connsiteX19" fmla="*/ 137627 w 609614"/>
              <a:gd name="connsiteY19" fmla="*/ 490853 h 608697"/>
              <a:gd name="connsiteX20" fmla="*/ 294963 w 609614"/>
              <a:gd name="connsiteY20" fmla="*/ 412384 h 608697"/>
              <a:gd name="connsiteX21" fmla="*/ 314651 w 609614"/>
              <a:gd name="connsiteY21" fmla="*/ 412384 h 608697"/>
              <a:gd name="connsiteX22" fmla="*/ 314651 w 609614"/>
              <a:gd name="connsiteY22" fmla="*/ 451689 h 608697"/>
              <a:gd name="connsiteX23" fmla="*/ 294963 w 609614"/>
              <a:gd name="connsiteY23" fmla="*/ 451689 h 608697"/>
              <a:gd name="connsiteX24" fmla="*/ 255588 w 609614"/>
              <a:gd name="connsiteY24" fmla="*/ 412384 h 608697"/>
              <a:gd name="connsiteX25" fmla="*/ 275346 w 609614"/>
              <a:gd name="connsiteY25" fmla="*/ 412384 h 608697"/>
              <a:gd name="connsiteX26" fmla="*/ 275346 w 609614"/>
              <a:gd name="connsiteY26" fmla="*/ 451689 h 608697"/>
              <a:gd name="connsiteX27" fmla="*/ 255588 w 609614"/>
              <a:gd name="connsiteY27" fmla="*/ 451689 h 608697"/>
              <a:gd name="connsiteX28" fmla="*/ 216353 w 609614"/>
              <a:gd name="connsiteY28" fmla="*/ 412384 h 608697"/>
              <a:gd name="connsiteX29" fmla="*/ 235970 w 609614"/>
              <a:gd name="connsiteY29" fmla="*/ 412384 h 608697"/>
              <a:gd name="connsiteX30" fmla="*/ 235970 w 609614"/>
              <a:gd name="connsiteY30" fmla="*/ 451689 h 608697"/>
              <a:gd name="connsiteX31" fmla="*/ 216353 w 609614"/>
              <a:gd name="connsiteY31" fmla="*/ 451689 h 608697"/>
              <a:gd name="connsiteX32" fmla="*/ 19635 w 609614"/>
              <a:gd name="connsiteY32" fmla="*/ 412364 h 608697"/>
              <a:gd name="connsiteX33" fmla="*/ 19635 w 609614"/>
              <a:gd name="connsiteY33" fmla="*/ 451667 h 608697"/>
              <a:gd name="connsiteX34" fmla="*/ 137631 w 609614"/>
              <a:gd name="connsiteY34" fmla="*/ 451667 h 608697"/>
              <a:gd name="connsiteX35" fmla="*/ 137631 w 609614"/>
              <a:gd name="connsiteY35" fmla="*/ 412364 h 608697"/>
              <a:gd name="connsiteX36" fmla="*/ 137616 w 609614"/>
              <a:gd name="connsiteY36" fmla="*/ 304423 h 608697"/>
              <a:gd name="connsiteX37" fmla="*/ 137616 w 609614"/>
              <a:gd name="connsiteY37" fmla="*/ 324032 h 608697"/>
              <a:gd name="connsiteX38" fmla="*/ 235956 w 609614"/>
              <a:gd name="connsiteY38" fmla="*/ 324032 h 608697"/>
              <a:gd name="connsiteX39" fmla="*/ 235956 w 609614"/>
              <a:gd name="connsiteY39" fmla="*/ 304423 h 608697"/>
              <a:gd name="connsiteX40" fmla="*/ 137616 w 609614"/>
              <a:gd name="connsiteY40" fmla="*/ 265114 h 608697"/>
              <a:gd name="connsiteX41" fmla="*/ 157339 w 609614"/>
              <a:gd name="connsiteY41" fmla="*/ 265114 h 608697"/>
              <a:gd name="connsiteX42" fmla="*/ 157339 w 609614"/>
              <a:gd name="connsiteY42" fmla="*/ 284723 h 608697"/>
              <a:gd name="connsiteX43" fmla="*/ 176970 w 609614"/>
              <a:gd name="connsiteY43" fmla="*/ 284723 h 608697"/>
              <a:gd name="connsiteX44" fmla="*/ 176970 w 609614"/>
              <a:gd name="connsiteY44" fmla="*/ 265114 h 608697"/>
              <a:gd name="connsiteX45" fmla="*/ 196602 w 609614"/>
              <a:gd name="connsiteY45" fmla="*/ 265114 h 608697"/>
              <a:gd name="connsiteX46" fmla="*/ 196602 w 609614"/>
              <a:gd name="connsiteY46" fmla="*/ 284723 h 608697"/>
              <a:gd name="connsiteX47" fmla="*/ 216325 w 609614"/>
              <a:gd name="connsiteY47" fmla="*/ 284723 h 608697"/>
              <a:gd name="connsiteX48" fmla="*/ 216325 w 609614"/>
              <a:gd name="connsiteY48" fmla="*/ 265114 h 608697"/>
              <a:gd name="connsiteX49" fmla="*/ 235956 w 609614"/>
              <a:gd name="connsiteY49" fmla="*/ 265114 h 608697"/>
              <a:gd name="connsiteX50" fmla="*/ 235956 w 609614"/>
              <a:gd name="connsiteY50" fmla="*/ 284723 h 608697"/>
              <a:gd name="connsiteX51" fmla="*/ 255587 w 609614"/>
              <a:gd name="connsiteY51" fmla="*/ 284723 h 608697"/>
              <a:gd name="connsiteX52" fmla="*/ 255587 w 609614"/>
              <a:gd name="connsiteY52" fmla="*/ 343640 h 608697"/>
              <a:gd name="connsiteX53" fmla="*/ 235956 w 609614"/>
              <a:gd name="connsiteY53" fmla="*/ 343640 h 608697"/>
              <a:gd name="connsiteX54" fmla="*/ 235956 w 609614"/>
              <a:gd name="connsiteY54" fmla="*/ 363341 h 608697"/>
              <a:gd name="connsiteX55" fmla="*/ 216325 w 609614"/>
              <a:gd name="connsiteY55" fmla="*/ 363341 h 608697"/>
              <a:gd name="connsiteX56" fmla="*/ 216325 w 609614"/>
              <a:gd name="connsiteY56" fmla="*/ 343640 h 608697"/>
              <a:gd name="connsiteX57" fmla="*/ 196602 w 609614"/>
              <a:gd name="connsiteY57" fmla="*/ 343640 h 608697"/>
              <a:gd name="connsiteX58" fmla="*/ 196602 w 609614"/>
              <a:gd name="connsiteY58" fmla="*/ 363341 h 608697"/>
              <a:gd name="connsiteX59" fmla="*/ 176970 w 609614"/>
              <a:gd name="connsiteY59" fmla="*/ 363341 h 608697"/>
              <a:gd name="connsiteX60" fmla="*/ 176970 w 609614"/>
              <a:gd name="connsiteY60" fmla="*/ 343640 h 608697"/>
              <a:gd name="connsiteX61" fmla="*/ 157339 w 609614"/>
              <a:gd name="connsiteY61" fmla="*/ 343640 h 608697"/>
              <a:gd name="connsiteX62" fmla="*/ 157339 w 609614"/>
              <a:gd name="connsiteY62" fmla="*/ 363341 h 608697"/>
              <a:gd name="connsiteX63" fmla="*/ 137616 w 609614"/>
              <a:gd name="connsiteY63" fmla="*/ 363341 h 608697"/>
              <a:gd name="connsiteX64" fmla="*/ 137616 w 609614"/>
              <a:gd name="connsiteY64" fmla="*/ 343640 h 608697"/>
              <a:gd name="connsiteX65" fmla="*/ 117985 w 609614"/>
              <a:gd name="connsiteY65" fmla="*/ 343640 h 608697"/>
              <a:gd name="connsiteX66" fmla="*/ 117985 w 609614"/>
              <a:gd name="connsiteY66" fmla="*/ 284723 h 608697"/>
              <a:gd name="connsiteX67" fmla="*/ 137616 w 609614"/>
              <a:gd name="connsiteY67" fmla="*/ 284723 h 608697"/>
              <a:gd name="connsiteX68" fmla="*/ 255618 w 609614"/>
              <a:gd name="connsiteY68" fmla="*/ 196306 h 608697"/>
              <a:gd name="connsiteX69" fmla="*/ 255618 w 609614"/>
              <a:gd name="connsiteY69" fmla="*/ 216008 h 608697"/>
              <a:gd name="connsiteX70" fmla="*/ 295004 w 609614"/>
              <a:gd name="connsiteY70" fmla="*/ 216008 h 608697"/>
              <a:gd name="connsiteX71" fmla="*/ 295004 w 609614"/>
              <a:gd name="connsiteY71" fmla="*/ 196306 h 608697"/>
              <a:gd name="connsiteX72" fmla="*/ 235971 w 609614"/>
              <a:gd name="connsiteY72" fmla="*/ 176696 h 608697"/>
              <a:gd name="connsiteX73" fmla="*/ 314651 w 609614"/>
              <a:gd name="connsiteY73" fmla="*/ 176696 h 608697"/>
              <a:gd name="connsiteX74" fmla="*/ 314651 w 609614"/>
              <a:gd name="connsiteY74" fmla="*/ 235618 h 608697"/>
              <a:gd name="connsiteX75" fmla="*/ 235971 w 609614"/>
              <a:gd name="connsiteY75" fmla="*/ 235618 h 608697"/>
              <a:gd name="connsiteX76" fmla="*/ 19635 w 609614"/>
              <a:gd name="connsiteY76" fmla="*/ 117818 h 608697"/>
              <a:gd name="connsiteX77" fmla="*/ 19635 w 609614"/>
              <a:gd name="connsiteY77" fmla="*/ 216031 h 608697"/>
              <a:gd name="connsiteX78" fmla="*/ 137631 w 609614"/>
              <a:gd name="connsiteY78" fmla="*/ 216031 h 608697"/>
              <a:gd name="connsiteX79" fmla="*/ 137631 w 609614"/>
              <a:gd name="connsiteY79" fmla="*/ 117818 h 608697"/>
              <a:gd name="connsiteX80" fmla="*/ 255618 w 609614"/>
              <a:gd name="connsiteY80" fmla="*/ 98241 h 608697"/>
              <a:gd name="connsiteX81" fmla="*/ 255618 w 609614"/>
              <a:gd name="connsiteY81" fmla="*/ 117851 h 608697"/>
              <a:gd name="connsiteX82" fmla="*/ 295004 w 609614"/>
              <a:gd name="connsiteY82" fmla="*/ 117851 h 608697"/>
              <a:gd name="connsiteX83" fmla="*/ 295004 w 609614"/>
              <a:gd name="connsiteY83" fmla="*/ 98241 h 608697"/>
              <a:gd name="connsiteX84" fmla="*/ 442480 w 609614"/>
              <a:gd name="connsiteY84" fmla="*/ 98227 h 608697"/>
              <a:gd name="connsiteX85" fmla="*/ 452324 w 609614"/>
              <a:gd name="connsiteY85" fmla="*/ 108036 h 608697"/>
              <a:gd name="connsiteX86" fmla="*/ 442480 w 609614"/>
              <a:gd name="connsiteY86" fmla="*/ 117845 h 608697"/>
              <a:gd name="connsiteX87" fmla="*/ 432636 w 609614"/>
              <a:gd name="connsiteY87" fmla="*/ 108036 h 608697"/>
              <a:gd name="connsiteX88" fmla="*/ 442480 w 609614"/>
              <a:gd name="connsiteY88" fmla="*/ 98227 h 608697"/>
              <a:gd name="connsiteX89" fmla="*/ 235971 w 609614"/>
              <a:gd name="connsiteY89" fmla="*/ 78539 h 608697"/>
              <a:gd name="connsiteX90" fmla="*/ 314651 w 609614"/>
              <a:gd name="connsiteY90" fmla="*/ 78539 h 608697"/>
              <a:gd name="connsiteX91" fmla="*/ 314651 w 609614"/>
              <a:gd name="connsiteY91" fmla="*/ 137461 h 608697"/>
              <a:gd name="connsiteX92" fmla="*/ 235971 w 609614"/>
              <a:gd name="connsiteY92" fmla="*/ 137461 h 608697"/>
              <a:gd name="connsiteX93" fmla="*/ 393331 w 609614"/>
              <a:gd name="connsiteY93" fmla="*/ 78527 h 608697"/>
              <a:gd name="connsiteX94" fmla="*/ 393331 w 609614"/>
              <a:gd name="connsiteY94" fmla="*/ 530170 h 608697"/>
              <a:gd name="connsiteX95" fmla="*/ 491629 w 609614"/>
              <a:gd name="connsiteY95" fmla="*/ 530170 h 608697"/>
              <a:gd name="connsiteX96" fmla="*/ 491629 w 609614"/>
              <a:gd name="connsiteY96" fmla="*/ 78527 h 608697"/>
              <a:gd name="connsiteX97" fmla="*/ 373597 w 609614"/>
              <a:gd name="connsiteY97" fmla="*/ 58922 h 608697"/>
              <a:gd name="connsiteX98" fmla="*/ 511363 w 609614"/>
              <a:gd name="connsiteY98" fmla="*/ 58922 h 608697"/>
              <a:gd name="connsiteX99" fmla="*/ 511363 w 609614"/>
              <a:gd name="connsiteY99" fmla="*/ 78527 h 608697"/>
              <a:gd name="connsiteX100" fmla="*/ 531004 w 609614"/>
              <a:gd name="connsiteY100" fmla="*/ 78527 h 608697"/>
              <a:gd name="connsiteX101" fmla="*/ 531004 w 609614"/>
              <a:gd name="connsiteY101" fmla="*/ 98223 h 608697"/>
              <a:gd name="connsiteX102" fmla="*/ 511363 w 609614"/>
              <a:gd name="connsiteY102" fmla="*/ 98223 h 608697"/>
              <a:gd name="connsiteX103" fmla="*/ 511363 w 609614"/>
              <a:gd name="connsiteY103" fmla="*/ 117828 h 608697"/>
              <a:gd name="connsiteX104" fmla="*/ 531004 w 609614"/>
              <a:gd name="connsiteY104" fmla="*/ 117828 h 608697"/>
              <a:gd name="connsiteX105" fmla="*/ 531004 w 609614"/>
              <a:gd name="connsiteY105" fmla="*/ 137433 h 608697"/>
              <a:gd name="connsiteX106" fmla="*/ 511363 w 609614"/>
              <a:gd name="connsiteY106" fmla="*/ 137433 h 608697"/>
              <a:gd name="connsiteX107" fmla="*/ 511363 w 609614"/>
              <a:gd name="connsiteY107" fmla="*/ 157129 h 608697"/>
              <a:gd name="connsiteX108" fmla="*/ 531004 w 609614"/>
              <a:gd name="connsiteY108" fmla="*/ 157129 h 608697"/>
              <a:gd name="connsiteX109" fmla="*/ 531004 w 609614"/>
              <a:gd name="connsiteY109" fmla="*/ 176734 h 608697"/>
              <a:gd name="connsiteX110" fmla="*/ 511363 w 609614"/>
              <a:gd name="connsiteY110" fmla="*/ 176734 h 608697"/>
              <a:gd name="connsiteX111" fmla="*/ 511363 w 609614"/>
              <a:gd name="connsiteY111" fmla="*/ 196339 h 608697"/>
              <a:gd name="connsiteX112" fmla="*/ 531004 w 609614"/>
              <a:gd name="connsiteY112" fmla="*/ 196339 h 608697"/>
              <a:gd name="connsiteX113" fmla="*/ 531004 w 609614"/>
              <a:gd name="connsiteY113" fmla="*/ 216035 h 608697"/>
              <a:gd name="connsiteX114" fmla="*/ 511363 w 609614"/>
              <a:gd name="connsiteY114" fmla="*/ 216035 h 608697"/>
              <a:gd name="connsiteX115" fmla="*/ 511363 w 609614"/>
              <a:gd name="connsiteY115" fmla="*/ 235640 h 608697"/>
              <a:gd name="connsiteX116" fmla="*/ 531004 w 609614"/>
              <a:gd name="connsiteY116" fmla="*/ 235640 h 608697"/>
              <a:gd name="connsiteX117" fmla="*/ 531004 w 609614"/>
              <a:gd name="connsiteY117" fmla="*/ 255245 h 608697"/>
              <a:gd name="connsiteX118" fmla="*/ 511363 w 609614"/>
              <a:gd name="connsiteY118" fmla="*/ 255245 h 608697"/>
              <a:gd name="connsiteX119" fmla="*/ 511363 w 609614"/>
              <a:gd name="connsiteY119" fmla="*/ 274942 h 608697"/>
              <a:gd name="connsiteX120" fmla="*/ 531004 w 609614"/>
              <a:gd name="connsiteY120" fmla="*/ 274942 h 608697"/>
              <a:gd name="connsiteX121" fmla="*/ 531004 w 609614"/>
              <a:gd name="connsiteY121" fmla="*/ 294546 h 608697"/>
              <a:gd name="connsiteX122" fmla="*/ 511363 w 609614"/>
              <a:gd name="connsiteY122" fmla="*/ 294546 h 608697"/>
              <a:gd name="connsiteX123" fmla="*/ 511363 w 609614"/>
              <a:gd name="connsiteY123" fmla="*/ 314151 h 608697"/>
              <a:gd name="connsiteX124" fmla="*/ 531004 w 609614"/>
              <a:gd name="connsiteY124" fmla="*/ 314151 h 608697"/>
              <a:gd name="connsiteX125" fmla="*/ 531004 w 609614"/>
              <a:gd name="connsiteY125" fmla="*/ 333848 h 608697"/>
              <a:gd name="connsiteX126" fmla="*/ 511363 w 609614"/>
              <a:gd name="connsiteY126" fmla="*/ 333848 h 608697"/>
              <a:gd name="connsiteX127" fmla="*/ 511363 w 609614"/>
              <a:gd name="connsiteY127" fmla="*/ 353452 h 608697"/>
              <a:gd name="connsiteX128" fmla="*/ 531004 w 609614"/>
              <a:gd name="connsiteY128" fmla="*/ 353452 h 608697"/>
              <a:gd name="connsiteX129" fmla="*/ 531004 w 609614"/>
              <a:gd name="connsiteY129" fmla="*/ 373057 h 608697"/>
              <a:gd name="connsiteX130" fmla="*/ 511363 w 609614"/>
              <a:gd name="connsiteY130" fmla="*/ 373057 h 608697"/>
              <a:gd name="connsiteX131" fmla="*/ 511363 w 609614"/>
              <a:gd name="connsiteY131" fmla="*/ 392754 h 608697"/>
              <a:gd name="connsiteX132" fmla="*/ 531004 w 609614"/>
              <a:gd name="connsiteY132" fmla="*/ 392754 h 608697"/>
              <a:gd name="connsiteX133" fmla="*/ 531004 w 609614"/>
              <a:gd name="connsiteY133" fmla="*/ 412358 h 608697"/>
              <a:gd name="connsiteX134" fmla="*/ 511363 w 609614"/>
              <a:gd name="connsiteY134" fmla="*/ 412358 h 608697"/>
              <a:gd name="connsiteX135" fmla="*/ 511363 w 609614"/>
              <a:gd name="connsiteY135" fmla="*/ 431963 h 608697"/>
              <a:gd name="connsiteX136" fmla="*/ 531004 w 609614"/>
              <a:gd name="connsiteY136" fmla="*/ 431963 h 608697"/>
              <a:gd name="connsiteX137" fmla="*/ 531004 w 609614"/>
              <a:gd name="connsiteY137" fmla="*/ 451660 h 608697"/>
              <a:gd name="connsiteX138" fmla="*/ 511363 w 609614"/>
              <a:gd name="connsiteY138" fmla="*/ 451660 h 608697"/>
              <a:gd name="connsiteX139" fmla="*/ 511363 w 609614"/>
              <a:gd name="connsiteY139" fmla="*/ 471264 h 608697"/>
              <a:gd name="connsiteX140" fmla="*/ 531004 w 609614"/>
              <a:gd name="connsiteY140" fmla="*/ 471264 h 608697"/>
              <a:gd name="connsiteX141" fmla="*/ 531004 w 609614"/>
              <a:gd name="connsiteY141" fmla="*/ 490869 h 608697"/>
              <a:gd name="connsiteX142" fmla="*/ 511363 w 609614"/>
              <a:gd name="connsiteY142" fmla="*/ 490869 h 608697"/>
              <a:gd name="connsiteX143" fmla="*/ 511363 w 609614"/>
              <a:gd name="connsiteY143" fmla="*/ 510566 h 608697"/>
              <a:gd name="connsiteX144" fmla="*/ 531004 w 609614"/>
              <a:gd name="connsiteY144" fmla="*/ 510566 h 608697"/>
              <a:gd name="connsiteX145" fmla="*/ 531004 w 609614"/>
              <a:gd name="connsiteY145" fmla="*/ 530170 h 608697"/>
              <a:gd name="connsiteX146" fmla="*/ 511363 w 609614"/>
              <a:gd name="connsiteY146" fmla="*/ 530170 h 608697"/>
              <a:gd name="connsiteX147" fmla="*/ 511363 w 609614"/>
              <a:gd name="connsiteY147" fmla="*/ 549775 h 608697"/>
              <a:gd name="connsiteX148" fmla="*/ 373597 w 609614"/>
              <a:gd name="connsiteY148" fmla="*/ 549775 h 608697"/>
              <a:gd name="connsiteX149" fmla="*/ 373597 w 609614"/>
              <a:gd name="connsiteY149" fmla="*/ 530170 h 608697"/>
              <a:gd name="connsiteX150" fmla="*/ 353956 w 609614"/>
              <a:gd name="connsiteY150" fmla="*/ 530170 h 608697"/>
              <a:gd name="connsiteX151" fmla="*/ 353956 w 609614"/>
              <a:gd name="connsiteY151" fmla="*/ 510566 h 608697"/>
              <a:gd name="connsiteX152" fmla="*/ 373597 w 609614"/>
              <a:gd name="connsiteY152" fmla="*/ 510566 h 608697"/>
              <a:gd name="connsiteX153" fmla="*/ 373597 w 609614"/>
              <a:gd name="connsiteY153" fmla="*/ 490869 h 608697"/>
              <a:gd name="connsiteX154" fmla="*/ 353956 w 609614"/>
              <a:gd name="connsiteY154" fmla="*/ 490869 h 608697"/>
              <a:gd name="connsiteX155" fmla="*/ 353956 w 609614"/>
              <a:gd name="connsiteY155" fmla="*/ 471264 h 608697"/>
              <a:gd name="connsiteX156" fmla="*/ 373597 w 609614"/>
              <a:gd name="connsiteY156" fmla="*/ 471264 h 608697"/>
              <a:gd name="connsiteX157" fmla="*/ 373597 w 609614"/>
              <a:gd name="connsiteY157" fmla="*/ 451660 h 608697"/>
              <a:gd name="connsiteX158" fmla="*/ 353956 w 609614"/>
              <a:gd name="connsiteY158" fmla="*/ 451660 h 608697"/>
              <a:gd name="connsiteX159" fmla="*/ 353956 w 609614"/>
              <a:gd name="connsiteY159" fmla="*/ 431963 h 608697"/>
              <a:gd name="connsiteX160" fmla="*/ 373597 w 609614"/>
              <a:gd name="connsiteY160" fmla="*/ 431963 h 608697"/>
              <a:gd name="connsiteX161" fmla="*/ 373597 w 609614"/>
              <a:gd name="connsiteY161" fmla="*/ 412358 h 608697"/>
              <a:gd name="connsiteX162" fmla="*/ 353956 w 609614"/>
              <a:gd name="connsiteY162" fmla="*/ 412358 h 608697"/>
              <a:gd name="connsiteX163" fmla="*/ 353956 w 609614"/>
              <a:gd name="connsiteY163" fmla="*/ 392754 h 608697"/>
              <a:gd name="connsiteX164" fmla="*/ 373597 w 609614"/>
              <a:gd name="connsiteY164" fmla="*/ 392754 h 608697"/>
              <a:gd name="connsiteX165" fmla="*/ 373597 w 609614"/>
              <a:gd name="connsiteY165" fmla="*/ 373057 h 608697"/>
              <a:gd name="connsiteX166" fmla="*/ 353956 w 609614"/>
              <a:gd name="connsiteY166" fmla="*/ 373057 h 608697"/>
              <a:gd name="connsiteX167" fmla="*/ 353956 w 609614"/>
              <a:gd name="connsiteY167" fmla="*/ 353452 h 608697"/>
              <a:gd name="connsiteX168" fmla="*/ 373597 w 609614"/>
              <a:gd name="connsiteY168" fmla="*/ 353452 h 608697"/>
              <a:gd name="connsiteX169" fmla="*/ 373597 w 609614"/>
              <a:gd name="connsiteY169" fmla="*/ 333848 h 608697"/>
              <a:gd name="connsiteX170" fmla="*/ 353956 w 609614"/>
              <a:gd name="connsiteY170" fmla="*/ 333848 h 608697"/>
              <a:gd name="connsiteX171" fmla="*/ 353956 w 609614"/>
              <a:gd name="connsiteY171" fmla="*/ 314151 h 608697"/>
              <a:gd name="connsiteX172" fmla="*/ 373597 w 609614"/>
              <a:gd name="connsiteY172" fmla="*/ 314151 h 608697"/>
              <a:gd name="connsiteX173" fmla="*/ 373597 w 609614"/>
              <a:gd name="connsiteY173" fmla="*/ 294546 h 608697"/>
              <a:gd name="connsiteX174" fmla="*/ 353956 w 609614"/>
              <a:gd name="connsiteY174" fmla="*/ 294546 h 608697"/>
              <a:gd name="connsiteX175" fmla="*/ 353956 w 609614"/>
              <a:gd name="connsiteY175" fmla="*/ 274942 h 608697"/>
              <a:gd name="connsiteX176" fmla="*/ 373597 w 609614"/>
              <a:gd name="connsiteY176" fmla="*/ 274942 h 608697"/>
              <a:gd name="connsiteX177" fmla="*/ 373597 w 609614"/>
              <a:gd name="connsiteY177" fmla="*/ 255245 h 608697"/>
              <a:gd name="connsiteX178" fmla="*/ 353956 w 609614"/>
              <a:gd name="connsiteY178" fmla="*/ 255245 h 608697"/>
              <a:gd name="connsiteX179" fmla="*/ 353956 w 609614"/>
              <a:gd name="connsiteY179" fmla="*/ 235640 h 608697"/>
              <a:gd name="connsiteX180" fmla="*/ 373597 w 609614"/>
              <a:gd name="connsiteY180" fmla="*/ 235640 h 608697"/>
              <a:gd name="connsiteX181" fmla="*/ 373597 w 609614"/>
              <a:gd name="connsiteY181" fmla="*/ 216035 h 608697"/>
              <a:gd name="connsiteX182" fmla="*/ 353956 w 609614"/>
              <a:gd name="connsiteY182" fmla="*/ 216035 h 608697"/>
              <a:gd name="connsiteX183" fmla="*/ 353956 w 609614"/>
              <a:gd name="connsiteY183" fmla="*/ 196339 h 608697"/>
              <a:gd name="connsiteX184" fmla="*/ 373597 w 609614"/>
              <a:gd name="connsiteY184" fmla="*/ 196339 h 608697"/>
              <a:gd name="connsiteX185" fmla="*/ 373597 w 609614"/>
              <a:gd name="connsiteY185" fmla="*/ 176734 h 608697"/>
              <a:gd name="connsiteX186" fmla="*/ 353956 w 609614"/>
              <a:gd name="connsiteY186" fmla="*/ 176734 h 608697"/>
              <a:gd name="connsiteX187" fmla="*/ 353956 w 609614"/>
              <a:gd name="connsiteY187" fmla="*/ 157129 h 608697"/>
              <a:gd name="connsiteX188" fmla="*/ 373597 w 609614"/>
              <a:gd name="connsiteY188" fmla="*/ 157129 h 608697"/>
              <a:gd name="connsiteX189" fmla="*/ 373597 w 609614"/>
              <a:gd name="connsiteY189" fmla="*/ 137433 h 608697"/>
              <a:gd name="connsiteX190" fmla="*/ 353956 w 609614"/>
              <a:gd name="connsiteY190" fmla="*/ 137433 h 608697"/>
              <a:gd name="connsiteX191" fmla="*/ 353956 w 609614"/>
              <a:gd name="connsiteY191" fmla="*/ 117828 h 608697"/>
              <a:gd name="connsiteX192" fmla="*/ 373597 w 609614"/>
              <a:gd name="connsiteY192" fmla="*/ 117828 h 608697"/>
              <a:gd name="connsiteX193" fmla="*/ 373597 w 609614"/>
              <a:gd name="connsiteY193" fmla="*/ 98223 h 608697"/>
              <a:gd name="connsiteX194" fmla="*/ 353956 w 609614"/>
              <a:gd name="connsiteY194" fmla="*/ 98223 h 608697"/>
              <a:gd name="connsiteX195" fmla="*/ 353956 w 609614"/>
              <a:gd name="connsiteY195" fmla="*/ 78527 h 608697"/>
              <a:gd name="connsiteX196" fmla="*/ 373597 w 609614"/>
              <a:gd name="connsiteY196" fmla="*/ 78527 h 608697"/>
              <a:gd name="connsiteX197" fmla="*/ 117985 w 609614"/>
              <a:gd name="connsiteY197" fmla="*/ 49043 h 608697"/>
              <a:gd name="connsiteX198" fmla="*/ 127864 w 609614"/>
              <a:gd name="connsiteY198" fmla="*/ 58887 h 608697"/>
              <a:gd name="connsiteX199" fmla="*/ 117985 w 609614"/>
              <a:gd name="connsiteY199" fmla="*/ 68731 h 608697"/>
              <a:gd name="connsiteX200" fmla="*/ 108106 w 609614"/>
              <a:gd name="connsiteY200" fmla="*/ 58887 h 608697"/>
              <a:gd name="connsiteX201" fmla="*/ 117985 w 609614"/>
              <a:gd name="connsiteY201" fmla="*/ 49043 h 608697"/>
              <a:gd name="connsiteX202" fmla="*/ 122052 w 609614"/>
              <a:gd name="connsiteY202" fmla="*/ 19606 h 608697"/>
              <a:gd name="connsiteX203" fmla="*/ 78633 w 609614"/>
              <a:gd name="connsiteY203" fmla="*/ 62959 h 608697"/>
              <a:gd name="connsiteX204" fmla="*/ 78633 w 609614"/>
              <a:gd name="connsiteY204" fmla="*/ 98213 h 608697"/>
              <a:gd name="connsiteX205" fmla="*/ 157358 w 609614"/>
              <a:gd name="connsiteY205" fmla="*/ 98213 h 608697"/>
              <a:gd name="connsiteX206" fmla="*/ 157358 w 609614"/>
              <a:gd name="connsiteY206" fmla="*/ 117818 h 608697"/>
              <a:gd name="connsiteX207" fmla="*/ 176994 w 609614"/>
              <a:gd name="connsiteY207" fmla="*/ 117818 h 608697"/>
              <a:gd name="connsiteX208" fmla="*/ 176994 w 609614"/>
              <a:gd name="connsiteY208" fmla="*/ 137424 h 608697"/>
              <a:gd name="connsiteX209" fmla="*/ 157358 w 609614"/>
              <a:gd name="connsiteY209" fmla="*/ 137424 h 608697"/>
              <a:gd name="connsiteX210" fmla="*/ 157358 w 609614"/>
              <a:gd name="connsiteY210" fmla="*/ 196333 h 608697"/>
              <a:gd name="connsiteX211" fmla="*/ 176994 w 609614"/>
              <a:gd name="connsiteY211" fmla="*/ 196333 h 608697"/>
              <a:gd name="connsiteX212" fmla="*/ 176994 w 609614"/>
              <a:gd name="connsiteY212" fmla="*/ 216031 h 608697"/>
              <a:gd name="connsiteX213" fmla="*/ 157358 w 609614"/>
              <a:gd name="connsiteY213" fmla="*/ 216031 h 608697"/>
              <a:gd name="connsiteX214" fmla="*/ 157358 w 609614"/>
              <a:gd name="connsiteY214" fmla="*/ 235637 h 608697"/>
              <a:gd name="connsiteX215" fmla="*/ 78633 w 609614"/>
              <a:gd name="connsiteY215" fmla="*/ 235637 h 608697"/>
              <a:gd name="connsiteX216" fmla="*/ 78633 w 609614"/>
              <a:gd name="connsiteY216" fmla="*/ 392758 h 608697"/>
              <a:gd name="connsiteX217" fmla="*/ 157358 w 609614"/>
              <a:gd name="connsiteY217" fmla="*/ 392758 h 608697"/>
              <a:gd name="connsiteX218" fmla="*/ 157358 w 609614"/>
              <a:gd name="connsiteY218" fmla="*/ 422213 h 608697"/>
              <a:gd name="connsiteX219" fmla="*/ 176994 w 609614"/>
              <a:gd name="connsiteY219" fmla="*/ 422213 h 608697"/>
              <a:gd name="connsiteX220" fmla="*/ 176994 w 609614"/>
              <a:gd name="connsiteY220" fmla="*/ 441818 h 608697"/>
              <a:gd name="connsiteX221" fmla="*/ 157358 w 609614"/>
              <a:gd name="connsiteY221" fmla="*/ 441818 h 608697"/>
              <a:gd name="connsiteX222" fmla="*/ 157358 w 609614"/>
              <a:gd name="connsiteY222" fmla="*/ 471273 h 608697"/>
              <a:gd name="connsiteX223" fmla="*/ 78633 w 609614"/>
              <a:gd name="connsiteY223" fmla="*/ 471273 h 608697"/>
              <a:gd name="connsiteX224" fmla="*/ 78633 w 609614"/>
              <a:gd name="connsiteY224" fmla="*/ 589091 h 608697"/>
              <a:gd name="connsiteX225" fmla="*/ 589979 w 609614"/>
              <a:gd name="connsiteY225" fmla="*/ 589091 h 608697"/>
              <a:gd name="connsiteX226" fmla="*/ 589979 w 609614"/>
              <a:gd name="connsiteY226" fmla="*/ 19606 h 608697"/>
              <a:gd name="connsiteX227" fmla="*/ 113940 w 609614"/>
              <a:gd name="connsiteY227" fmla="*/ 0 h 608697"/>
              <a:gd name="connsiteX228" fmla="*/ 609614 w 609614"/>
              <a:gd name="connsiteY228" fmla="*/ 0 h 608697"/>
              <a:gd name="connsiteX229" fmla="*/ 609614 w 609614"/>
              <a:gd name="connsiteY229" fmla="*/ 608697 h 608697"/>
              <a:gd name="connsiteX230" fmla="*/ 58998 w 609614"/>
              <a:gd name="connsiteY230" fmla="*/ 608697 h 608697"/>
              <a:gd name="connsiteX231" fmla="*/ 58998 w 609614"/>
              <a:gd name="connsiteY231" fmla="*/ 471273 h 608697"/>
              <a:gd name="connsiteX232" fmla="*/ 0 w 609614"/>
              <a:gd name="connsiteY232" fmla="*/ 471273 h 608697"/>
              <a:gd name="connsiteX233" fmla="*/ 0 w 609614"/>
              <a:gd name="connsiteY233" fmla="*/ 392758 h 608697"/>
              <a:gd name="connsiteX234" fmla="*/ 58998 w 609614"/>
              <a:gd name="connsiteY234" fmla="*/ 392758 h 608697"/>
              <a:gd name="connsiteX235" fmla="*/ 58998 w 609614"/>
              <a:gd name="connsiteY235" fmla="*/ 235637 h 608697"/>
              <a:gd name="connsiteX236" fmla="*/ 0 w 609614"/>
              <a:gd name="connsiteY236" fmla="*/ 235637 h 608697"/>
              <a:gd name="connsiteX237" fmla="*/ 0 w 609614"/>
              <a:gd name="connsiteY237" fmla="*/ 98213 h 608697"/>
              <a:gd name="connsiteX238" fmla="*/ 58998 w 609614"/>
              <a:gd name="connsiteY238" fmla="*/ 98213 h 608697"/>
              <a:gd name="connsiteX239" fmla="*/ 58998 w 609614"/>
              <a:gd name="connsiteY239" fmla="*/ 54859 h 6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</a:cxnLst>
            <a:rect l="l" t="t" r="r" b="b"/>
            <a:pathLst>
              <a:path w="609614" h="608697">
                <a:moveTo>
                  <a:pt x="235971" y="510552"/>
                </a:moveTo>
                <a:cubicBezTo>
                  <a:pt x="225089" y="510552"/>
                  <a:pt x="216329" y="519296"/>
                  <a:pt x="216329" y="530158"/>
                </a:cubicBezTo>
                <a:cubicBezTo>
                  <a:pt x="216329" y="541020"/>
                  <a:pt x="225089" y="549764"/>
                  <a:pt x="235971" y="549764"/>
                </a:cubicBezTo>
                <a:cubicBezTo>
                  <a:pt x="246852" y="549764"/>
                  <a:pt x="255612" y="541020"/>
                  <a:pt x="255612" y="530158"/>
                </a:cubicBezTo>
                <a:cubicBezTo>
                  <a:pt x="255612" y="519296"/>
                  <a:pt x="246852" y="510552"/>
                  <a:pt x="235971" y="510552"/>
                </a:cubicBezTo>
                <a:close/>
                <a:moveTo>
                  <a:pt x="137627" y="510552"/>
                </a:moveTo>
                <a:cubicBezTo>
                  <a:pt x="126845" y="510552"/>
                  <a:pt x="117997" y="519296"/>
                  <a:pt x="117997" y="530158"/>
                </a:cubicBezTo>
                <a:cubicBezTo>
                  <a:pt x="117997" y="541020"/>
                  <a:pt x="126845" y="549764"/>
                  <a:pt x="137627" y="549764"/>
                </a:cubicBezTo>
                <a:cubicBezTo>
                  <a:pt x="148501" y="549764"/>
                  <a:pt x="157349" y="541020"/>
                  <a:pt x="157349" y="530158"/>
                </a:cubicBezTo>
                <a:cubicBezTo>
                  <a:pt x="157349" y="519296"/>
                  <a:pt x="148501" y="510552"/>
                  <a:pt x="137627" y="510552"/>
                </a:cubicBezTo>
                <a:close/>
                <a:moveTo>
                  <a:pt x="235971" y="490853"/>
                </a:moveTo>
                <a:cubicBezTo>
                  <a:pt x="257641" y="490853"/>
                  <a:pt x="275346" y="508526"/>
                  <a:pt x="275346" y="530158"/>
                </a:cubicBezTo>
                <a:cubicBezTo>
                  <a:pt x="275346" y="551790"/>
                  <a:pt x="257641" y="569463"/>
                  <a:pt x="235971" y="569463"/>
                </a:cubicBezTo>
                <a:cubicBezTo>
                  <a:pt x="214300" y="569463"/>
                  <a:pt x="196595" y="551790"/>
                  <a:pt x="196595" y="530158"/>
                </a:cubicBezTo>
                <a:cubicBezTo>
                  <a:pt x="196595" y="508526"/>
                  <a:pt x="214300" y="490853"/>
                  <a:pt x="235971" y="490853"/>
                </a:cubicBezTo>
                <a:close/>
                <a:moveTo>
                  <a:pt x="137627" y="490853"/>
                </a:moveTo>
                <a:cubicBezTo>
                  <a:pt x="159376" y="490853"/>
                  <a:pt x="176978" y="508526"/>
                  <a:pt x="176978" y="530158"/>
                </a:cubicBezTo>
                <a:cubicBezTo>
                  <a:pt x="176978" y="551790"/>
                  <a:pt x="159376" y="569463"/>
                  <a:pt x="137627" y="569463"/>
                </a:cubicBezTo>
                <a:cubicBezTo>
                  <a:pt x="115970" y="569463"/>
                  <a:pt x="98368" y="551790"/>
                  <a:pt x="98368" y="530158"/>
                </a:cubicBezTo>
                <a:cubicBezTo>
                  <a:pt x="98368" y="508526"/>
                  <a:pt x="115970" y="490853"/>
                  <a:pt x="137627" y="490853"/>
                </a:cubicBezTo>
                <a:close/>
                <a:moveTo>
                  <a:pt x="294963" y="412384"/>
                </a:moveTo>
                <a:lnTo>
                  <a:pt x="314651" y="412384"/>
                </a:lnTo>
                <a:lnTo>
                  <a:pt x="314651" y="451689"/>
                </a:lnTo>
                <a:lnTo>
                  <a:pt x="294963" y="451689"/>
                </a:lnTo>
                <a:close/>
                <a:moveTo>
                  <a:pt x="255588" y="412384"/>
                </a:moveTo>
                <a:lnTo>
                  <a:pt x="275346" y="412384"/>
                </a:lnTo>
                <a:lnTo>
                  <a:pt x="275346" y="451689"/>
                </a:lnTo>
                <a:lnTo>
                  <a:pt x="255588" y="451689"/>
                </a:lnTo>
                <a:close/>
                <a:moveTo>
                  <a:pt x="216353" y="412384"/>
                </a:moveTo>
                <a:lnTo>
                  <a:pt x="235970" y="412384"/>
                </a:lnTo>
                <a:lnTo>
                  <a:pt x="235970" y="451689"/>
                </a:lnTo>
                <a:lnTo>
                  <a:pt x="216353" y="451689"/>
                </a:lnTo>
                <a:close/>
                <a:moveTo>
                  <a:pt x="19635" y="412364"/>
                </a:moveTo>
                <a:lnTo>
                  <a:pt x="19635" y="451667"/>
                </a:lnTo>
                <a:lnTo>
                  <a:pt x="137631" y="451667"/>
                </a:lnTo>
                <a:lnTo>
                  <a:pt x="137631" y="412364"/>
                </a:lnTo>
                <a:close/>
                <a:moveTo>
                  <a:pt x="137616" y="304423"/>
                </a:moveTo>
                <a:lnTo>
                  <a:pt x="137616" y="324032"/>
                </a:lnTo>
                <a:lnTo>
                  <a:pt x="235956" y="324032"/>
                </a:lnTo>
                <a:lnTo>
                  <a:pt x="235956" y="304423"/>
                </a:lnTo>
                <a:close/>
                <a:moveTo>
                  <a:pt x="137616" y="265114"/>
                </a:moveTo>
                <a:lnTo>
                  <a:pt x="157339" y="265114"/>
                </a:lnTo>
                <a:lnTo>
                  <a:pt x="157339" y="284723"/>
                </a:lnTo>
                <a:lnTo>
                  <a:pt x="176970" y="284723"/>
                </a:lnTo>
                <a:lnTo>
                  <a:pt x="176970" y="265114"/>
                </a:lnTo>
                <a:lnTo>
                  <a:pt x="196602" y="265114"/>
                </a:lnTo>
                <a:lnTo>
                  <a:pt x="196602" y="284723"/>
                </a:lnTo>
                <a:lnTo>
                  <a:pt x="216325" y="284723"/>
                </a:lnTo>
                <a:lnTo>
                  <a:pt x="216325" y="265114"/>
                </a:lnTo>
                <a:lnTo>
                  <a:pt x="235956" y="265114"/>
                </a:lnTo>
                <a:lnTo>
                  <a:pt x="235956" y="284723"/>
                </a:lnTo>
                <a:lnTo>
                  <a:pt x="255587" y="284723"/>
                </a:lnTo>
                <a:lnTo>
                  <a:pt x="255587" y="343640"/>
                </a:lnTo>
                <a:lnTo>
                  <a:pt x="235956" y="343640"/>
                </a:lnTo>
                <a:lnTo>
                  <a:pt x="235956" y="363341"/>
                </a:lnTo>
                <a:lnTo>
                  <a:pt x="216325" y="363341"/>
                </a:lnTo>
                <a:lnTo>
                  <a:pt x="216325" y="343640"/>
                </a:lnTo>
                <a:lnTo>
                  <a:pt x="196602" y="343640"/>
                </a:lnTo>
                <a:lnTo>
                  <a:pt x="196602" y="363341"/>
                </a:lnTo>
                <a:lnTo>
                  <a:pt x="176970" y="363341"/>
                </a:lnTo>
                <a:lnTo>
                  <a:pt x="176970" y="343640"/>
                </a:lnTo>
                <a:lnTo>
                  <a:pt x="157339" y="343640"/>
                </a:lnTo>
                <a:lnTo>
                  <a:pt x="157339" y="363341"/>
                </a:lnTo>
                <a:lnTo>
                  <a:pt x="137616" y="363341"/>
                </a:lnTo>
                <a:lnTo>
                  <a:pt x="137616" y="343640"/>
                </a:lnTo>
                <a:lnTo>
                  <a:pt x="117985" y="343640"/>
                </a:lnTo>
                <a:lnTo>
                  <a:pt x="117985" y="284723"/>
                </a:lnTo>
                <a:lnTo>
                  <a:pt x="137616" y="284723"/>
                </a:lnTo>
                <a:close/>
                <a:moveTo>
                  <a:pt x="255618" y="196306"/>
                </a:moveTo>
                <a:lnTo>
                  <a:pt x="255618" y="216008"/>
                </a:lnTo>
                <a:lnTo>
                  <a:pt x="295004" y="216008"/>
                </a:lnTo>
                <a:lnTo>
                  <a:pt x="295004" y="196306"/>
                </a:lnTo>
                <a:close/>
                <a:moveTo>
                  <a:pt x="235971" y="176696"/>
                </a:moveTo>
                <a:lnTo>
                  <a:pt x="314651" y="176696"/>
                </a:lnTo>
                <a:lnTo>
                  <a:pt x="314651" y="235618"/>
                </a:lnTo>
                <a:lnTo>
                  <a:pt x="235971" y="235618"/>
                </a:lnTo>
                <a:close/>
                <a:moveTo>
                  <a:pt x="19635" y="117818"/>
                </a:moveTo>
                <a:lnTo>
                  <a:pt x="19635" y="216031"/>
                </a:lnTo>
                <a:lnTo>
                  <a:pt x="137631" y="216031"/>
                </a:lnTo>
                <a:lnTo>
                  <a:pt x="137631" y="117818"/>
                </a:lnTo>
                <a:close/>
                <a:moveTo>
                  <a:pt x="255618" y="98241"/>
                </a:moveTo>
                <a:lnTo>
                  <a:pt x="255618" y="117851"/>
                </a:lnTo>
                <a:lnTo>
                  <a:pt x="295004" y="117851"/>
                </a:lnTo>
                <a:lnTo>
                  <a:pt x="295004" y="98241"/>
                </a:lnTo>
                <a:close/>
                <a:moveTo>
                  <a:pt x="442480" y="98227"/>
                </a:moveTo>
                <a:cubicBezTo>
                  <a:pt x="447917" y="98227"/>
                  <a:pt x="452324" y="102619"/>
                  <a:pt x="452324" y="108036"/>
                </a:cubicBezTo>
                <a:cubicBezTo>
                  <a:pt x="452324" y="113453"/>
                  <a:pt x="447917" y="117845"/>
                  <a:pt x="442480" y="117845"/>
                </a:cubicBezTo>
                <a:cubicBezTo>
                  <a:pt x="437043" y="117845"/>
                  <a:pt x="432636" y="113453"/>
                  <a:pt x="432636" y="108036"/>
                </a:cubicBezTo>
                <a:cubicBezTo>
                  <a:pt x="432636" y="102619"/>
                  <a:pt x="437043" y="98227"/>
                  <a:pt x="442480" y="98227"/>
                </a:cubicBezTo>
                <a:close/>
                <a:moveTo>
                  <a:pt x="235971" y="78539"/>
                </a:moveTo>
                <a:lnTo>
                  <a:pt x="314651" y="78539"/>
                </a:lnTo>
                <a:lnTo>
                  <a:pt x="314651" y="137461"/>
                </a:lnTo>
                <a:lnTo>
                  <a:pt x="235971" y="137461"/>
                </a:lnTo>
                <a:close/>
                <a:moveTo>
                  <a:pt x="393331" y="78527"/>
                </a:moveTo>
                <a:lnTo>
                  <a:pt x="393331" y="530170"/>
                </a:lnTo>
                <a:lnTo>
                  <a:pt x="491629" y="530170"/>
                </a:lnTo>
                <a:lnTo>
                  <a:pt x="491629" y="78527"/>
                </a:lnTo>
                <a:close/>
                <a:moveTo>
                  <a:pt x="373597" y="58922"/>
                </a:moveTo>
                <a:lnTo>
                  <a:pt x="511363" y="58922"/>
                </a:lnTo>
                <a:lnTo>
                  <a:pt x="511363" y="78527"/>
                </a:lnTo>
                <a:lnTo>
                  <a:pt x="531004" y="78527"/>
                </a:lnTo>
                <a:lnTo>
                  <a:pt x="531004" y="98223"/>
                </a:lnTo>
                <a:lnTo>
                  <a:pt x="511363" y="98223"/>
                </a:lnTo>
                <a:lnTo>
                  <a:pt x="511363" y="117828"/>
                </a:lnTo>
                <a:lnTo>
                  <a:pt x="531004" y="117828"/>
                </a:lnTo>
                <a:lnTo>
                  <a:pt x="531004" y="137433"/>
                </a:lnTo>
                <a:lnTo>
                  <a:pt x="511363" y="137433"/>
                </a:lnTo>
                <a:lnTo>
                  <a:pt x="511363" y="157129"/>
                </a:lnTo>
                <a:lnTo>
                  <a:pt x="531004" y="157129"/>
                </a:lnTo>
                <a:lnTo>
                  <a:pt x="531004" y="176734"/>
                </a:lnTo>
                <a:lnTo>
                  <a:pt x="511363" y="176734"/>
                </a:lnTo>
                <a:lnTo>
                  <a:pt x="511363" y="196339"/>
                </a:lnTo>
                <a:lnTo>
                  <a:pt x="531004" y="196339"/>
                </a:lnTo>
                <a:lnTo>
                  <a:pt x="531004" y="216035"/>
                </a:lnTo>
                <a:lnTo>
                  <a:pt x="511363" y="216035"/>
                </a:lnTo>
                <a:lnTo>
                  <a:pt x="511363" y="235640"/>
                </a:lnTo>
                <a:lnTo>
                  <a:pt x="531004" y="235640"/>
                </a:lnTo>
                <a:lnTo>
                  <a:pt x="531004" y="255245"/>
                </a:lnTo>
                <a:lnTo>
                  <a:pt x="511363" y="255245"/>
                </a:lnTo>
                <a:lnTo>
                  <a:pt x="511363" y="274942"/>
                </a:lnTo>
                <a:lnTo>
                  <a:pt x="531004" y="274942"/>
                </a:lnTo>
                <a:lnTo>
                  <a:pt x="531004" y="294546"/>
                </a:lnTo>
                <a:lnTo>
                  <a:pt x="511363" y="294546"/>
                </a:lnTo>
                <a:lnTo>
                  <a:pt x="511363" y="314151"/>
                </a:lnTo>
                <a:lnTo>
                  <a:pt x="531004" y="314151"/>
                </a:lnTo>
                <a:lnTo>
                  <a:pt x="531004" y="333848"/>
                </a:lnTo>
                <a:lnTo>
                  <a:pt x="511363" y="333848"/>
                </a:lnTo>
                <a:lnTo>
                  <a:pt x="511363" y="353452"/>
                </a:lnTo>
                <a:lnTo>
                  <a:pt x="531004" y="353452"/>
                </a:lnTo>
                <a:lnTo>
                  <a:pt x="531004" y="373057"/>
                </a:lnTo>
                <a:lnTo>
                  <a:pt x="511363" y="373057"/>
                </a:lnTo>
                <a:lnTo>
                  <a:pt x="511363" y="392754"/>
                </a:lnTo>
                <a:lnTo>
                  <a:pt x="531004" y="392754"/>
                </a:lnTo>
                <a:lnTo>
                  <a:pt x="531004" y="412358"/>
                </a:lnTo>
                <a:lnTo>
                  <a:pt x="511363" y="412358"/>
                </a:lnTo>
                <a:lnTo>
                  <a:pt x="511363" y="431963"/>
                </a:lnTo>
                <a:lnTo>
                  <a:pt x="531004" y="431963"/>
                </a:lnTo>
                <a:lnTo>
                  <a:pt x="531004" y="451660"/>
                </a:lnTo>
                <a:lnTo>
                  <a:pt x="511363" y="451660"/>
                </a:lnTo>
                <a:lnTo>
                  <a:pt x="511363" y="471264"/>
                </a:lnTo>
                <a:lnTo>
                  <a:pt x="531004" y="471264"/>
                </a:lnTo>
                <a:lnTo>
                  <a:pt x="531004" y="490869"/>
                </a:lnTo>
                <a:lnTo>
                  <a:pt x="511363" y="490869"/>
                </a:lnTo>
                <a:lnTo>
                  <a:pt x="511363" y="510566"/>
                </a:lnTo>
                <a:lnTo>
                  <a:pt x="531004" y="510566"/>
                </a:lnTo>
                <a:lnTo>
                  <a:pt x="531004" y="530170"/>
                </a:lnTo>
                <a:lnTo>
                  <a:pt x="511363" y="530170"/>
                </a:lnTo>
                <a:lnTo>
                  <a:pt x="511363" y="549775"/>
                </a:lnTo>
                <a:lnTo>
                  <a:pt x="373597" y="549775"/>
                </a:lnTo>
                <a:lnTo>
                  <a:pt x="373597" y="530170"/>
                </a:lnTo>
                <a:lnTo>
                  <a:pt x="353956" y="530170"/>
                </a:lnTo>
                <a:lnTo>
                  <a:pt x="353956" y="510566"/>
                </a:lnTo>
                <a:lnTo>
                  <a:pt x="373597" y="510566"/>
                </a:lnTo>
                <a:lnTo>
                  <a:pt x="373597" y="490869"/>
                </a:lnTo>
                <a:lnTo>
                  <a:pt x="353956" y="490869"/>
                </a:lnTo>
                <a:lnTo>
                  <a:pt x="353956" y="471264"/>
                </a:lnTo>
                <a:lnTo>
                  <a:pt x="373597" y="471264"/>
                </a:lnTo>
                <a:lnTo>
                  <a:pt x="373597" y="451660"/>
                </a:lnTo>
                <a:lnTo>
                  <a:pt x="353956" y="451660"/>
                </a:lnTo>
                <a:lnTo>
                  <a:pt x="353956" y="431963"/>
                </a:lnTo>
                <a:lnTo>
                  <a:pt x="373597" y="431963"/>
                </a:lnTo>
                <a:lnTo>
                  <a:pt x="373597" y="412358"/>
                </a:lnTo>
                <a:lnTo>
                  <a:pt x="353956" y="412358"/>
                </a:lnTo>
                <a:lnTo>
                  <a:pt x="353956" y="392754"/>
                </a:lnTo>
                <a:lnTo>
                  <a:pt x="373597" y="392754"/>
                </a:lnTo>
                <a:lnTo>
                  <a:pt x="373597" y="373057"/>
                </a:lnTo>
                <a:lnTo>
                  <a:pt x="353956" y="373057"/>
                </a:lnTo>
                <a:lnTo>
                  <a:pt x="353956" y="353452"/>
                </a:lnTo>
                <a:lnTo>
                  <a:pt x="373597" y="353452"/>
                </a:lnTo>
                <a:lnTo>
                  <a:pt x="373597" y="333848"/>
                </a:lnTo>
                <a:lnTo>
                  <a:pt x="353956" y="333848"/>
                </a:lnTo>
                <a:lnTo>
                  <a:pt x="353956" y="314151"/>
                </a:lnTo>
                <a:lnTo>
                  <a:pt x="373597" y="314151"/>
                </a:lnTo>
                <a:lnTo>
                  <a:pt x="373597" y="294546"/>
                </a:lnTo>
                <a:lnTo>
                  <a:pt x="353956" y="294546"/>
                </a:lnTo>
                <a:lnTo>
                  <a:pt x="353956" y="274942"/>
                </a:lnTo>
                <a:lnTo>
                  <a:pt x="373597" y="274942"/>
                </a:lnTo>
                <a:lnTo>
                  <a:pt x="373597" y="255245"/>
                </a:lnTo>
                <a:lnTo>
                  <a:pt x="353956" y="255245"/>
                </a:lnTo>
                <a:lnTo>
                  <a:pt x="353956" y="235640"/>
                </a:lnTo>
                <a:lnTo>
                  <a:pt x="373597" y="235640"/>
                </a:lnTo>
                <a:lnTo>
                  <a:pt x="373597" y="216035"/>
                </a:lnTo>
                <a:lnTo>
                  <a:pt x="353956" y="216035"/>
                </a:lnTo>
                <a:lnTo>
                  <a:pt x="353956" y="196339"/>
                </a:lnTo>
                <a:lnTo>
                  <a:pt x="373597" y="196339"/>
                </a:lnTo>
                <a:lnTo>
                  <a:pt x="373597" y="176734"/>
                </a:lnTo>
                <a:lnTo>
                  <a:pt x="353956" y="176734"/>
                </a:lnTo>
                <a:lnTo>
                  <a:pt x="353956" y="157129"/>
                </a:lnTo>
                <a:lnTo>
                  <a:pt x="373597" y="157129"/>
                </a:lnTo>
                <a:lnTo>
                  <a:pt x="373597" y="137433"/>
                </a:lnTo>
                <a:lnTo>
                  <a:pt x="353956" y="137433"/>
                </a:lnTo>
                <a:lnTo>
                  <a:pt x="353956" y="117828"/>
                </a:lnTo>
                <a:lnTo>
                  <a:pt x="373597" y="117828"/>
                </a:lnTo>
                <a:lnTo>
                  <a:pt x="373597" y="98223"/>
                </a:lnTo>
                <a:lnTo>
                  <a:pt x="353956" y="98223"/>
                </a:lnTo>
                <a:lnTo>
                  <a:pt x="353956" y="78527"/>
                </a:lnTo>
                <a:lnTo>
                  <a:pt x="373597" y="78527"/>
                </a:lnTo>
                <a:close/>
                <a:moveTo>
                  <a:pt x="117985" y="49043"/>
                </a:moveTo>
                <a:cubicBezTo>
                  <a:pt x="123441" y="49043"/>
                  <a:pt x="127864" y="53450"/>
                  <a:pt x="127864" y="58887"/>
                </a:cubicBezTo>
                <a:cubicBezTo>
                  <a:pt x="127864" y="64324"/>
                  <a:pt x="123441" y="68731"/>
                  <a:pt x="117985" y="68731"/>
                </a:cubicBezTo>
                <a:cubicBezTo>
                  <a:pt x="112529" y="68731"/>
                  <a:pt x="108106" y="64324"/>
                  <a:pt x="108106" y="58887"/>
                </a:cubicBezTo>
                <a:cubicBezTo>
                  <a:pt x="108106" y="53450"/>
                  <a:pt x="112529" y="49043"/>
                  <a:pt x="117985" y="49043"/>
                </a:cubicBezTo>
                <a:close/>
                <a:moveTo>
                  <a:pt x="122052" y="19606"/>
                </a:moveTo>
                <a:lnTo>
                  <a:pt x="78633" y="62959"/>
                </a:lnTo>
                <a:lnTo>
                  <a:pt x="78633" y="98213"/>
                </a:lnTo>
                <a:lnTo>
                  <a:pt x="157358" y="98213"/>
                </a:lnTo>
                <a:lnTo>
                  <a:pt x="157358" y="117818"/>
                </a:lnTo>
                <a:lnTo>
                  <a:pt x="176994" y="117818"/>
                </a:lnTo>
                <a:lnTo>
                  <a:pt x="176994" y="137424"/>
                </a:lnTo>
                <a:lnTo>
                  <a:pt x="157358" y="137424"/>
                </a:lnTo>
                <a:lnTo>
                  <a:pt x="157358" y="196333"/>
                </a:lnTo>
                <a:lnTo>
                  <a:pt x="176994" y="196333"/>
                </a:lnTo>
                <a:lnTo>
                  <a:pt x="176994" y="216031"/>
                </a:lnTo>
                <a:lnTo>
                  <a:pt x="157358" y="216031"/>
                </a:lnTo>
                <a:lnTo>
                  <a:pt x="157358" y="235637"/>
                </a:lnTo>
                <a:lnTo>
                  <a:pt x="78633" y="235637"/>
                </a:lnTo>
                <a:lnTo>
                  <a:pt x="78633" y="392758"/>
                </a:lnTo>
                <a:lnTo>
                  <a:pt x="157358" y="392758"/>
                </a:lnTo>
                <a:lnTo>
                  <a:pt x="157358" y="422213"/>
                </a:lnTo>
                <a:lnTo>
                  <a:pt x="176994" y="422213"/>
                </a:lnTo>
                <a:lnTo>
                  <a:pt x="176994" y="441818"/>
                </a:lnTo>
                <a:lnTo>
                  <a:pt x="157358" y="441818"/>
                </a:lnTo>
                <a:lnTo>
                  <a:pt x="157358" y="471273"/>
                </a:lnTo>
                <a:lnTo>
                  <a:pt x="78633" y="471273"/>
                </a:lnTo>
                <a:lnTo>
                  <a:pt x="78633" y="589091"/>
                </a:lnTo>
                <a:lnTo>
                  <a:pt x="589979" y="589091"/>
                </a:lnTo>
                <a:lnTo>
                  <a:pt x="589979" y="19606"/>
                </a:lnTo>
                <a:close/>
                <a:moveTo>
                  <a:pt x="113940" y="0"/>
                </a:moveTo>
                <a:lnTo>
                  <a:pt x="609614" y="0"/>
                </a:lnTo>
                <a:lnTo>
                  <a:pt x="609614" y="608697"/>
                </a:lnTo>
                <a:lnTo>
                  <a:pt x="58998" y="608697"/>
                </a:lnTo>
                <a:lnTo>
                  <a:pt x="58998" y="471273"/>
                </a:lnTo>
                <a:lnTo>
                  <a:pt x="0" y="471273"/>
                </a:lnTo>
                <a:lnTo>
                  <a:pt x="0" y="392758"/>
                </a:lnTo>
                <a:lnTo>
                  <a:pt x="58998" y="392758"/>
                </a:lnTo>
                <a:lnTo>
                  <a:pt x="58998" y="235637"/>
                </a:lnTo>
                <a:lnTo>
                  <a:pt x="0" y="235637"/>
                </a:lnTo>
                <a:lnTo>
                  <a:pt x="0" y="98213"/>
                </a:lnTo>
                <a:lnTo>
                  <a:pt x="58998" y="98213"/>
                </a:lnTo>
                <a:lnTo>
                  <a:pt x="58998" y="548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4" name="iconfont-11117-5233437">
            <a:extLst>
              <a:ext uri="{FF2B5EF4-FFF2-40B4-BE49-F238E27FC236}">
                <a16:creationId xmlns:a16="http://schemas.microsoft.com/office/drawing/2014/main" id="{F4BEFAF8-5A18-4C17-924C-0E56E8384C15}"/>
              </a:ext>
            </a:extLst>
          </p:cNvPr>
          <p:cNvSpPr/>
          <p:nvPr/>
        </p:nvSpPr>
        <p:spPr>
          <a:xfrm>
            <a:off x="9887425" y="1546883"/>
            <a:ext cx="228601" cy="225304"/>
          </a:xfrm>
          <a:custGeom>
            <a:avLst/>
            <a:gdLst>
              <a:gd name="connsiteX0" fmla="*/ 8648 w 401840"/>
              <a:gd name="connsiteY0" fmla="*/ 378795 h 396046"/>
              <a:gd name="connsiteX1" fmla="*/ 23084 w 401840"/>
              <a:gd name="connsiteY1" fmla="*/ 378795 h 396046"/>
              <a:gd name="connsiteX2" fmla="*/ 23084 w 401840"/>
              <a:gd name="connsiteY2" fmla="*/ 380699 h 396046"/>
              <a:gd name="connsiteX3" fmla="*/ 31729 w 401840"/>
              <a:gd name="connsiteY3" fmla="*/ 389347 h 396046"/>
              <a:gd name="connsiteX4" fmla="*/ 40332 w 401840"/>
              <a:gd name="connsiteY4" fmla="*/ 380699 h 396046"/>
              <a:gd name="connsiteX5" fmla="*/ 40332 w 401840"/>
              <a:gd name="connsiteY5" fmla="*/ 378795 h 396046"/>
              <a:gd name="connsiteX6" fmla="*/ 365391 w 401840"/>
              <a:gd name="connsiteY6" fmla="*/ 378795 h 396046"/>
              <a:gd name="connsiteX7" fmla="*/ 365391 w 401840"/>
              <a:gd name="connsiteY7" fmla="*/ 379743 h 396046"/>
              <a:gd name="connsiteX8" fmla="*/ 373993 w 401840"/>
              <a:gd name="connsiteY8" fmla="*/ 388391 h 396046"/>
              <a:gd name="connsiteX9" fmla="*/ 384550 w 401840"/>
              <a:gd name="connsiteY9" fmla="*/ 380699 h 396046"/>
              <a:gd name="connsiteX10" fmla="*/ 384550 w 401840"/>
              <a:gd name="connsiteY10" fmla="*/ 378795 h 396046"/>
              <a:gd name="connsiteX11" fmla="*/ 393236 w 401840"/>
              <a:gd name="connsiteY11" fmla="*/ 378795 h 396046"/>
              <a:gd name="connsiteX12" fmla="*/ 401840 w 401840"/>
              <a:gd name="connsiteY12" fmla="*/ 387442 h 396046"/>
              <a:gd name="connsiteX13" fmla="*/ 394192 w 401840"/>
              <a:gd name="connsiteY13" fmla="*/ 396046 h 396046"/>
              <a:gd name="connsiteX14" fmla="*/ 8648 w 401840"/>
              <a:gd name="connsiteY14" fmla="*/ 396046 h 396046"/>
              <a:gd name="connsiteX15" fmla="*/ 0 w 401840"/>
              <a:gd name="connsiteY15" fmla="*/ 387442 h 396046"/>
              <a:gd name="connsiteX16" fmla="*/ 8648 w 401840"/>
              <a:gd name="connsiteY16" fmla="*/ 378795 h 396046"/>
              <a:gd name="connsiteX17" fmla="*/ 232100 w 401840"/>
              <a:gd name="connsiteY17" fmla="*/ 308789 h 396046"/>
              <a:gd name="connsiteX18" fmla="*/ 232100 w 401840"/>
              <a:gd name="connsiteY18" fmla="*/ 334688 h 396046"/>
              <a:gd name="connsiteX19" fmla="*/ 296372 w 401840"/>
              <a:gd name="connsiteY19" fmla="*/ 334688 h 396046"/>
              <a:gd name="connsiteX20" fmla="*/ 296372 w 401840"/>
              <a:gd name="connsiteY20" fmla="*/ 308789 h 396046"/>
              <a:gd name="connsiteX21" fmla="*/ 107424 w 401840"/>
              <a:gd name="connsiteY21" fmla="*/ 308789 h 396046"/>
              <a:gd name="connsiteX22" fmla="*/ 107424 w 401840"/>
              <a:gd name="connsiteY22" fmla="*/ 334688 h 396046"/>
              <a:gd name="connsiteX23" fmla="*/ 171695 w 401840"/>
              <a:gd name="connsiteY23" fmla="*/ 334688 h 396046"/>
              <a:gd name="connsiteX24" fmla="*/ 171695 w 401840"/>
              <a:gd name="connsiteY24" fmla="*/ 308789 h 396046"/>
              <a:gd name="connsiteX25" fmla="*/ 223452 w 401840"/>
              <a:gd name="connsiteY25" fmla="*/ 291538 h 396046"/>
              <a:gd name="connsiteX26" fmla="*/ 304976 w 401840"/>
              <a:gd name="connsiteY26" fmla="*/ 291538 h 396046"/>
              <a:gd name="connsiteX27" fmla="*/ 313624 w 401840"/>
              <a:gd name="connsiteY27" fmla="*/ 300142 h 396046"/>
              <a:gd name="connsiteX28" fmla="*/ 313624 w 401840"/>
              <a:gd name="connsiteY28" fmla="*/ 344292 h 396046"/>
              <a:gd name="connsiteX29" fmla="*/ 304976 w 401840"/>
              <a:gd name="connsiteY29" fmla="*/ 352896 h 396046"/>
              <a:gd name="connsiteX30" fmla="*/ 223452 w 401840"/>
              <a:gd name="connsiteY30" fmla="*/ 352896 h 396046"/>
              <a:gd name="connsiteX31" fmla="*/ 214847 w 401840"/>
              <a:gd name="connsiteY31" fmla="*/ 344292 h 396046"/>
              <a:gd name="connsiteX32" fmla="*/ 214847 w 401840"/>
              <a:gd name="connsiteY32" fmla="*/ 300142 h 396046"/>
              <a:gd name="connsiteX33" fmla="*/ 223452 w 401840"/>
              <a:gd name="connsiteY33" fmla="*/ 291538 h 396046"/>
              <a:gd name="connsiteX34" fmla="*/ 98776 w 401840"/>
              <a:gd name="connsiteY34" fmla="*/ 291538 h 396046"/>
              <a:gd name="connsiteX35" fmla="*/ 180300 w 401840"/>
              <a:gd name="connsiteY35" fmla="*/ 291538 h 396046"/>
              <a:gd name="connsiteX36" fmla="*/ 188948 w 401840"/>
              <a:gd name="connsiteY36" fmla="*/ 300142 h 396046"/>
              <a:gd name="connsiteX37" fmla="*/ 188948 w 401840"/>
              <a:gd name="connsiteY37" fmla="*/ 344292 h 396046"/>
              <a:gd name="connsiteX38" fmla="*/ 180300 w 401840"/>
              <a:gd name="connsiteY38" fmla="*/ 352896 h 396046"/>
              <a:gd name="connsiteX39" fmla="*/ 98776 w 401840"/>
              <a:gd name="connsiteY39" fmla="*/ 352896 h 396046"/>
              <a:gd name="connsiteX40" fmla="*/ 90171 w 401840"/>
              <a:gd name="connsiteY40" fmla="*/ 344292 h 396046"/>
              <a:gd name="connsiteX41" fmla="*/ 90171 w 401840"/>
              <a:gd name="connsiteY41" fmla="*/ 300142 h 396046"/>
              <a:gd name="connsiteX42" fmla="*/ 98776 w 401840"/>
              <a:gd name="connsiteY42" fmla="*/ 291538 h 396046"/>
              <a:gd name="connsiteX43" fmla="*/ 232100 w 401840"/>
              <a:gd name="connsiteY43" fmla="*/ 227268 h 396046"/>
              <a:gd name="connsiteX44" fmla="*/ 232100 w 401840"/>
              <a:gd name="connsiteY44" fmla="*/ 253167 h 396046"/>
              <a:gd name="connsiteX45" fmla="*/ 296372 w 401840"/>
              <a:gd name="connsiteY45" fmla="*/ 253167 h 396046"/>
              <a:gd name="connsiteX46" fmla="*/ 296372 w 401840"/>
              <a:gd name="connsiteY46" fmla="*/ 227268 h 396046"/>
              <a:gd name="connsiteX47" fmla="*/ 107424 w 401840"/>
              <a:gd name="connsiteY47" fmla="*/ 227268 h 396046"/>
              <a:gd name="connsiteX48" fmla="*/ 107424 w 401840"/>
              <a:gd name="connsiteY48" fmla="*/ 253167 h 396046"/>
              <a:gd name="connsiteX49" fmla="*/ 171695 w 401840"/>
              <a:gd name="connsiteY49" fmla="*/ 253167 h 396046"/>
              <a:gd name="connsiteX50" fmla="*/ 171695 w 401840"/>
              <a:gd name="connsiteY50" fmla="*/ 227268 h 396046"/>
              <a:gd name="connsiteX51" fmla="*/ 223452 w 401840"/>
              <a:gd name="connsiteY51" fmla="*/ 210017 h 396046"/>
              <a:gd name="connsiteX52" fmla="*/ 304976 w 401840"/>
              <a:gd name="connsiteY52" fmla="*/ 210017 h 396046"/>
              <a:gd name="connsiteX53" fmla="*/ 313624 w 401840"/>
              <a:gd name="connsiteY53" fmla="*/ 218664 h 396046"/>
              <a:gd name="connsiteX54" fmla="*/ 313624 w 401840"/>
              <a:gd name="connsiteY54" fmla="*/ 262771 h 396046"/>
              <a:gd name="connsiteX55" fmla="*/ 304976 w 401840"/>
              <a:gd name="connsiteY55" fmla="*/ 271375 h 396046"/>
              <a:gd name="connsiteX56" fmla="*/ 223452 w 401840"/>
              <a:gd name="connsiteY56" fmla="*/ 271375 h 396046"/>
              <a:gd name="connsiteX57" fmla="*/ 214847 w 401840"/>
              <a:gd name="connsiteY57" fmla="*/ 262771 h 396046"/>
              <a:gd name="connsiteX58" fmla="*/ 214847 w 401840"/>
              <a:gd name="connsiteY58" fmla="*/ 218664 h 396046"/>
              <a:gd name="connsiteX59" fmla="*/ 223452 w 401840"/>
              <a:gd name="connsiteY59" fmla="*/ 210017 h 396046"/>
              <a:gd name="connsiteX60" fmla="*/ 98776 w 401840"/>
              <a:gd name="connsiteY60" fmla="*/ 210017 h 396046"/>
              <a:gd name="connsiteX61" fmla="*/ 180300 w 401840"/>
              <a:gd name="connsiteY61" fmla="*/ 210017 h 396046"/>
              <a:gd name="connsiteX62" fmla="*/ 188948 w 401840"/>
              <a:gd name="connsiteY62" fmla="*/ 218664 h 396046"/>
              <a:gd name="connsiteX63" fmla="*/ 188948 w 401840"/>
              <a:gd name="connsiteY63" fmla="*/ 262771 h 396046"/>
              <a:gd name="connsiteX64" fmla="*/ 180300 w 401840"/>
              <a:gd name="connsiteY64" fmla="*/ 271375 h 396046"/>
              <a:gd name="connsiteX65" fmla="*/ 98776 w 401840"/>
              <a:gd name="connsiteY65" fmla="*/ 271375 h 396046"/>
              <a:gd name="connsiteX66" fmla="*/ 90171 w 401840"/>
              <a:gd name="connsiteY66" fmla="*/ 262771 h 396046"/>
              <a:gd name="connsiteX67" fmla="*/ 90171 w 401840"/>
              <a:gd name="connsiteY67" fmla="*/ 218664 h 396046"/>
              <a:gd name="connsiteX68" fmla="*/ 98776 w 401840"/>
              <a:gd name="connsiteY68" fmla="*/ 210017 h 396046"/>
              <a:gd name="connsiteX69" fmla="*/ 27863 w 401840"/>
              <a:gd name="connsiteY69" fmla="*/ 114072 h 396046"/>
              <a:gd name="connsiteX70" fmla="*/ 36508 w 401840"/>
              <a:gd name="connsiteY70" fmla="*/ 114072 h 396046"/>
              <a:gd name="connsiteX71" fmla="*/ 139083 w 401840"/>
              <a:gd name="connsiteY71" fmla="*/ 166833 h 396046"/>
              <a:gd name="connsiteX72" fmla="*/ 139083 w 401840"/>
              <a:gd name="connsiteY72" fmla="*/ 121765 h 396046"/>
              <a:gd name="connsiteX73" fmla="*/ 143906 w 401840"/>
              <a:gd name="connsiteY73" fmla="*/ 114072 h 396046"/>
              <a:gd name="connsiteX74" fmla="*/ 152508 w 401840"/>
              <a:gd name="connsiteY74" fmla="*/ 114072 h 396046"/>
              <a:gd name="connsiteX75" fmla="*/ 251259 w 401840"/>
              <a:gd name="connsiteY75" fmla="*/ 167789 h 396046"/>
              <a:gd name="connsiteX76" fmla="*/ 251259 w 401840"/>
              <a:gd name="connsiteY76" fmla="*/ 121765 h 396046"/>
              <a:gd name="connsiteX77" fmla="*/ 256082 w 401840"/>
              <a:gd name="connsiteY77" fmla="*/ 114072 h 396046"/>
              <a:gd name="connsiteX78" fmla="*/ 264684 w 401840"/>
              <a:gd name="connsiteY78" fmla="*/ 114072 h 396046"/>
              <a:gd name="connsiteX79" fmla="*/ 277229 w 401840"/>
              <a:gd name="connsiteY79" fmla="*/ 121287 h 396046"/>
              <a:gd name="connsiteX80" fmla="*/ 277164 w 401840"/>
              <a:gd name="connsiteY80" fmla="*/ 121804 h 396046"/>
              <a:gd name="connsiteX81" fmla="*/ 284856 w 401840"/>
              <a:gd name="connsiteY81" fmla="*/ 131364 h 396046"/>
              <a:gd name="connsiteX82" fmla="*/ 288994 w 401840"/>
              <a:gd name="connsiteY82" fmla="*/ 128053 h 396046"/>
              <a:gd name="connsiteX83" fmla="*/ 353879 w 401840"/>
              <a:gd name="connsiteY83" fmla="*/ 165370 h 396046"/>
              <a:gd name="connsiteX84" fmla="*/ 354864 w 401840"/>
              <a:gd name="connsiteY84" fmla="*/ 175470 h 396046"/>
              <a:gd name="connsiteX85" fmla="*/ 363468 w 401840"/>
              <a:gd name="connsiteY85" fmla="*/ 184118 h 396046"/>
              <a:gd name="connsiteX86" fmla="*/ 371869 w 401840"/>
              <a:gd name="connsiteY86" fmla="*/ 175717 h 396046"/>
              <a:gd name="connsiteX87" fmla="*/ 379771 w 401840"/>
              <a:gd name="connsiteY87" fmla="*/ 180262 h 396046"/>
              <a:gd name="connsiteX88" fmla="*/ 384550 w 401840"/>
              <a:gd name="connsiteY88" fmla="*/ 187911 h 396046"/>
              <a:gd name="connsiteX89" fmla="*/ 384550 w 401840"/>
              <a:gd name="connsiteY89" fmla="*/ 378795 h 396046"/>
              <a:gd name="connsiteX90" fmla="*/ 365391 w 401840"/>
              <a:gd name="connsiteY90" fmla="*/ 378795 h 396046"/>
              <a:gd name="connsiteX91" fmla="*/ 365391 w 401840"/>
              <a:gd name="connsiteY91" fmla="*/ 191779 h 396046"/>
              <a:gd name="connsiteX92" fmla="*/ 268550 w 401840"/>
              <a:gd name="connsiteY92" fmla="*/ 136150 h 396046"/>
              <a:gd name="connsiteX93" fmla="*/ 268550 w 401840"/>
              <a:gd name="connsiteY93" fmla="*/ 182174 h 396046"/>
              <a:gd name="connsiteX94" fmla="*/ 263728 w 401840"/>
              <a:gd name="connsiteY94" fmla="*/ 189823 h 396046"/>
              <a:gd name="connsiteX95" fmla="*/ 255126 w 401840"/>
              <a:gd name="connsiteY95" fmla="*/ 189823 h 396046"/>
              <a:gd name="connsiteX96" fmla="*/ 156331 w 401840"/>
              <a:gd name="connsiteY96" fmla="*/ 136150 h 396046"/>
              <a:gd name="connsiteX97" fmla="*/ 156331 w 401840"/>
              <a:gd name="connsiteY97" fmla="*/ 181218 h 396046"/>
              <a:gd name="connsiteX98" fmla="*/ 151552 w 401840"/>
              <a:gd name="connsiteY98" fmla="*/ 188867 h 396046"/>
              <a:gd name="connsiteX99" fmla="*/ 142950 w 401840"/>
              <a:gd name="connsiteY99" fmla="*/ 188867 h 396046"/>
              <a:gd name="connsiteX100" fmla="*/ 40332 w 401840"/>
              <a:gd name="connsiteY100" fmla="*/ 136150 h 396046"/>
              <a:gd name="connsiteX101" fmla="*/ 40332 w 401840"/>
              <a:gd name="connsiteY101" fmla="*/ 378795 h 396046"/>
              <a:gd name="connsiteX102" fmla="*/ 23084 w 401840"/>
              <a:gd name="connsiteY102" fmla="*/ 378795 h 396046"/>
              <a:gd name="connsiteX103" fmla="*/ 23084 w 401840"/>
              <a:gd name="connsiteY103" fmla="*/ 121765 h 396046"/>
              <a:gd name="connsiteX104" fmla="*/ 27863 w 401840"/>
              <a:gd name="connsiteY104" fmla="*/ 114072 h 396046"/>
              <a:gd name="connsiteX105" fmla="*/ 285436 w 401840"/>
              <a:gd name="connsiteY105" fmla="*/ 56157 h 396046"/>
              <a:gd name="connsiteX106" fmla="*/ 293475 w 401840"/>
              <a:gd name="connsiteY106" fmla="*/ 64182 h 396046"/>
              <a:gd name="connsiteX107" fmla="*/ 301993 w 401840"/>
              <a:gd name="connsiteY107" fmla="*/ 64182 h 396046"/>
              <a:gd name="connsiteX108" fmla="*/ 294416 w 401840"/>
              <a:gd name="connsiteY108" fmla="*/ 123716 h 396046"/>
              <a:gd name="connsiteX109" fmla="*/ 288994 w 401840"/>
              <a:gd name="connsiteY109" fmla="*/ 128053 h 396046"/>
              <a:gd name="connsiteX110" fmla="*/ 277229 w 401840"/>
              <a:gd name="connsiteY110" fmla="*/ 121287 h 396046"/>
              <a:gd name="connsiteX111" fmla="*/ 285596 w 401840"/>
              <a:gd name="connsiteY111" fmla="*/ 54888 h 396046"/>
              <a:gd name="connsiteX112" fmla="*/ 285436 w 401840"/>
              <a:gd name="connsiteY112" fmla="*/ 56157 h 396046"/>
              <a:gd name="connsiteX113" fmla="*/ 284882 w 401840"/>
              <a:gd name="connsiteY113" fmla="*/ 55604 h 396046"/>
              <a:gd name="connsiteX114" fmla="*/ 304182 w 401840"/>
              <a:gd name="connsiteY114" fmla="*/ 46982 h 396046"/>
              <a:gd name="connsiteX115" fmla="*/ 342331 w 401840"/>
              <a:gd name="connsiteY115" fmla="*/ 46982 h 396046"/>
              <a:gd name="connsiteX116" fmla="*/ 344008 w 401840"/>
              <a:gd name="connsiteY116" fmla="*/ 64182 h 396046"/>
              <a:gd name="connsiteX117" fmla="*/ 301993 w 401840"/>
              <a:gd name="connsiteY117" fmla="*/ 64182 h 396046"/>
              <a:gd name="connsiteX118" fmla="*/ 300196 w 401840"/>
              <a:gd name="connsiteY118" fmla="*/ 0 h 396046"/>
              <a:gd name="connsiteX119" fmla="*/ 348128 w 401840"/>
              <a:gd name="connsiteY119" fmla="*/ 0 h 396046"/>
              <a:gd name="connsiteX120" fmla="*/ 356776 w 401840"/>
              <a:gd name="connsiteY120" fmla="*/ 8604 h 396046"/>
              <a:gd name="connsiteX121" fmla="*/ 373072 w 401840"/>
              <a:gd name="connsiteY121" fmla="*/ 174514 h 396046"/>
              <a:gd name="connsiteX122" fmla="*/ 371869 w 401840"/>
              <a:gd name="connsiteY122" fmla="*/ 175717 h 396046"/>
              <a:gd name="connsiteX123" fmla="*/ 353879 w 401840"/>
              <a:gd name="connsiteY123" fmla="*/ 165370 h 396046"/>
              <a:gd name="connsiteX124" fmla="*/ 344008 w 401840"/>
              <a:gd name="connsiteY124" fmla="*/ 64182 h 396046"/>
              <a:gd name="connsiteX125" fmla="*/ 349028 w 401840"/>
              <a:gd name="connsiteY125" fmla="*/ 64182 h 396046"/>
              <a:gd name="connsiteX126" fmla="*/ 357664 w 401840"/>
              <a:gd name="connsiteY126" fmla="*/ 55604 h 396046"/>
              <a:gd name="connsiteX127" fmla="*/ 349028 w 401840"/>
              <a:gd name="connsiteY127" fmla="*/ 46982 h 396046"/>
              <a:gd name="connsiteX128" fmla="*/ 342331 w 401840"/>
              <a:gd name="connsiteY128" fmla="*/ 46982 h 396046"/>
              <a:gd name="connsiteX129" fmla="*/ 339524 w 401840"/>
              <a:gd name="connsiteY129" fmla="*/ 18207 h 396046"/>
              <a:gd name="connsiteX130" fmla="*/ 307844 w 401840"/>
              <a:gd name="connsiteY130" fmla="*/ 18207 h 396046"/>
              <a:gd name="connsiteX131" fmla="*/ 304182 w 401840"/>
              <a:gd name="connsiteY131" fmla="*/ 46982 h 396046"/>
              <a:gd name="connsiteX132" fmla="*/ 293475 w 401840"/>
              <a:gd name="connsiteY132" fmla="*/ 46982 h 396046"/>
              <a:gd name="connsiteX133" fmla="*/ 285596 w 401840"/>
              <a:gd name="connsiteY133" fmla="*/ 54888 h 396046"/>
              <a:gd name="connsiteX134" fmla="*/ 291548 w 401840"/>
              <a:gd name="connsiteY134" fmla="*/ 7648 h 396046"/>
              <a:gd name="connsiteX135" fmla="*/ 300196 w 401840"/>
              <a:gd name="connsiteY135" fmla="*/ 0 h 39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401840" h="396046">
                <a:moveTo>
                  <a:pt x="8648" y="378795"/>
                </a:moveTo>
                <a:lnTo>
                  <a:pt x="23084" y="378795"/>
                </a:lnTo>
                <a:lnTo>
                  <a:pt x="23084" y="380699"/>
                </a:lnTo>
                <a:cubicBezTo>
                  <a:pt x="23084" y="385523"/>
                  <a:pt x="26907" y="389347"/>
                  <a:pt x="31729" y="389347"/>
                </a:cubicBezTo>
                <a:cubicBezTo>
                  <a:pt x="36508" y="389347"/>
                  <a:pt x="40332" y="385523"/>
                  <a:pt x="40332" y="380699"/>
                </a:cubicBezTo>
                <a:lnTo>
                  <a:pt x="40332" y="378795"/>
                </a:lnTo>
                <a:lnTo>
                  <a:pt x="365391" y="378795"/>
                </a:lnTo>
                <a:lnTo>
                  <a:pt x="365391" y="379743"/>
                </a:lnTo>
                <a:cubicBezTo>
                  <a:pt x="365391" y="384523"/>
                  <a:pt x="369214" y="388391"/>
                  <a:pt x="373993" y="388391"/>
                </a:cubicBezTo>
                <a:cubicBezTo>
                  <a:pt x="379771" y="388391"/>
                  <a:pt x="383594" y="384523"/>
                  <a:pt x="384550" y="380699"/>
                </a:cubicBezTo>
                <a:lnTo>
                  <a:pt x="384550" y="378795"/>
                </a:lnTo>
                <a:lnTo>
                  <a:pt x="393236" y="378795"/>
                </a:lnTo>
                <a:cubicBezTo>
                  <a:pt x="398016" y="378795"/>
                  <a:pt x="401840" y="382619"/>
                  <a:pt x="401840" y="387442"/>
                </a:cubicBezTo>
                <a:cubicBezTo>
                  <a:pt x="401840" y="392222"/>
                  <a:pt x="398972" y="396046"/>
                  <a:pt x="394192" y="396046"/>
                </a:cubicBezTo>
                <a:lnTo>
                  <a:pt x="8648" y="396046"/>
                </a:lnTo>
                <a:cubicBezTo>
                  <a:pt x="3867" y="396046"/>
                  <a:pt x="0" y="392222"/>
                  <a:pt x="0" y="387442"/>
                </a:cubicBezTo>
                <a:cubicBezTo>
                  <a:pt x="0" y="382619"/>
                  <a:pt x="3867" y="378795"/>
                  <a:pt x="8648" y="378795"/>
                </a:cubicBezTo>
                <a:close/>
                <a:moveTo>
                  <a:pt x="232100" y="308789"/>
                </a:moveTo>
                <a:lnTo>
                  <a:pt x="232100" y="334688"/>
                </a:lnTo>
                <a:lnTo>
                  <a:pt x="296372" y="334688"/>
                </a:lnTo>
                <a:lnTo>
                  <a:pt x="296372" y="308789"/>
                </a:lnTo>
                <a:close/>
                <a:moveTo>
                  <a:pt x="107424" y="308789"/>
                </a:moveTo>
                <a:lnTo>
                  <a:pt x="107424" y="334688"/>
                </a:lnTo>
                <a:lnTo>
                  <a:pt x="171695" y="334688"/>
                </a:lnTo>
                <a:lnTo>
                  <a:pt x="171695" y="308789"/>
                </a:lnTo>
                <a:close/>
                <a:moveTo>
                  <a:pt x="223452" y="291538"/>
                </a:moveTo>
                <a:lnTo>
                  <a:pt x="304976" y="291538"/>
                </a:lnTo>
                <a:cubicBezTo>
                  <a:pt x="309800" y="291538"/>
                  <a:pt x="313624" y="295362"/>
                  <a:pt x="313624" y="300142"/>
                </a:cubicBezTo>
                <a:lnTo>
                  <a:pt x="313624" y="344292"/>
                </a:lnTo>
                <a:cubicBezTo>
                  <a:pt x="313624" y="349072"/>
                  <a:pt x="309800" y="352896"/>
                  <a:pt x="304976" y="352896"/>
                </a:cubicBezTo>
                <a:lnTo>
                  <a:pt x="223452" y="352896"/>
                </a:lnTo>
                <a:cubicBezTo>
                  <a:pt x="218672" y="352896"/>
                  <a:pt x="214847" y="349072"/>
                  <a:pt x="214847" y="344292"/>
                </a:cubicBezTo>
                <a:lnTo>
                  <a:pt x="214847" y="300142"/>
                </a:lnTo>
                <a:cubicBezTo>
                  <a:pt x="214847" y="295362"/>
                  <a:pt x="218672" y="291538"/>
                  <a:pt x="223452" y="291538"/>
                </a:cubicBezTo>
                <a:close/>
                <a:moveTo>
                  <a:pt x="98776" y="291538"/>
                </a:moveTo>
                <a:lnTo>
                  <a:pt x="180300" y="291538"/>
                </a:lnTo>
                <a:cubicBezTo>
                  <a:pt x="185123" y="291538"/>
                  <a:pt x="188948" y="295362"/>
                  <a:pt x="188948" y="300142"/>
                </a:cubicBezTo>
                <a:lnTo>
                  <a:pt x="188948" y="344292"/>
                </a:lnTo>
                <a:cubicBezTo>
                  <a:pt x="189904" y="349072"/>
                  <a:pt x="186079" y="352896"/>
                  <a:pt x="180300" y="352896"/>
                </a:cubicBezTo>
                <a:lnTo>
                  <a:pt x="98776" y="352896"/>
                </a:lnTo>
                <a:cubicBezTo>
                  <a:pt x="93996" y="352896"/>
                  <a:pt x="90171" y="349072"/>
                  <a:pt x="90171" y="344292"/>
                </a:cubicBezTo>
                <a:lnTo>
                  <a:pt x="90171" y="300142"/>
                </a:lnTo>
                <a:cubicBezTo>
                  <a:pt x="90171" y="295362"/>
                  <a:pt x="93996" y="291538"/>
                  <a:pt x="98776" y="291538"/>
                </a:cubicBezTo>
                <a:close/>
                <a:moveTo>
                  <a:pt x="232100" y="227268"/>
                </a:moveTo>
                <a:lnTo>
                  <a:pt x="232100" y="253167"/>
                </a:lnTo>
                <a:lnTo>
                  <a:pt x="296372" y="253167"/>
                </a:lnTo>
                <a:lnTo>
                  <a:pt x="296372" y="227268"/>
                </a:lnTo>
                <a:close/>
                <a:moveTo>
                  <a:pt x="107424" y="227268"/>
                </a:moveTo>
                <a:lnTo>
                  <a:pt x="107424" y="253167"/>
                </a:lnTo>
                <a:lnTo>
                  <a:pt x="171695" y="253167"/>
                </a:lnTo>
                <a:lnTo>
                  <a:pt x="171695" y="227268"/>
                </a:lnTo>
                <a:close/>
                <a:moveTo>
                  <a:pt x="223452" y="210017"/>
                </a:moveTo>
                <a:lnTo>
                  <a:pt x="304976" y="210017"/>
                </a:lnTo>
                <a:cubicBezTo>
                  <a:pt x="309800" y="210017"/>
                  <a:pt x="313624" y="213841"/>
                  <a:pt x="313624" y="218664"/>
                </a:cubicBezTo>
                <a:lnTo>
                  <a:pt x="313624" y="262771"/>
                </a:lnTo>
                <a:cubicBezTo>
                  <a:pt x="313624" y="267551"/>
                  <a:pt x="309800" y="271375"/>
                  <a:pt x="304976" y="271375"/>
                </a:cubicBezTo>
                <a:lnTo>
                  <a:pt x="223452" y="271375"/>
                </a:lnTo>
                <a:cubicBezTo>
                  <a:pt x="218672" y="271375"/>
                  <a:pt x="214847" y="267551"/>
                  <a:pt x="214847" y="262771"/>
                </a:cubicBezTo>
                <a:lnTo>
                  <a:pt x="214847" y="218664"/>
                </a:lnTo>
                <a:cubicBezTo>
                  <a:pt x="214847" y="213841"/>
                  <a:pt x="218672" y="210017"/>
                  <a:pt x="223452" y="210017"/>
                </a:cubicBezTo>
                <a:close/>
                <a:moveTo>
                  <a:pt x="98776" y="210017"/>
                </a:moveTo>
                <a:lnTo>
                  <a:pt x="180300" y="210017"/>
                </a:lnTo>
                <a:cubicBezTo>
                  <a:pt x="185123" y="210017"/>
                  <a:pt x="188948" y="213841"/>
                  <a:pt x="188948" y="218664"/>
                </a:cubicBezTo>
                <a:lnTo>
                  <a:pt x="188948" y="262771"/>
                </a:lnTo>
                <a:cubicBezTo>
                  <a:pt x="189904" y="267551"/>
                  <a:pt x="186079" y="271375"/>
                  <a:pt x="180300" y="271375"/>
                </a:cubicBezTo>
                <a:lnTo>
                  <a:pt x="98776" y="271375"/>
                </a:lnTo>
                <a:cubicBezTo>
                  <a:pt x="93996" y="271375"/>
                  <a:pt x="90171" y="267551"/>
                  <a:pt x="90171" y="262771"/>
                </a:cubicBezTo>
                <a:lnTo>
                  <a:pt x="90171" y="218664"/>
                </a:lnTo>
                <a:cubicBezTo>
                  <a:pt x="90171" y="213841"/>
                  <a:pt x="93996" y="210017"/>
                  <a:pt x="98776" y="210017"/>
                </a:cubicBezTo>
                <a:close/>
                <a:moveTo>
                  <a:pt x="27863" y="114072"/>
                </a:moveTo>
                <a:cubicBezTo>
                  <a:pt x="30730" y="112160"/>
                  <a:pt x="33641" y="112160"/>
                  <a:pt x="36508" y="114072"/>
                </a:cubicBezTo>
                <a:lnTo>
                  <a:pt x="139083" y="166833"/>
                </a:lnTo>
                <a:lnTo>
                  <a:pt x="139083" y="121765"/>
                </a:lnTo>
                <a:cubicBezTo>
                  <a:pt x="139083" y="118853"/>
                  <a:pt x="140995" y="115985"/>
                  <a:pt x="143906" y="114072"/>
                </a:cubicBezTo>
                <a:cubicBezTo>
                  <a:pt x="146773" y="112160"/>
                  <a:pt x="149640" y="112160"/>
                  <a:pt x="152508" y="114072"/>
                </a:cubicBezTo>
                <a:lnTo>
                  <a:pt x="251259" y="167789"/>
                </a:lnTo>
                <a:lnTo>
                  <a:pt x="251259" y="121765"/>
                </a:lnTo>
                <a:cubicBezTo>
                  <a:pt x="251259" y="118853"/>
                  <a:pt x="253171" y="115985"/>
                  <a:pt x="256082" y="114072"/>
                </a:cubicBezTo>
                <a:cubicBezTo>
                  <a:pt x="258949" y="112160"/>
                  <a:pt x="261816" y="112160"/>
                  <a:pt x="264684" y="114072"/>
                </a:cubicBezTo>
                <a:lnTo>
                  <a:pt x="277229" y="121287"/>
                </a:lnTo>
                <a:lnTo>
                  <a:pt x="277164" y="121804"/>
                </a:lnTo>
                <a:cubicBezTo>
                  <a:pt x="276208" y="126584"/>
                  <a:pt x="280032" y="130408"/>
                  <a:pt x="284856" y="131364"/>
                </a:cubicBezTo>
                <a:lnTo>
                  <a:pt x="288994" y="128053"/>
                </a:lnTo>
                <a:lnTo>
                  <a:pt x="353879" y="165370"/>
                </a:lnTo>
                <a:lnTo>
                  <a:pt x="354864" y="175470"/>
                </a:lnTo>
                <a:cubicBezTo>
                  <a:pt x="354864" y="180294"/>
                  <a:pt x="358688" y="184118"/>
                  <a:pt x="363468" y="184118"/>
                </a:cubicBezTo>
                <a:lnTo>
                  <a:pt x="371869" y="175717"/>
                </a:lnTo>
                <a:lnTo>
                  <a:pt x="379771" y="180262"/>
                </a:lnTo>
                <a:cubicBezTo>
                  <a:pt x="382639" y="182174"/>
                  <a:pt x="384550" y="185042"/>
                  <a:pt x="384550" y="187911"/>
                </a:cubicBezTo>
                <a:lnTo>
                  <a:pt x="384550" y="378795"/>
                </a:lnTo>
                <a:lnTo>
                  <a:pt x="365391" y="378795"/>
                </a:lnTo>
                <a:lnTo>
                  <a:pt x="365391" y="191779"/>
                </a:lnTo>
                <a:lnTo>
                  <a:pt x="268550" y="136150"/>
                </a:lnTo>
                <a:lnTo>
                  <a:pt x="268550" y="182174"/>
                </a:lnTo>
                <a:cubicBezTo>
                  <a:pt x="268550" y="185042"/>
                  <a:pt x="266595" y="187911"/>
                  <a:pt x="263728" y="189823"/>
                </a:cubicBezTo>
                <a:cubicBezTo>
                  <a:pt x="260861" y="191779"/>
                  <a:pt x="257993" y="191779"/>
                  <a:pt x="255126" y="189823"/>
                </a:cubicBezTo>
                <a:lnTo>
                  <a:pt x="156331" y="136150"/>
                </a:lnTo>
                <a:lnTo>
                  <a:pt x="156331" y="181218"/>
                </a:lnTo>
                <a:cubicBezTo>
                  <a:pt x="156331" y="184086"/>
                  <a:pt x="154419" y="186955"/>
                  <a:pt x="151552" y="188867"/>
                </a:cubicBezTo>
                <a:cubicBezTo>
                  <a:pt x="148684" y="190823"/>
                  <a:pt x="145817" y="190823"/>
                  <a:pt x="142950" y="188867"/>
                </a:cubicBezTo>
                <a:lnTo>
                  <a:pt x="40332" y="136150"/>
                </a:lnTo>
                <a:lnTo>
                  <a:pt x="40332" y="378795"/>
                </a:lnTo>
                <a:lnTo>
                  <a:pt x="23084" y="378795"/>
                </a:lnTo>
                <a:lnTo>
                  <a:pt x="23084" y="121765"/>
                </a:lnTo>
                <a:cubicBezTo>
                  <a:pt x="23084" y="118853"/>
                  <a:pt x="24995" y="115985"/>
                  <a:pt x="27863" y="114072"/>
                </a:cubicBezTo>
                <a:close/>
                <a:moveTo>
                  <a:pt x="285436" y="56157"/>
                </a:moveTo>
                <a:lnTo>
                  <a:pt x="293475" y="64182"/>
                </a:lnTo>
                <a:lnTo>
                  <a:pt x="301993" y="64182"/>
                </a:lnTo>
                <a:lnTo>
                  <a:pt x="294416" y="123716"/>
                </a:lnTo>
                <a:lnTo>
                  <a:pt x="288994" y="128053"/>
                </a:lnTo>
                <a:lnTo>
                  <a:pt x="277229" y="121287"/>
                </a:lnTo>
                <a:close/>
                <a:moveTo>
                  <a:pt x="285596" y="54888"/>
                </a:moveTo>
                <a:lnTo>
                  <a:pt x="285436" y="56157"/>
                </a:lnTo>
                <a:lnTo>
                  <a:pt x="284882" y="55604"/>
                </a:lnTo>
                <a:close/>
                <a:moveTo>
                  <a:pt x="304182" y="46982"/>
                </a:moveTo>
                <a:lnTo>
                  <a:pt x="342331" y="46982"/>
                </a:lnTo>
                <a:lnTo>
                  <a:pt x="344008" y="64182"/>
                </a:lnTo>
                <a:lnTo>
                  <a:pt x="301993" y="64182"/>
                </a:lnTo>
                <a:close/>
                <a:moveTo>
                  <a:pt x="300196" y="0"/>
                </a:moveTo>
                <a:lnTo>
                  <a:pt x="348128" y="0"/>
                </a:lnTo>
                <a:cubicBezTo>
                  <a:pt x="352952" y="0"/>
                  <a:pt x="356776" y="3824"/>
                  <a:pt x="356776" y="8604"/>
                </a:cubicBezTo>
                <a:lnTo>
                  <a:pt x="373072" y="174514"/>
                </a:lnTo>
                <a:lnTo>
                  <a:pt x="371869" y="175717"/>
                </a:lnTo>
                <a:lnTo>
                  <a:pt x="353879" y="165370"/>
                </a:lnTo>
                <a:lnTo>
                  <a:pt x="344008" y="64182"/>
                </a:lnTo>
                <a:lnTo>
                  <a:pt x="349028" y="64182"/>
                </a:lnTo>
                <a:cubicBezTo>
                  <a:pt x="354800" y="64182"/>
                  <a:pt x="357664" y="60370"/>
                  <a:pt x="357664" y="55604"/>
                </a:cubicBezTo>
                <a:cubicBezTo>
                  <a:pt x="357664" y="50795"/>
                  <a:pt x="353845" y="46982"/>
                  <a:pt x="349028" y="46982"/>
                </a:cubicBezTo>
                <a:lnTo>
                  <a:pt x="342331" y="46982"/>
                </a:lnTo>
                <a:lnTo>
                  <a:pt x="339524" y="18207"/>
                </a:lnTo>
                <a:lnTo>
                  <a:pt x="307844" y="18207"/>
                </a:lnTo>
                <a:lnTo>
                  <a:pt x="304182" y="46982"/>
                </a:lnTo>
                <a:lnTo>
                  <a:pt x="293475" y="46982"/>
                </a:lnTo>
                <a:lnTo>
                  <a:pt x="285596" y="54888"/>
                </a:lnTo>
                <a:lnTo>
                  <a:pt x="291548" y="7648"/>
                </a:lnTo>
                <a:cubicBezTo>
                  <a:pt x="292504" y="2868"/>
                  <a:pt x="296372" y="0"/>
                  <a:pt x="3001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5" name="smoking-place_75182">
            <a:extLst>
              <a:ext uri="{FF2B5EF4-FFF2-40B4-BE49-F238E27FC236}">
                <a16:creationId xmlns:a16="http://schemas.microsoft.com/office/drawing/2014/main" id="{A30B7E3C-1863-4C27-89CB-51BD677B4035}"/>
              </a:ext>
            </a:extLst>
          </p:cNvPr>
          <p:cNvSpPr/>
          <p:nvPr/>
        </p:nvSpPr>
        <p:spPr>
          <a:xfrm>
            <a:off x="1291564" y="3958530"/>
            <a:ext cx="206742" cy="206430"/>
          </a:xfrm>
          <a:custGeom>
            <a:avLst/>
            <a:gdLst>
              <a:gd name="connsiteX0" fmla="*/ 148898 w 606933"/>
              <a:gd name="connsiteY0" fmla="*/ 400741 h 606016"/>
              <a:gd name="connsiteX1" fmla="*/ 170214 w 606933"/>
              <a:gd name="connsiteY1" fmla="*/ 422023 h 606016"/>
              <a:gd name="connsiteX2" fmla="*/ 170214 w 606933"/>
              <a:gd name="connsiteY2" fmla="*/ 430766 h 606016"/>
              <a:gd name="connsiteX3" fmla="*/ 174592 w 606933"/>
              <a:gd name="connsiteY3" fmla="*/ 435138 h 606016"/>
              <a:gd name="connsiteX4" fmla="*/ 425541 w 606933"/>
              <a:gd name="connsiteY4" fmla="*/ 435138 h 606016"/>
              <a:gd name="connsiteX5" fmla="*/ 429919 w 606933"/>
              <a:gd name="connsiteY5" fmla="*/ 430766 h 606016"/>
              <a:gd name="connsiteX6" fmla="*/ 429919 w 606933"/>
              <a:gd name="connsiteY6" fmla="*/ 422023 h 606016"/>
              <a:gd name="connsiteX7" fmla="*/ 451235 w 606933"/>
              <a:gd name="connsiteY7" fmla="*/ 400741 h 606016"/>
              <a:gd name="connsiteX8" fmla="*/ 472435 w 606933"/>
              <a:gd name="connsiteY8" fmla="*/ 422023 h 606016"/>
              <a:gd name="connsiteX9" fmla="*/ 472435 w 606933"/>
              <a:gd name="connsiteY9" fmla="*/ 430766 h 606016"/>
              <a:gd name="connsiteX10" fmla="*/ 425541 w 606933"/>
              <a:gd name="connsiteY10" fmla="*/ 477587 h 606016"/>
              <a:gd name="connsiteX11" fmla="*/ 174592 w 606933"/>
              <a:gd name="connsiteY11" fmla="*/ 477587 h 606016"/>
              <a:gd name="connsiteX12" fmla="*/ 127582 w 606933"/>
              <a:gd name="connsiteY12" fmla="*/ 430766 h 606016"/>
              <a:gd name="connsiteX13" fmla="*/ 127582 w 606933"/>
              <a:gd name="connsiteY13" fmla="*/ 422023 h 606016"/>
              <a:gd name="connsiteX14" fmla="*/ 148898 w 606933"/>
              <a:gd name="connsiteY14" fmla="*/ 400741 h 606016"/>
              <a:gd name="connsiteX15" fmla="*/ 348365 w 606933"/>
              <a:gd name="connsiteY15" fmla="*/ 320226 h 606016"/>
              <a:gd name="connsiteX16" fmla="*/ 391911 w 606933"/>
              <a:gd name="connsiteY16" fmla="*/ 346798 h 606016"/>
              <a:gd name="connsiteX17" fmla="*/ 397556 w 606933"/>
              <a:gd name="connsiteY17" fmla="*/ 367733 h 606016"/>
              <a:gd name="connsiteX18" fmla="*/ 372327 w 606933"/>
              <a:gd name="connsiteY18" fmla="*/ 413744 h 606016"/>
              <a:gd name="connsiteX19" fmla="*/ 362535 w 606933"/>
              <a:gd name="connsiteY19" fmla="*/ 421336 h 606016"/>
              <a:gd name="connsiteX20" fmla="*/ 358503 w 606933"/>
              <a:gd name="connsiteY20" fmla="*/ 421911 h 606016"/>
              <a:gd name="connsiteX21" fmla="*/ 350208 w 606933"/>
              <a:gd name="connsiteY21" fmla="*/ 419495 h 606016"/>
              <a:gd name="connsiteX22" fmla="*/ 308159 w 606933"/>
              <a:gd name="connsiteY22" fmla="*/ 393614 h 606016"/>
              <a:gd name="connsiteX23" fmla="*/ 534792 w 606933"/>
              <a:gd name="connsiteY23" fmla="*/ 216328 h 606016"/>
              <a:gd name="connsiteX24" fmla="*/ 535023 w 606933"/>
              <a:gd name="connsiteY24" fmla="*/ 218054 h 606016"/>
              <a:gd name="connsiteX25" fmla="*/ 532257 w 606933"/>
              <a:gd name="connsiteY25" fmla="*/ 219204 h 606016"/>
              <a:gd name="connsiteX26" fmla="*/ 525690 w 606933"/>
              <a:gd name="connsiteY26" fmla="*/ 223000 h 606016"/>
              <a:gd name="connsiteX27" fmla="*/ 510366 w 606933"/>
              <a:gd name="connsiteY27" fmla="*/ 253369 h 606016"/>
              <a:gd name="connsiteX28" fmla="*/ 515781 w 606933"/>
              <a:gd name="connsiteY28" fmla="*/ 273040 h 606016"/>
              <a:gd name="connsiteX29" fmla="*/ 518085 w 606933"/>
              <a:gd name="connsiteY29" fmla="*/ 292251 h 606016"/>
              <a:gd name="connsiteX30" fmla="*/ 509559 w 606933"/>
              <a:gd name="connsiteY30" fmla="*/ 308471 h 606016"/>
              <a:gd name="connsiteX31" fmla="*/ 493890 w 606933"/>
              <a:gd name="connsiteY31" fmla="*/ 315718 h 606016"/>
              <a:gd name="connsiteX32" fmla="*/ 485248 w 606933"/>
              <a:gd name="connsiteY32" fmla="*/ 315488 h 606016"/>
              <a:gd name="connsiteX33" fmla="*/ 482022 w 606933"/>
              <a:gd name="connsiteY33" fmla="*/ 312957 h 606016"/>
              <a:gd name="connsiteX34" fmla="*/ 487783 w 606933"/>
              <a:gd name="connsiteY34" fmla="*/ 309391 h 606016"/>
              <a:gd name="connsiteX35" fmla="*/ 493890 w 606933"/>
              <a:gd name="connsiteY35" fmla="*/ 304445 h 606016"/>
              <a:gd name="connsiteX36" fmla="*/ 500918 w 606933"/>
              <a:gd name="connsiteY36" fmla="*/ 288340 h 606016"/>
              <a:gd name="connsiteX37" fmla="*/ 499766 w 606933"/>
              <a:gd name="connsiteY37" fmla="*/ 267748 h 606016"/>
              <a:gd name="connsiteX38" fmla="*/ 507370 w 606933"/>
              <a:gd name="connsiteY38" fmla="*/ 230937 h 606016"/>
              <a:gd name="connsiteX39" fmla="*/ 534792 w 606933"/>
              <a:gd name="connsiteY39" fmla="*/ 216328 h 606016"/>
              <a:gd name="connsiteX40" fmla="*/ 93929 w 606933"/>
              <a:gd name="connsiteY40" fmla="*/ 188343 h 606016"/>
              <a:gd name="connsiteX41" fmla="*/ 106720 w 606933"/>
              <a:gd name="connsiteY41" fmla="*/ 191219 h 606016"/>
              <a:gd name="connsiteX42" fmla="*/ 180696 w 606933"/>
              <a:gd name="connsiteY42" fmla="*/ 248065 h 606016"/>
              <a:gd name="connsiteX43" fmla="*/ 280829 w 606933"/>
              <a:gd name="connsiteY43" fmla="*/ 279594 h 606016"/>
              <a:gd name="connsiteX44" fmla="*/ 284286 w 606933"/>
              <a:gd name="connsiteY44" fmla="*/ 281090 h 606016"/>
              <a:gd name="connsiteX45" fmla="*/ 328764 w 606933"/>
              <a:gd name="connsiteY45" fmla="*/ 308247 h 606016"/>
              <a:gd name="connsiteX46" fmla="*/ 288665 w 606933"/>
              <a:gd name="connsiteY46" fmla="*/ 381548 h 606016"/>
              <a:gd name="connsiteX47" fmla="*/ 254557 w 606933"/>
              <a:gd name="connsiteY47" fmla="*/ 360490 h 606016"/>
              <a:gd name="connsiteX48" fmla="*/ 158342 w 606933"/>
              <a:gd name="connsiteY48" fmla="*/ 331262 h 606016"/>
              <a:gd name="connsiteX49" fmla="*/ 153618 w 606933"/>
              <a:gd name="connsiteY49" fmla="*/ 328960 h 606016"/>
              <a:gd name="connsiteX50" fmla="*/ 62703 w 606933"/>
              <a:gd name="connsiteY50" fmla="*/ 262449 h 606016"/>
              <a:gd name="connsiteX51" fmla="*/ 58094 w 606933"/>
              <a:gd name="connsiteY51" fmla="*/ 242196 h 606016"/>
              <a:gd name="connsiteX52" fmla="*/ 83328 w 606933"/>
              <a:gd name="connsiteY52" fmla="*/ 196167 h 606016"/>
              <a:gd name="connsiteX53" fmla="*/ 93929 w 606933"/>
              <a:gd name="connsiteY53" fmla="*/ 188343 h 606016"/>
              <a:gd name="connsiteX54" fmla="*/ 494006 w 606933"/>
              <a:gd name="connsiteY54" fmla="*/ 148792 h 606016"/>
              <a:gd name="connsiteX55" fmla="*/ 499997 w 606933"/>
              <a:gd name="connsiteY55" fmla="*/ 148907 h 606016"/>
              <a:gd name="connsiteX56" fmla="*/ 496540 w 606933"/>
              <a:gd name="connsiteY56" fmla="*/ 152128 h 606016"/>
              <a:gd name="connsiteX57" fmla="*/ 454602 w 606933"/>
              <a:gd name="connsiteY57" fmla="*/ 194119 h 606016"/>
              <a:gd name="connsiteX58" fmla="*/ 458980 w 606933"/>
              <a:gd name="connsiteY58" fmla="*/ 245084 h 606016"/>
              <a:gd name="connsiteX59" fmla="*/ 466584 w 606933"/>
              <a:gd name="connsiteY59" fmla="*/ 291908 h 606016"/>
              <a:gd name="connsiteX60" fmla="*/ 447458 w 606933"/>
              <a:gd name="connsiteY60" fmla="*/ 324580 h 606016"/>
              <a:gd name="connsiteX61" fmla="*/ 412894 w 606933"/>
              <a:gd name="connsiteY61" fmla="*/ 335855 h 606016"/>
              <a:gd name="connsiteX62" fmla="*/ 404368 w 606933"/>
              <a:gd name="connsiteY62" fmla="*/ 335050 h 606016"/>
              <a:gd name="connsiteX63" fmla="*/ 398492 w 606933"/>
              <a:gd name="connsiteY63" fmla="*/ 332979 h 606016"/>
              <a:gd name="connsiteX64" fmla="*/ 400220 w 606933"/>
              <a:gd name="connsiteY64" fmla="*/ 329412 h 606016"/>
              <a:gd name="connsiteX65" fmla="*/ 406672 w 606933"/>
              <a:gd name="connsiteY65" fmla="*/ 325501 h 606016"/>
              <a:gd name="connsiteX66" fmla="*/ 431328 w 606933"/>
              <a:gd name="connsiteY66" fmla="*/ 299155 h 606016"/>
              <a:gd name="connsiteX67" fmla="*/ 432596 w 606933"/>
              <a:gd name="connsiteY67" fmla="*/ 246350 h 606016"/>
              <a:gd name="connsiteX68" fmla="*/ 446767 w 606933"/>
              <a:gd name="connsiteY68" fmla="*/ 175597 h 606016"/>
              <a:gd name="connsiteX69" fmla="*/ 476838 w 606933"/>
              <a:gd name="connsiteY69" fmla="*/ 153969 h 606016"/>
              <a:gd name="connsiteX70" fmla="*/ 494006 w 606933"/>
              <a:gd name="connsiteY70" fmla="*/ 148792 h 606016"/>
              <a:gd name="connsiteX71" fmla="*/ 125950 w 606933"/>
              <a:gd name="connsiteY71" fmla="*/ 23012 h 606016"/>
              <a:gd name="connsiteX72" fmla="*/ 23046 w 606933"/>
              <a:gd name="connsiteY72" fmla="*/ 125760 h 606016"/>
              <a:gd name="connsiteX73" fmla="*/ 23046 w 606933"/>
              <a:gd name="connsiteY73" fmla="*/ 480141 h 606016"/>
              <a:gd name="connsiteX74" fmla="*/ 125950 w 606933"/>
              <a:gd name="connsiteY74" fmla="*/ 583004 h 606016"/>
              <a:gd name="connsiteX75" fmla="*/ 480868 w 606933"/>
              <a:gd name="connsiteY75" fmla="*/ 583004 h 606016"/>
              <a:gd name="connsiteX76" fmla="*/ 583887 w 606933"/>
              <a:gd name="connsiteY76" fmla="*/ 480141 h 606016"/>
              <a:gd name="connsiteX77" fmla="*/ 583887 w 606933"/>
              <a:gd name="connsiteY77" fmla="*/ 125760 h 606016"/>
              <a:gd name="connsiteX78" fmla="*/ 480868 w 606933"/>
              <a:gd name="connsiteY78" fmla="*/ 23012 h 606016"/>
              <a:gd name="connsiteX79" fmla="*/ 125950 w 606933"/>
              <a:gd name="connsiteY79" fmla="*/ 0 h 606016"/>
              <a:gd name="connsiteX80" fmla="*/ 480868 w 606933"/>
              <a:gd name="connsiteY80" fmla="*/ 0 h 606016"/>
              <a:gd name="connsiteX81" fmla="*/ 606933 w 606933"/>
              <a:gd name="connsiteY81" fmla="*/ 125760 h 606016"/>
              <a:gd name="connsiteX82" fmla="*/ 606933 w 606933"/>
              <a:gd name="connsiteY82" fmla="*/ 480141 h 606016"/>
              <a:gd name="connsiteX83" fmla="*/ 480868 w 606933"/>
              <a:gd name="connsiteY83" fmla="*/ 606016 h 606016"/>
              <a:gd name="connsiteX84" fmla="*/ 125950 w 606933"/>
              <a:gd name="connsiteY84" fmla="*/ 606016 h 606016"/>
              <a:gd name="connsiteX85" fmla="*/ 0 w 606933"/>
              <a:gd name="connsiteY85" fmla="*/ 480141 h 606016"/>
              <a:gd name="connsiteX86" fmla="*/ 0 w 606933"/>
              <a:gd name="connsiteY86" fmla="*/ 125760 h 606016"/>
              <a:gd name="connsiteX87" fmla="*/ 125950 w 606933"/>
              <a:gd name="connsiteY87" fmla="*/ 0 h 6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6933" h="606016">
                <a:moveTo>
                  <a:pt x="148898" y="400741"/>
                </a:moveTo>
                <a:cubicBezTo>
                  <a:pt x="160650" y="400741"/>
                  <a:pt x="170214" y="410289"/>
                  <a:pt x="170214" y="422023"/>
                </a:cubicBezTo>
                <a:lnTo>
                  <a:pt x="170214" y="430766"/>
                </a:lnTo>
                <a:cubicBezTo>
                  <a:pt x="170214" y="433182"/>
                  <a:pt x="172172" y="435138"/>
                  <a:pt x="174592" y="435138"/>
                </a:cubicBezTo>
                <a:lnTo>
                  <a:pt x="425541" y="435138"/>
                </a:lnTo>
                <a:cubicBezTo>
                  <a:pt x="427960" y="435138"/>
                  <a:pt x="429919" y="433182"/>
                  <a:pt x="429919" y="430766"/>
                </a:cubicBezTo>
                <a:lnTo>
                  <a:pt x="429919" y="422023"/>
                </a:lnTo>
                <a:cubicBezTo>
                  <a:pt x="429919" y="410289"/>
                  <a:pt x="439482" y="400741"/>
                  <a:pt x="451235" y="400741"/>
                </a:cubicBezTo>
                <a:cubicBezTo>
                  <a:pt x="462987" y="400741"/>
                  <a:pt x="472435" y="410289"/>
                  <a:pt x="472435" y="422023"/>
                </a:cubicBezTo>
                <a:lnTo>
                  <a:pt x="472435" y="430766"/>
                </a:lnTo>
                <a:cubicBezTo>
                  <a:pt x="472435" y="456650"/>
                  <a:pt x="451350" y="477587"/>
                  <a:pt x="425541" y="477587"/>
                </a:cubicBezTo>
                <a:lnTo>
                  <a:pt x="174592" y="477587"/>
                </a:lnTo>
                <a:cubicBezTo>
                  <a:pt x="148667" y="477587"/>
                  <a:pt x="127582" y="456650"/>
                  <a:pt x="127582" y="430766"/>
                </a:cubicBezTo>
                <a:lnTo>
                  <a:pt x="127582" y="422023"/>
                </a:lnTo>
                <a:cubicBezTo>
                  <a:pt x="127582" y="410289"/>
                  <a:pt x="137145" y="400741"/>
                  <a:pt x="148898" y="400741"/>
                </a:cubicBezTo>
                <a:close/>
                <a:moveTo>
                  <a:pt x="348365" y="320226"/>
                </a:moveTo>
                <a:lnTo>
                  <a:pt x="391911" y="346798"/>
                </a:lnTo>
                <a:cubicBezTo>
                  <a:pt x="399054" y="351169"/>
                  <a:pt x="401588" y="360371"/>
                  <a:pt x="397556" y="367733"/>
                </a:cubicBezTo>
                <a:lnTo>
                  <a:pt x="372327" y="413744"/>
                </a:lnTo>
                <a:cubicBezTo>
                  <a:pt x="370253" y="417540"/>
                  <a:pt x="366682" y="420301"/>
                  <a:pt x="362535" y="421336"/>
                </a:cubicBezTo>
                <a:cubicBezTo>
                  <a:pt x="361267" y="421681"/>
                  <a:pt x="359885" y="421911"/>
                  <a:pt x="358503" y="421911"/>
                </a:cubicBezTo>
                <a:cubicBezTo>
                  <a:pt x="355623" y="421911"/>
                  <a:pt x="352743" y="421106"/>
                  <a:pt x="350208" y="419495"/>
                </a:cubicBezTo>
                <a:lnTo>
                  <a:pt x="308159" y="393614"/>
                </a:lnTo>
                <a:close/>
                <a:moveTo>
                  <a:pt x="534792" y="216328"/>
                </a:moveTo>
                <a:cubicBezTo>
                  <a:pt x="535829" y="216213"/>
                  <a:pt x="535944" y="217708"/>
                  <a:pt x="535023" y="218054"/>
                </a:cubicBezTo>
                <a:cubicBezTo>
                  <a:pt x="534101" y="218399"/>
                  <a:pt x="533179" y="218744"/>
                  <a:pt x="532257" y="219204"/>
                </a:cubicBezTo>
                <a:cubicBezTo>
                  <a:pt x="529953" y="220354"/>
                  <a:pt x="527764" y="221620"/>
                  <a:pt x="525690" y="223000"/>
                </a:cubicBezTo>
                <a:cubicBezTo>
                  <a:pt x="515320" y="230017"/>
                  <a:pt x="509329" y="240830"/>
                  <a:pt x="510366" y="253369"/>
                </a:cubicBezTo>
                <a:cubicBezTo>
                  <a:pt x="510942" y="260386"/>
                  <a:pt x="513707" y="266483"/>
                  <a:pt x="515781" y="273040"/>
                </a:cubicBezTo>
                <a:cubicBezTo>
                  <a:pt x="517740" y="279367"/>
                  <a:pt x="519122" y="285694"/>
                  <a:pt x="518085" y="292251"/>
                </a:cubicBezTo>
                <a:cubicBezTo>
                  <a:pt x="517049" y="298348"/>
                  <a:pt x="514053" y="304099"/>
                  <a:pt x="509559" y="308471"/>
                </a:cubicBezTo>
                <a:cubicBezTo>
                  <a:pt x="505412" y="312497"/>
                  <a:pt x="499766" y="315028"/>
                  <a:pt x="493890" y="315718"/>
                </a:cubicBezTo>
                <a:cubicBezTo>
                  <a:pt x="491009" y="316063"/>
                  <a:pt x="488129" y="316063"/>
                  <a:pt x="485248" y="315488"/>
                </a:cubicBezTo>
                <a:cubicBezTo>
                  <a:pt x="484096" y="315258"/>
                  <a:pt x="480409" y="314683"/>
                  <a:pt x="482022" y="312957"/>
                </a:cubicBezTo>
                <a:cubicBezTo>
                  <a:pt x="482598" y="312267"/>
                  <a:pt x="486746" y="310081"/>
                  <a:pt x="487783" y="309391"/>
                </a:cubicBezTo>
                <a:cubicBezTo>
                  <a:pt x="490548" y="307781"/>
                  <a:pt x="492046" y="306285"/>
                  <a:pt x="493890" y="304445"/>
                </a:cubicBezTo>
                <a:cubicBezTo>
                  <a:pt x="498383" y="299958"/>
                  <a:pt x="500342" y="294436"/>
                  <a:pt x="500918" y="288340"/>
                </a:cubicBezTo>
                <a:cubicBezTo>
                  <a:pt x="501725" y="281208"/>
                  <a:pt x="501033" y="274651"/>
                  <a:pt x="499766" y="267748"/>
                </a:cubicBezTo>
                <a:cubicBezTo>
                  <a:pt x="497461" y="254980"/>
                  <a:pt x="498729" y="241176"/>
                  <a:pt x="507370" y="230937"/>
                </a:cubicBezTo>
                <a:cubicBezTo>
                  <a:pt x="514053" y="223000"/>
                  <a:pt x="524422" y="217478"/>
                  <a:pt x="534792" y="216328"/>
                </a:cubicBezTo>
                <a:close/>
                <a:moveTo>
                  <a:pt x="93929" y="188343"/>
                </a:moveTo>
                <a:cubicBezTo>
                  <a:pt x="98423" y="187422"/>
                  <a:pt x="103148" y="188458"/>
                  <a:pt x="106720" y="191219"/>
                </a:cubicBezTo>
                <a:lnTo>
                  <a:pt x="180696" y="248065"/>
                </a:lnTo>
                <a:lnTo>
                  <a:pt x="280829" y="279594"/>
                </a:lnTo>
                <a:cubicBezTo>
                  <a:pt x="282097" y="279940"/>
                  <a:pt x="283249" y="280515"/>
                  <a:pt x="284286" y="281090"/>
                </a:cubicBezTo>
                <a:lnTo>
                  <a:pt x="328764" y="308247"/>
                </a:lnTo>
                <a:lnTo>
                  <a:pt x="288665" y="381548"/>
                </a:lnTo>
                <a:lnTo>
                  <a:pt x="254557" y="360490"/>
                </a:lnTo>
                <a:lnTo>
                  <a:pt x="158342" y="331262"/>
                </a:lnTo>
                <a:cubicBezTo>
                  <a:pt x="156614" y="330801"/>
                  <a:pt x="155116" y="329996"/>
                  <a:pt x="153618" y="328960"/>
                </a:cubicBezTo>
                <a:lnTo>
                  <a:pt x="62703" y="262449"/>
                </a:lnTo>
                <a:cubicBezTo>
                  <a:pt x="56250" y="257731"/>
                  <a:pt x="54406" y="249100"/>
                  <a:pt x="58094" y="242196"/>
                </a:cubicBezTo>
                <a:lnTo>
                  <a:pt x="83328" y="196167"/>
                </a:lnTo>
                <a:cubicBezTo>
                  <a:pt x="85518" y="192140"/>
                  <a:pt x="89436" y="189263"/>
                  <a:pt x="93929" y="188343"/>
                </a:cubicBezTo>
                <a:close/>
                <a:moveTo>
                  <a:pt x="494006" y="148792"/>
                </a:moveTo>
                <a:cubicBezTo>
                  <a:pt x="495388" y="148446"/>
                  <a:pt x="499305" y="147411"/>
                  <a:pt x="499997" y="148907"/>
                </a:cubicBezTo>
                <a:cubicBezTo>
                  <a:pt x="500803" y="150862"/>
                  <a:pt x="497808" y="151553"/>
                  <a:pt x="496540" y="152128"/>
                </a:cubicBezTo>
                <a:cubicBezTo>
                  <a:pt x="478106" y="160296"/>
                  <a:pt x="461054" y="174447"/>
                  <a:pt x="454602" y="194119"/>
                </a:cubicBezTo>
                <a:cubicBezTo>
                  <a:pt x="449187" y="211031"/>
                  <a:pt x="453104" y="228863"/>
                  <a:pt x="458980" y="245084"/>
                </a:cubicBezTo>
                <a:cubicBezTo>
                  <a:pt x="464510" y="260155"/>
                  <a:pt x="469349" y="275456"/>
                  <a:pt x="466584" y="291908"/>
                </a:cubicBezTo>
                <a:cubicBezTo>
                  <a:pt x="464510" y="304678"/>
                  <a:pt x="457597" y="316412"/>
                  <a:pt x="447458" y="324580"/>
                </a:cubicBezTo>
                <a:cubicBezTo>
                  <a:pt x="437895" y="332403"/>
                  <a:pt x="425337" y="336315"/>
                  <a:pt x="412894" y="335855"/>
                </a:cubicBezTo>
                <a:cubicBezTo>
                  <a:pt x="410013" y="335740"/>
                  <a:pt x="407133" y="335625"/>
                  <a:pt x="404368" y="335050"/>
                </a:cubicBezTo>
                <a:cubicBezTo>
                  <a:pt x="402639" y="334704"/>
                  <a:pt x="399990" y="334129"/>
                  <a:pt x="398492" y="332979"/>
                </a:cubicBezTo>
                <a:cubicBezTo>
                  <a:pt x="396648" y="331483"/>
                  <a:pt x="398953" y="330103"/>
                  <a:pt x="400220" y="329412"/>
                </a:cubicBezTo>
                <a:cubicBezTo>
                  <a:pt x="402409" y="328147"/>
                  <a:pt x="404483" y="326881"/>
                  <a:pt x="406672" y="325501"/>
                </a:cubicBezTo>
                <a:cubicBezTo>
                  <a:pt x="417157" y="318828"/>
                  <a:pt x="426374" y="310775"/>
                  <a:pt x="431328" y="299155"/>
                </a:cubicBezTo>
                <a:cubicBezTo>
                  <a:pt x="440545" y="271084"/>
                  <a:pt x="432941" y="248075"/>
                  <a:pt x="432596" y="246350"/>
                </a:cubicBezTo>
                <a:cubicBezTo>
                  <a:pt x="427756" y="221960"/>
                  <a:pt x="430176" y="195155"/>
                  <a:pt x="446767" y="175597"/>
                </a:cubicBezTo>
                <a:cubicBezTo>
                  <a:pt x="454832" y="165933"/>
                  <a:pt x="465317" y="158800"/>
                  <a:pt x="476838" y="153969"/>
                </a:cubicBezTo>
                <a:cubicBezTo>
                  <a:pt x="482369" y="151668"/>
                  <a:pt x="488130" y="149827"/>
                  <a:pt x="494006" y="148792"/>
                </a:cubicBezTo>
                <a:close/>
                <a:moveTo>
                  <a:pt x="125950" y="23012"/>
                </a:moveTo>
                <a:cubicBezTo>
                  <a:pt x="69255" y="23012"/>
                  <a:pt x="23046" y="69150"/>
                  <a:pt x="23046" y="125760"/>
                </a:cubicBezTo>
                <a:lnTo>
                  <a:pt x="23046" y="480141"/>
                </a:lnTo>
                <a:cubicBezTo>
                  <a:pt x="23046" y="536866"/>
                  <a:pt x="69255" y="583004"/>
                  <a:pt x="125950" y="583004"/>
                </a:cubicBezTo>
                <a:lnTo>
                  <a:pt x="480868" y="583004"/>
                </a:lnTo>
                <a:cubicBezTo>
                  <a:pt x="537678" y="583004"/>
                  <a:pt x="583887" y="536866"/>
                  <a:pt x="583887" y="480141"/>
                </a:cubicBezTo>
                <a:lnTo>
                  <a:pt x="583887" y="125760"/>
                </a:lnTo>
                <a:cubicBezTo>
                  <a:pt x="583887" y="69150"/>
                  <a:pt x="537678" y="23012"/>
                  <a:pt x="480868" y="23012"/>
                </a:cubicBezTo>
                <a:close/>
                <a:moveTo>
                  <a:pt x="125950" y="0"/>
                </a:moveTo>
                <a:lnTo>
                  <a:pt x="480868" y="0"/>
                </a:lnTo>
                <a:cubicBezTo>
                  <a:pt x="550354" y="0"/>
                  <a:pt x="606933" y="56379"/>
                  <a:pt x="606933" y="125760"/>
                </a:cubicBezTo>
                <a:lnTo>
                  <a:pt x="606933" y="480141"/>
                </a:lnTo>
                <a:cubicBezTo>
                  <a:pt x="606933" y="549522"/>
                  <a:pt x="550354" y="606016"/>
                  <a:pt x="480868" y="606016"/>
                </a:cubicBezTo>
                <a:lnTo>
                  <a:pt x="125950" y="606016"/>
                </a:lnTo>
                <a:cubicBezTo>
                  <a:pt x="56464" y="606016"/>
                  <a:pt x="0" y="549522"/>
                  <a:pt x="0" y="480141"/>
                </a:cubicBezTo>
                <a:lnTo>
                  <a:pt x="0" y="125760"/>
                </a:lnTo>
                <a:cubicBezTo>
                  <a:pt x="0" y="56379"/>
                  <a:pt x="56464" y="0"/>
                  <a:pt x="12595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6" name="tablet-and-capsule-medications_31674">
            <a:extLst>
              <a:ext uri="{FF2B5EF4-FFF2-40B4-BE49-F238E27FC236}">
                <a16:creationId xmlns:a16="http://schemas.microsoft.com/office/drawing/2014/main" id="{A4B0BFF0-1A93-46A4-890E-B4E6F206D9AB}"/>
              </a:ext>
            </a:extLst>
          </p:cNvPr>
          <p:cNvSpPr/>
          <p:nvPr/>
        </p:nvSpPr>
        <p:spPr>
          <a:xfrm>
            <a:off x="3971677" y="3958144"/>
            <a:ext cx="214084" cy="207202"/>
          </a:xfrm>
          <a:custGeom>
            <a:avLst/>
            <a:gdLst>
              <a:gd name="T0" fmla="*/ 1535 w 1925"/>
              <a:gd name="T1" fmla="*/ 0 h 1866"/>
              <a:gd name="T2" fmla="*/ 1145 w 1925"/>
              <a:gd name="T3" fmla="*/ 390 h 1866"/>
              <a:gd name="T4" fmla="*/ 1145 w 1925"/>
              <a:gd name="T5" fmla="*/ 978 h 1866"/>
              <a:gd name="T6" fmla="*/ 1059 w 1925"/>
              <a:gd name="T7" fmla="*/ 864 h 1866"/>
              <a:gd name="T8" fmla="*/ 644 w 1925"/>
              <a:gd name="T9" fmla="*/ 692 h 1866"/>
              <a:gd name="T10" fmla="*/ 229 w 1925"/>
              <a:gd name="T11" fmla="*/ 864 h 1866"/>
              <a:gd name="T12" fmla="*/ 229 w 1925"/>
              <a:gd name="T13" fmla="*/ 1694 h 1866"/>
              <a:gd name="T14" fmla="*/ 644 w 1925"/>
              <a:gd name="T15" fmla="*/ 1866 h 1866"/>
              <a:gd name="T16" fmla="*/ 1059 w 1925"/>
              <a:gd name="T17" fmla="*/ 1694 h 1866"/>
              <a:gd name="T18" fmla="*/ 1155 w 1925"/>
              <a:gd name="T19" fmla="*/ 1561 h 1866"/>
              <a:gd name="T20" fmla="*/ 1535 w 1925"/>
              <a:gd name="T21" fmla="*/ 1866 h 1866"/>
              <a:gd name="T22" fmla="*/ 1925 w 1925"/>
              <a:gd name="T23" fmla="*/ 1476 h 1866"/>
              <a:gd name="T24" fmla="*/ 1925 w 1925"/>
              <a:gd name="T25" fmla="*/ 390 h 1866"/>
              <a:gd name="T26" fmla="*/ 1535 w 1925"/>
              <a:gd name="T27" fmla="*/ 0 h 1866"/>
              <a:gd name="T28" fmla="*/ 1535 w 1925"/>
              <a:gd name="T29" fmla="*/ 117 h 1866"/>
              <a:gd name="T30" fmla="*/ 1808 w 1925"/>
              <a:gd name="T31" fmla="*/ 390 h 1866"/>
              <a:gd name="T32" fmla="*/ 1808 w 1925"/>
              <a:gd name="T33" fmla="*/ 874 h 1866"/>
              <a:gd name="T34" fmla="*/ 1262 w 1925"/>
              <a:gd name="T35" fmla="*/ 874 h 1866"/>
              <a:gd name="T36" fmla="*/ 1262 w 1925"/>
              <a:gd name="T37" fmla="*/ 390 h 1866"/>
              <a:gd name="T38" fmla="*/ 1535 w 1925"/>
              <a:gd name="T39" fmla="*/ 117 h 1866"/>
              <a:gd name="T40" fmla="*/ 311 w 1925"/>
              <a:gd name="T41" fmla="*/ 946 h 1866"/>
              <a:gd name="T42" fmla="*/ 644 w 1925"/>
              <a:gd name="T43" fmla="*/ 809 h 1866"/>
              <a:gd name="T44" fmla="*/ 930 w 1925"/>
              <a:gd name="T45" fmla="*/ 909 h 1866"/>
              <a:gd name="T46" fmla="*/ 274 w 1925"/>
              <a:gd name="T47" fmla="*/ 1565 h 1866"/>
              <a:gd name="T48" fmla="*/ 311 w 1925"/>
              <a:gd name="T49" fmla="*/ 946 h 1866"/>
              <a:gd name="T50" fmla="*/ 976 w 1925"/>
              <a:gd name="T51" fmla="*/ 1611 h 1866"/>
              <a:gd name="T52" fmla="*/ 357 w 1925"/>
              <a:gd name="T53" fmla="*/ 1648 h 1866"/>
              <a:gd name="T54" fmla="*/ 1013 w 1925"/>
              <a:gd name="T55" fmla="*/ 992 h 1866"/>
              <a:gd name="T56" fmla="*/ 976 w 1925"/>
              <a:gd name="T57" fmla="*/ 1611 h 1866"/>
              <a:gd name="T58" fmla="*/ 1535 w 1925"/>
              <a:gd name="T59" fmla="*/ 1749 h 1866"/>
              <a:gd name="T60" fmla="*/ 1262 w 1925"/>
              <a:gd name="T61" fmla="*/ 1476 h 1866"/>
              <a:gd name="T62" fmla="*/ 1262 w 1925"/>
              <a:gd name="T63" fmla="*/ 991 h 1866"/>
              <a:gd name="T64" fmla="*/ 1808 w 1925"/>
              <a:gd name="T65" fmla="*/ 991 h 1866"/>
              <a:gd name="T66" fmla="*/ 1808 w 1925"/>
              <a:gd name="T67" fmla="*/ 1476 h 1866"/>
              <a:gd name="T68" fmla="*/ 1535 w 1925"/>
              <a:gd name="T69" fmla="*/ 1749 h 1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5" h="1866">
                <a:moveTo>
                  <a:pt x="1535" y="0"/>
                </a:moveTo>
                <a:cubicBezTo>
                  <a:pt x="1320" y="0"/>
                  <a:pt x="1145" y="175"/>
                  <a:pt x="1145" y="390"/>
                </a:cubicBezTo>
                <a:lnTo>
                  <a:pt x="1145" y="978"/>
                </a:lnTo>
                <a:cubicBezTo>
                  <a:pt x="1121" y="937"/>
                  <a:pt x="1093" y="899"/>
                  <a:pt x="1059" y="864"/>
                </a:cubicBezTo>
                <a:cubicBezTo>
                  <a:pt x="948" y="753"/>
                  <a:pt x="800" y="692"/>
                  <a:pt x="644" y="692"/>
                </a:cubicBezTo>
                <a:cubicBezTo>
                  <a:pt x="487" y="692"/>
                  <a:pt x="339" y="753"/>
                  <a:pt x="229" y="864"/>
                </a:cubicBezTo>
                <a:cubicBezTo>
                  <a:pt x="0" y="1093"/>
                  <a:pt x="0" y="1465"/>
                  <a:pt x="229" y="1694"/>
                </a:cubicBezTo>
                <a:cubicBezTo>
                  <a:pt x="339" y="1804"/>
                  <a:pt x="487" y="1866"/>
                  <a:pt x="644" y="1866"/>
                </a:cubicBezTo>
                <a:cubicBezTo>
                  <a:pt x="800" y="1866"/>
                  <a:pt x="948" y="1805"/>
                  <a:pt x="1059" y="1694"/>
                </a:cubicBezTo>
                <a:cubicBezTo>
                  <a:pt x="1099" y="1654"/>
                  <a:pt x="1129" y="1608"/>
                  <a:pt x="1155" y="1561"/>
                </a:cubicBezTo>
                <a:cubicBezTo>
                  <a:pt x="1194" y="1735"/>
                  <a:pt x="1349" y="1866"/>
                  <a:pt x="1535" y="1866"/>
                </a:cubicBezTo>
                <a:cubicBezTo>
                  <a:pt x="1750" y="1866"/>
                  <a:pt x="1925" y="1691"/>
                  <a:pt x="1925" y="1476"/>
                </a:cubicBezTo>
                <a:lnTo>
                  <a:pt x="1925" y="390"/>
                </a:lnTo>
                <a:cubicBezTo>
                  <a:pt x="1925" y="175"/>
                  <a:pt x="1750" y="0"/>
                  <a:pt x="1535" y="0"/>
                </a:cubicBezTo>
                <a:close/>
                <a:moveTo>
                  <a:pt x="1535" y="117"/>
                </a:moveTo>
                <a:cubicBezTo>
                  <a:pt x="1685" y="117"/>
                  <a:pt x="1808" y="240"/>
                  <a:pt x="1808" y="390"/>
                </a:cubicBezTo>
                <a:lnTo>
                  <a:pt x="1808" y="874"/>
                </a:lnTo>
                <a:lnTo>
                  <a:pt x="1262" y="874"/>
                </a:lnTo>
                <a:lnTo>
                  <a:pt x="1262" y="390"/>
                </a:lnTo>
                <a:cubicBezTo>
                  <a:pt x="1262" y="239"/>
                  <a:pt x="1385" y="117"/>
                  <a:pt x="1535" y="117"/>
                </a:cubicBezTo>
                <a:close/>
                <a:moveTo>
                  <a:pt x="311" y="946"/>
                </a:moveTo>
                <a:cubicBezTo>
                  <a:pt x="400" y="858"/>
                  <a:pt x="518" y="809"/>
                  <a:pt x="644" y="809"/>
                </a:cubicBezTo>
                <a:cubicBezTo>
                  <a:pt x="749" y="809"/>
                  <a:pt x="848" y="845"/>
                  <a:pt x="930" y="909"/>
                </a:cubicBezTo>
                <a:lnTo>
                  <a:pt x="274" y="1565"/>
                </a:lnTo>
                <a:cubicBezTo>
                  <a:pt x="131" y="1381"/>
                  <a:pt x="142" y="1115"/>
                  <a:pt x="311" y="946"/>
                </a:cubicBezTo>
                <a:close/>
                <a:moveTo>
                  <a:pt x="976" y="1611"/>
                </a:moveTo>
                <a:cubicBezTo>
                  <a:pt x="812" y="1775"/>
                  <a:pt x="538" y="1786"/>
                  <a:pt x="357" y="1648"/>
                </a:cubicBezTo>
                <a:lnTo>
                  <a:pt x="1013" y="992"/>
                </a:lnTo>
                <a:cubicBezTo>
                  <a:pt x="1156" y="1176"/>
                  <a:pt x="1145" y="1442"/>
                  <a:pt x="976" y="1611"/>
                </a:cubicBezTo>
                <a:close/>
                <a:moveTo>
                  <a:pt x="1535" y="1749"/>
                </a:moveTo>
                <a:cubicBezTo>
                  <a:pt x="1385" y="1749"/>
                  <a:pt x="1262" y="1626"/>
                  <a:pt x="1262" y="1476"/>
                </a:cubicBezTo>
                <a:lnTo>
                  <a:pt x="1262" y="991"/>
                </a:lnTo>
                <a:lnTo>
                  <a:pt x="1808" y="991"/>
                </a:lnTo>
                <a:lnTo>
                  <a:pt x="1808" y="1476"/>
                </a:lnTo>
                <a:cubicBezTo>
                  <a:pt x="1808" y="1626"/>
                  <a:pt x="1685" y="1749"/>
                  <a:pt x="1535" y="17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7" name="truck_151299">
            <a:extLst>
              <a:ext uri="{FF2B5EF4-FFF2-40B4-BE49-F238E27FC236}">
                <a16:creationId xmlns:a16="http://schemas.microsoft.com/office/drawing/2014/main" id="{D87EDFD2-F322-4440-8EC5-EE8BD981FC91}"/>
              </a:ext>
            </a:extLst>
          </p:cNvPr>
          <p:cNvSpPr/>
          <p:nvPr/>
        </p:nvSpPr>
        <p:spPr>
          <a:xfrm>
            <a:off x="9971246" y="3966433"/>
            <a:ext cx="266700" cy="190624"/>
          </a:xfrm>
          <a:custGeom>
            <a:avLst/>
            <a:gdLst>
              <a:gd name="connsiteX0" fmla="*/ 463129 w 606580"/>
              <a:gd name="connsiteY0" fmla="*/ 327235 h 433554"/>
              <a:gd name="connsiteX1" fmla="*/ 423111 w 606580"/>
              <a:gd name="connsiteY1" fmla="*/ 367278 h 433554"/>
              <a:gd name="connsiteX2" fmla="*/ 463129 w 606580"/>
              <a:gd name="connsiteY2" fmla="*/ 407229 h 433554"/>
              <a:gd name="connsiteX3" fmla="*/ 503240 w 606580"/>
              <a:gd name="connsiteY3" fmla="*/ 367278 h 433554"/>
              <a:gd name="connsiteX4" fmla="*/ 463129 w 606580"/>
              <a:gd name="connsiteY4" fmla="*/ 327235 h 433554"/>
              <a:gd name="connsiteX5" fmla="*/ 179755 w 606580"/>
              <a:gd name="connsiteY5" fmla="*/ 327235 h 433554"/>
              <a:gd name="connsiteX6" fmla="*/ 139737 w 606580"/>
              <a:gd name="connsiteY6" fmla="*/ 367278 h 433554"/>
              <a:gd name="connsiteX7" fmla="*/ 179755 w 606580"/>
              <a:gd name="connsiteY7" fmla="*/ 407229 h 433554"/>
              <a:gd name="connsiteX8" fmla="*/ 219866 w 606580"/>
              <a:gd name="connsiteY8" fmla="*/ 367278 h 433554"/>
              <a:gd name="connsiteX9" fmla="*/ 179755 w 606580"/>
              <a:gd name="connsiteY9" fmla="*/ 327235 h 433554"/>
              <a:gd name="connsiteX10" fmla="*/ 419640 w 606580"/>
              <a:gd name="connsiteY10" fmla="*/ 123772 h 433554"/>
              <a:gd name="connsiteX11" fmla="*/ 419640 w 606580"/>
              <a:gd name="connsiteY11" fmla="*/ 161030 h 433554"/>
              <a:gd name="connsiteX12" fmla="*/ 468961 w 606580"/>
              <a:gd name="connsiteY12" fmla="*/ 161030 h 433554"/>
              <a:gd name="connsiteX13" fmla="*/ 438867 w 606580"/>
              <a:gd name="connsiteY13" fmla="*/ 123772 h 433554"/>
              <a:gd name="connsiteX14" fmla="*/ 191419 w 606580"/>
              <a:gd name="connsiteY14" fmla="*/ 109859 h 433554"/>
              <a:gd name="connsiteX15" fmla="*/ 191419 w 606580"/>
              <a:gd name="connsiteY15" fmla="*/ 119316 h 433554"/>
              <a:gd name="connsiteX16" fmla="*/ 178235 w 606580"/>
              <a:gd name="connsiteY16" fmla="*/ 132481 h 433554"/>
              <a:gd name="connsiteX17" fmla="*/ 99968 w 606580"/>
              <a:gd name="connsiteY17" fmla="*/ 132481 h 433554"/>
              <a:gd name="connsiteX18" fmla="*/ 99968 w 606580"/>
              <a:gd name="connsiteY18" fmla="*/ 154547 h 433554"/>
              <a:gd name="connsiteX19" fmla="*/ 178235 w 606580"/>
              <a:gd name="connsiteY19" fmla="*/ 154547 h 433554"/>
              <a:gd name="connsiteX20" fmla="*/ 191419 w 606580"/>
              <a:gd name="connsiteY20" fmla="*/ 167713 h 433554"/>
              <a:gd name="connsiteX21" fmla="*/ 191419 w 606580"/>
              <a:gd name="connsiteY21" fmla="*/ 177170 h 433554"/>
              <a:gd name="connsiteX22" fmla="*/ 232270 w 606580"/>
              <a:gd name="connsiteY22" fmla="*/ 143514 h 433554"/>
              <a:gd name="connsiteX23" fmla="*/ 393261 w 606580"/>
              <a:gd name="connsiteY23" fmla="*/ 97451 h 433554"/>
              <a:gd name="connsiteX24" fmla="*/ 451592 w 606580"/>
              <a:gd name="connsiteY24" fmla="*/ 97451 h 433554"/>
              <a:gd name="connsiteX25" fmla="*/ 523948 w 606580"/>
              <a:gd name="connsiteY25" fmla="*/ 187351 h 433554"/>
              <a:gd name="connsiteX26" fmla="*/ 393261 w 606580"/>
              <a:gd name="connsiteY26" fmla="*/ 187351 h 433554"/>
              <a:gd name="connsiteX27" fmla="*/ 173953 w 606580"/>
              <a:gd name="connsiteY27" fmla="*/ 69447 h 433554"/>
              <a:gd name="connsiteX28" fmla="*/ 186684 w 606580"/>
              <a:gd name="connsiteY28" fmla="*/ 71753 h 433554"/>
              <a:gd name="connsiteX29" fmla="*/ 261423 w 606580"/>
              <a:gd name="connsiteY29" fmla="*/ 133316 h 433554"/>
              <a:gd name="connsiteX30" fmla="*/ 261423 w 606580"/>
              <a:gd name="connsiteY30" fmla="*/ 153713 h 433554"/>
              <a:gd name="connsiteX31" fmla="*/ 186684 w 606580"/>
              <a:gd name="connsiteY31" fmla="*/ 215276 h 433554"/>
              <a:gd name="connsiteX32" fmla="*/ 165051 w 606580"/>
              <a:gd name="connsiteY32" fmla="*/ 205077 h 433554"/>
              <a:gd name="connsiteX33" fmla="*/ 165051 w 606580"/>
              <a:gd name="connsiteY33" fmla="*/ 180879 h 433554"/>
              <a:gd name="connsiteX34" fmla="*/ 86784 w 606580"/>
              <a:gd name="connsiteY34" fmla="*/ 180879 h 433554"/>
              <a:gd name="connsiteX35" fmla="*/ 73600 w 606580"/>
              <a:gd name="connsiteY35" fmla="*/ 167713 h 433554"/>
              <a:gd name="connsiteX36" fmla="*/ 73600 w 606580"/>
              <a:gd name="connsiteY36" fmla="*/ 119316 h 433554"/>
              <a:gd name="connsiteX37" fmla="*/ 86784 w 606580"/>
              <a:gd name="connsiteY37" fmla="*/ 106150 h 433554"/>
              <a:gd name="connsiteX38" fmla="*/ 165051 w 606580"/>
              <a:gd name="connsiteY38" fmla="*/ 106150 h 433554"/>
              <a:gd name="connsiteX39" fmla="*/ 165051 w 606580"/>
              <a:gd name="connsiteY39" fmla="*/ 81952 h 433554"/>
              <a:gd name="connsiteX40" fmla="*/ 173953 w 606580"/>
              <a:gd name="connsiteY40" fmla="*/ 69447 h 433554"/>
              <a:gd name="connsiteX41" fmla="*/ 372787 w 606580"/>
              <a:gd name="connsiteY41" fmla="*/ 68805 h 433554"/>
              <a:gd name="connsiteX42" fmla="*/ 372787 w 606580"/>
              <a:gd name="connsiteY42" fmla="*/ 340953 h 433554"/>
              <a:gd name="connsiteX43" fmla="*/ 402220 w 606580"/>
              <a:gd name="connsiteY43" fmla="*/ 340953 h 433554"/>
              <a:gd name="connsiteX44" fmla="*/ 463129 w 606580"/>
              <a:gd name="connsiteY44" fmla="*/ 300910 h 433554"/>
              <a:gd name="connsiteX45" fmla="*/ 524130 w 606580"/>
              <a:gd name="connsiteY45" fmla="*/ 340953 h 433554"/>
              <a:gd name="connsiteX46" fmla="*/ 553471 w 606580"/>
              <a:gd name="connsiteY46" fmla="*/ 340953 h 433554"/>
              <a:gd name="connsiteX47" fmla="*/ 553471 w 606580"/>
              <a:gd name="connsiteY47" fmla="*/ 185228 h 433554"/>
              <a:gd name="connsiteX48" fmla="*/ 456908 w 606580"/>
              <a:gd name="connsiteY48" fmla="*/ 68805 h 433554"/>
              <a:gd name="connsiteX49" fmla="*/ 346418 w 606580"/>
              <a:gd name="connsiteY49" fmla="*/ 42480 h 433554"/>
              <a:gd name="connsiteX50" fmla="*/ 469350 w 606580"/>
              <a:gd name="connsiteY50" fmla="*/ 42480 h 433554"/>
              <a:gd name="connsiteX51" fmla="*/ 579932 w 606580"/>
              <a:gd name="connsiteY51" fmla="*/ 175681 h 433554"/>
              <a:gd name="connsiteX52" fmla="*/ 579932 w 606580"/>
              <a:gd name="connsiteY52" fmla="*/ 340953 h 433554"/>
              <a:gd name="connsiteX53" fmla="*/ 606580 w 606580"/>
              <a:gd name="connsiteY53" fmla="*/ 340953 h 433554"/>
              <a:gd name="connsiteX54" fmla="*/ 606580 w 606580"/>
              <a:gd name="connsiteY54" fmla="*/ 367278 h 433554"/>
              <a:gd name="connsiteX55" fmla="*/ 529609 w 606580"/>
              <a:gd name="connsiteY55" fmla="*/ 367278 h 433554"/>
              <a:gd name="connsiteX56" fmla="*/ 463129 w 606580"/>
              <a:gd name="connsiteY56" fmla="*/ 433554 h 433554"/>
              <a:gd name="connsiteX57" fmla="*/ 396742 w 606580"/>
              <a:gd name="connsiteY57" fmla="*/ 367278 h 433554"/>
              <a:gd name="connsiteX58" fmla="*/ 246235 w 606580"/>
              <a:gd name="connsiteY58" fmla="*/ 367278 h 433554"/>
              <a:gd name="connsiteX59" fmla="*/ 179755 w 606580"/>
              <a:gd name="connsiteY59" fmla="*/ 433554 h 433554"/>
              <a:gd name="connsiteX60" fmla="*/ 113368 w 606580"/>
              <a:gd name="connsiteY60" fmla="*/ 367278 h 433554"/>
              <a:gd name="connsiteX61" fmla="*/ 0 w 606580"/>
              <a:gd name="connsiteY61" fmla="*/ 367278 h 433554"/>
              <a:gd name="connsiteX62" fmla="*/ 0 w 606580"/>
              <a:gd name="connsiteY62" fmla="*/ 340953 h 433554"/>
              <a:gd name="connsiteX63" fmla="*/ 118846 w 606580"/>
              <a:gd name="connsiteY63" fmla="*/ 340953 h 433554"/>
              <a:gd name="connsiteX64" fmla="*/ 179755 w 606580"/>
              <a:gd name="connsiteY64" fmla="*/ 300910 h 433554"/>
              <a:gd name="connsiteX65" fmla="*/ 240756 w 606580"/>
              <a:gd name="connsiteY65" fmla="*/ 340953 h 433554"/>
              <a:gd name="connsiteX66" fmla="*/ 346418 w 606580"/>
              <a:gd name="connsiteY66" fmla="*/ 340953 h 433554"/>
              <a:gd name="connsiteX67" fmla="*/ 45981 w 606580"/>
              <a:gd name="connsiteY67" fmla="*/ 26326 h 433554"/>
              <a:gd name="connsiteX68" fmla="*/ 45981 w 606580"/>
              <a:gd name="connsiteY68" fmla="*/ 260664 h 433554"/>
              <a:gd name="connsiteX69" fmla="*/ 293932 w 606580"/>
              <a:gd name="connsiteY69" fmla="*/ 260664 h 433554"/>
              <a:gd name="connsiteX70" fmla="*/ 293932 w 606580"/>
              <a:gd name="connsiteY70" fmla="*/ 26326 h 433554"/>
              <a:gd name="connsiteX71" fmla="*/ 19617 w 606580"/>
              <a:gd name="connsiteY71" fmla="*/ 0 h 433554"/>
              <a:gd name="connsiteX72" fmla="*/ 320296 w 606580"/>
              <a:gd name="connsiteY72" fmla="*/ 0 h 433554"/>
              <a:gd name="connsiteX73" fmla="*/ 320296 w 606580"/>
              <a:gd name="connsiteY73" fmla="*/ 286990 h 433554"/>
              <a:gd name="connsiteX74" fmla="*/ 19617 w 606580"/>
              <a:gd name="connsiteY74" fmla="*/ 286990 h 433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6580" h="433554">
                <a:moveTo>
                  <a:pt x="463129" y="327235"/>
                </a:moveTo>
                <a:cubicBezTo>
                  <a:pt x="441031" y="327235"/>
                  <a:pt x="423111" y="345217"/>
                  <a:pt x="423111" y="367278"/>
                </a:cubicBezTo>
                <a:cubicBezTo>
                  <a:pt x="423111" y="389339"/>
                  <a:pt x="441031" y="407229"/>
                  <a:pt x="463129" y="407229"/>
                </a:cubicBezTo>
                <a:cubicBezTo>
                  <a:pt x="485227" y="407229"/>
                  <a:pt x="503240" y="389339"/>
                  <a:pt x="503240" y="367278"/>
                </a:cubicBezTo>
                <a:cubicBezTo>
                  <a:pt x="503240" y="345217"/>
                  <a:pt x="485227" y="327235"/>
                  <a:pt x="463129" y="327235"/>
                </a:cubicBezTo>
                <a:close/>
                <a:moveTo>
                  <a:pt x="179755" y="327235"/>
                </a:moveTo>
                <a:cubicBezTo>
                  <a:pt x="157750" y="327235"/>
                  <a:pt x="139737" y="345217"/>
                  <a:pt x="139737" y="367278"/>
                </a:cubicBezTo>
                <a:cubicBezTo>
                  <a:pt x="139737" y="389339"/>
                  <a:pt x="157750" y="407229"/>
                  <a:pt x="179755" y="407229"/>
                </a:cubicBezTo>
                <a:cubicBezTo>
                  <a:pt x="201853" y="407229"/>
                  <a:pt x="219866" y="389339"/>
                  <a:pt x="219866" y="367278"/>
                </a:cubicBezTo>
                <a:cubicBezTo>
                  <a:pt x="219866" y="345217"/>
                  <a:pt x="201853" y="327235"/>
                  <a:pt x="179755" y="327235"/>
                </a:cubicBezTo>
                <a:close/>
                <a:moveTo>
                  <a:pt x="419640" y="123772"/>
                </a:moveTo>
                <a:lnTo>
                  <a:pt x="419640" y="161030"/>
                </a:lnTo>
                <a:lnTo>
                  <a:pt x="468961" y="161030"/>
                </a:lnTo>
                <a:lnTo>
                  <a:pt x="438867" y="123772"/>
                </a:lnTo>
                <a:close/>
                <a:moveTo>
                  <a:pt x="191419" y="109859"/>
                </a:moveTo>
                <a:lnTo>
                  <a:pt x="191419" y="119316"/>
                </a:lnTo>
                <a:cubicBezTo>
                  <a:pt x="191419" y="126640"/>
                  <a:pt x="185570" y="132481"/>
                  <a:pt x="178235" y="132481"/>
                </a:cubicBezTo>
                <a:lnTo>
                  <a:pt x="99968" y="132481"/>
                </a:lnTo>
                <a:lnTo>
                  <a:pt x="99968" y="154547"/>
                </a:lnTo>
                <a:lnTo>
                  <a:pt x="178235" y="154547"/>
                </a:lnTo>
                <a:cubicBezTo>
                  <a:pt x="185570" y="154547"/>
                  <a:pt x="191419" y="160389"/>
                  <a:pt x="191419" y="167713"/>
                </a:cubicBezTo>
                <a:lnTo>
                  <a:pt x="191419" y="177170"/>
                </a:lnTo>
                <a:lnTo>
                  <a:pt x="232270" y="143514"/>
                </a:lnTo>
                <a:close/>
                <a:moveTo>
                  <a:pt x="393261" y="97451"/>
                </a:moveTo>
                <a:lnTo>
                  <a:pt x="451592" y="97451"/>
                </a:lnTo>
                <a:lnTo>
                  <a:pt x="523948" y="187351"/>
                </a:lnTo>
                <a:lnTo>
                  <a:pt x="393261" y="187351"/>
                </a:lnTo>
                <a:close/>
                <a:moveTo>
                  <a:pt x="173953" y="69447"/>
                </a:moveTo>
                <a:cubicBezTo>
                  <a:pt x="178467" y="67975"/>
                  <a:pt x="183620" y="68972"/>
                  <a:pt x="186684" y="71753"/>
                </a:cubicBezTo>
                <a:lnTo>
                  <a:pt x="261423" y="133316"/>
                </a:lnTo>
                <a:cubicBezTo>
                  <a:pt x="270336" y="141289"/>
                  <a:pt x="264951" y="150932"/>
                  <a:pt x="261423" y="153713"/>
                </a:cubicBezTo>
                <a:lnTo>
                  <a:pt x="186684" y="215276"/>
                </a:lnTo>
                <a:cubicBezTo>
                  <a:pt x="181949" y="220375"/>
                  <a:pt x="165608" y="220097"/>
                  <a:pt x="165051" y="205077"/>
                </a:cubicBezTo>
                <a:lnTo>
                  <a:pt x="165051" y="180879"/>
                </a:lnTo>
                <a:lnTo>
                  <a:pt x="86784" y="180879"/>
                </a:lnTo>
                <a:cubicBezTo>
                  <a:pt x="79542" y="180879"/>
                  <a:pt x="73600" y="174945"/>
                  <a:pt x="73600" y="167713"/>
                </a:cubicBezTo>
                <a:lnTo>
                  <a:pt x="73600" y="119316"/>
                </a:lnTo>
                <a:cubicBezTo>
                  <a:pt x="73600" y="112084"/>
                  <a:pt x="79542" y="106150"/>
                  <a:pt x="86784" y="106150"/>
                </a:cubicBezTo>
                <a:lnTo>
                  <a:pt x="165051" y="106150"/>
                </a:lnTo>
                <a:lnTo>
                  <a:pt x="165051" y="81952"/>
                </a:lnTo>
                <a:cubicBezTo>
                  <a:pt x="165562" y="74859"/>
                  <a:pt x="169438" y="70919"/>
                  <a:pt x="173953" y="69447"/>
                </a:cubicBezTo>
                <a:close/>
                <a:moveTo>
                  <a:pt x="372787" y="68805"/>
                </a:moveTo>
                <a:lnTo>
                  <a:pt x="372787" y="340953"/>
                </a:lnTo>
                <a:lnTo>
                  <a:pt x="402220" y="340953"/>
                </a:lnTo>
                <a:cubicBezTo>
                  <a:pt x="412434" y="317409"/>
                  <a:pt x="435924" y="300910"/>
                  <a:pt x="463129" y="300910"/>
                </a:cubicBezTo>
                <a:cubicBezTo>
                  <a:pt x="490426" y="300910"/>
                  <a:pt x="513917" y="317409"/>
                  <a:pt x="524130" y="340953"/>
                </a:cubicBezTo>
                <a:lnTo>
                  <a:pt x="553471" y="340953"/>
                </a:lnTo>
                <a:lnTo>
                  <a:pt x="553471" y="185228"/>
                </a:lnTo>
                <a:lnTo>
                  <a:pt x="456908" y="68805"/>
                </a:lnTo>
                <a:close/>
                <a:moveTo>
                  <a:pt x="346418" y="42480"/>
                </a:moveTo>
                <a:lnTo>
                  <a:pt x="469350" y="42480"/>
                </a:lnTo>
                <a:lnTo>
                  <a:pt x="579932" y="175681"/>
                </a:lnTo>
                <a:lnTo>
                  <a:pt x="579932" y="340953"/>
                </a:lnTo>
                <a:lnTo>
                  <a:pt x="606580" y="340953"/>
                </a:lnTo>
                <a:lnTo>
                  <a:pt x="606580" y="367278"/>
                </a:lnTo>
                <a:lnTo>
                  <a:pt x="529609" y="367278"/>
                </a:lnTo>
                <a:cubicBezTo>
                  <a:pt x="529609" y="403800"/>
                  <a:pt x="499804" y="433554"/>
                  <a:pt x="463129" y="433554"/>
                </a:cubicBezTo>
                <a:cubicBezTo>
                  <a:pt x="426547" y="433554"/>
                  <a:pt x="396742" y="403800"/>
                  <a:pt x="396742" y="367278"/>
                </a:cubicBezTo>
                <a:lnTo>
                  <a:pt x="246235" y="367278"/>
                </a:lnTo>
                <a:cubicBezTo>
                  <a:pt x="246235" y="403800"/>
                  <a:pt x="216430" y="433554"/>
                  <a:pt x="179755" y="433554"/>
                </a:cubicBezTo>
                <a:cubicBezTo>
                  <a:pt x="143173" y="433554"/>
                  <a:pt x="113368" y="403800"/>
                  <a:pt x="113368" y="367278"/>
                </a:cubicBezTo>
                <a:lnTo>
                  <a:pt x="0" y="367278"/>
                </a:lnTo>
                <a:lnTo>
                  <a:pt x="0" y="340953"/>
                </a:lnTo>
                <a:lnTo>
                  <a:pt x="118846" y="340953"/>
                </a:lnTo>
                <a:cubicBezTo>
                  <a:pt x="129060" y="317409"/>
                  <a:pt x="152550" y="300910"/>
                  <a:pt x="179755" y="300910"/>
                </a:cubicBezTo>
                <a:cubicBezTo>
                  <a:pt x="207052" y="300910"/>
                  <a:pt x="230543" y="317409"/>
                  <a:pt x="240756" y="340953"/>
                </a:cubicBezTo>
                <a:lnTo>
                  <a:pt x="346418" y="340953"/>
                </a:lnTo>
                <a:close/>
                <a:moveTo>
                  <a:pt x="45981" y="26326"/>
                </a:moveTo>
                <a:lnTo>
                  <a:pt x="45981" y="260664"/>
                </a:lnTo>
                <a:lnTo>
                  <a:pt x="293932" y="260664"/>
                </a:lnTo>
                <a:lnTo>
                  <a:pt x="293932" y="26326"/>
                </a:lnTo>
                <a:close/>
                <a:moveTo>
                  <a:pt x="19617" y="0"/>
                </a:moveTo>
                <a:lnTo>
                  <a:pt x="320296" y="0"/>
                </a:lnTo>
                <a:lnTo>
                  <a:pt x="320296" y="286990"/>
                </a:lnTo>
                <a:lnTo>
                  <a:pt x="19617" y="2869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8" name="iconfont-10815-5193369">
            <a:extLst>
              <a:ext uri="{FF2B5EF4-FFF2-40B4-BE49-F238E27FC236}">
                <a16:creationId xmlns:a16="http://schemas.microsoft.com/office/drawing/2014/main" id="{B7B8A652-B4E3-4043-9564-93491E1CC030}"/>
              </a:ext>
            </a:extLst>
          </p:cNvPr>
          <p:cNvSpPr/>
          <p:nvPr/>
        </p:nvSpPr>
        <p:spPr>
          <a:xfrm rot="16200000">
            <a:off x="6767489" y="3945708"/>
            <a:ext cx="182312" cy="232074"/>
          </a:xfrm>
          <a:custGeom>
            <a:avLst/>
            <a:gdLst>
              <a:gd name="T0" fmla="*/ 7234 w 8800"/>
              <a:gd name="T1" fmla="*/ 1400 h 11200"/>
              <a:gd name="T2" fmla="*/ 7788 w 8800"/>
              <a:gd name="T3" fmla="*/ 581 h 11200"/>
              <a:gd name="T4" fmla="*/ 7088 w 8800"/>
              <a:gd name="T5" fmla="*/ 581 h 11200"/>
              <a:gd name="T6" fmla="*/ 6388 w 8800"/>
              <a:gd name="T7" fmla="*/ 581 h 11200"/>
              <a:gd name="T8" fmla="*/ 5688 w 8800"/>
              <a:gd name="T9" fmla="*/ 581 h 11200"/>
              <a:gd name="T10" fmla="*/ 4988 w 8800"/>
              <a:gd name="T11" fmla="*/ 581 h 11200"/>
              <a:gd name="T12" fmla="*/ 4288 w 8800"/>
              <a:gd name="T13" fmla="*/ 581 h 11200"/>
              <a:gd name="T14" fmla="*/ 3588 w 8800"/>
              <a:gd name="T15" fmla="*/ 581 h 11200"/>
              <a:gd name="T16" fmla="*/ 2888 w 8800"/>
              <a:gd name="T17" fmla="*/ 581 h 11200"/>
              <a:gd name="T18" fmla="*/ 2188 w 8800"/>
              <a:gd name="T19" fmla="*/ 581 h 11200"/>
              <a:gd name="T20" fmla="*/ 1488 w 8800"/>
              <a:gd name="T21" fmla="*/ 581 h 11200"/>
              <a:gd name="T22" fmla="*/ 513 w 8800"/>
              <a:gd name="T23" fmla="*/ 400 h 11200"/>
              <a:gd name="T24" fmla="*/ 789 w 8800"/>
              <a:gd name="T25" fmla="*/ 9698 h 11200"/>
              <a:gd name="T26" fmla="*/ 1249 w 8800"/>
              <a:gd name="T27" fmla="*/ 10443 h 11200"/>
              <a:gd name="T28" fmla="*/ 1949 w 8800"/>
              <a:gd name="T29" fmla="*/ 10443 h 11200"/>
              <a:gd name="T30" fmla="*/ 2649 w 8800"/>
              <a:gd name="T31" fmla="*/ 10443 h 11200"/>
              <a:gd name="T32" fmla="*/ 3349 w 8800"/>
              <a:gd name="T33" fmla="*/ 10443 h 11200"/>
              <a:gd name="T34" fmla="*/ 4049 w 8800"/>
              <a:gd name="T35" fmla="*/ 10443 h 11200"/>
              <a:gd name="T36" fmla="*/ 4749 w 8800"/>
              <a:gd name="T37" fmla="*/ 10443 h 11200"/>
              <a:gd name="T38" fmla="*/ 5449 w 8800"/>
              <a:gd name="T39" fmla="*/ 10443 h 11200"/>
              <a:gd name="T40" fmla="*/ 6149 w 8800"/>
              <a:gd name="T41" fmla="*/ 10443 h 11200"/>
              <a:gd name="T42" fmla="*/ 6849 w 8800"/>
              <a:gd name="T43" fmla="*/ 10443 h 11200"/>
              <a:gd name="T44" fmla="*/ 7549 w 8800"/>
              <a:gd name="T45" fmla="*/ 10443 h 11200"/>
              <a:gd name="T46" fmla="*/ 8013 w 8800"/>
              <a:gd name="T47" fmla="*/ 9699 h 11200"/>
              <a:gd name="T48" fmla="*/ 8288 w 8800"/>
              <a:gd name="T49" fmla="*/ 400 h 11200"/>
              <a:gd name="T50" fmla="*/ 8400 w 8800"/>
              <a:gd name="T51" fmla="*/ 9600 h 11200"/>
              <a:gd name="T52" fmla="*/ 7200 w 8800"/>
              <a:gd name="T53" fmla="*/ 11200 h 11200"/>
              <a:gd name="T54" fmla="*/ 5800 w 8800"/>
              <a:gd name="T55" fmla="*/ 11200 h 11200"/>
              <a:gd name="T56" fmla="*/ 4400 w 8800"/>
              <a:gd name="T57" fmla="*/ 11200 h 11200"/>
              <a:gd name="T58" fmla="*/ 3000 w 8800"/>
              <a:gd name="T59" fmla="*/ 11200 h 11200"/>
              <a:gd name="T60" fmla="*/ 1600 w 8800"/>
              <a:gd name="T61" fmla="*/ 11200 h 11200"/>
              <a:gd name="T62" fmla="*/ 400 w 8800"/>
              <a:gd name="T63" fmla="*/ 9601 h 11200"/>
              <a:gd name="T64" fmla="*/ 900 w 8800"/>
              <a:gd name="T65" fmla="*/ 0 h 11200"/>
              <a:gd name="T66" fmla="*/ 2300 w 8800"/>
              <a:gd name="T67" fmla="*/ 0 h 11200"/>
              <a:gd name="T68" fmla="*/ 3700 w 8800"/>
              <a:gd name="T69" fmla="*/ 0 h 11200"/>
              <a:gd name="T70" fmla="*/ 5100 w 8800"/>
              <a:gd name="T71" fmla="*/ 0 h 11200"/>
              <a:gd name="T72" fmla="*/ 6500 w 8800"/>
              <a:gd name="T73" fmla="*/ 0 h 11200"/>
              <a:gd name="T74" fmla="*/ 7900 w 8800"/>
              <a:gd name="T75" fmla="*/ 0 h 11200"/>
              <a:gd name="T76" fmla="*/ 6860 w 8800"/>
              <a:gd name="T77" fmla="*/ 8360 h 11200"/>
              <a:gd name="T78" fmla="*/ 3420 w 8800"/>
              <a:gd name="T79" fmla="*/ 7320 h 11200"/>
              <a:gd name="T80" fmla="*/ 5683 w 8800"/>
              <a:gd name="T81" fmla="*/ 6600 h 11200"/>
              <a:gd name="T82" fmla="*/ 5240 w 8800"/>
              <a:gd name="T83" fmla="*/ 6491 h 11200"/>
              <a:gd name="T84" fmla="*/ 3994 w 8800"/>
              <a:gd name="T85" fmla="*/ 3408 h 11200"/>
              <a:gd name="T86" fmla="*/ 3030 w 8800"/>
              <a:gd name="T87" fmla="*/ 4131 h 11200"/>
              <a:gd name="T88" fmla="*/ 5124 w 8800"/>
              <a:gd name="T89" fmla="*/ 5811 h 11200"/>
              <a:gd name="T90" fmla="*/ 4149 w 8800"/>
              <a:gd name="T91" fmla="*/ 4829 h 11200"/>
              <a:gd name="T92" fmla="*/ 4806 w 8800"/>
              <a:gd name="T93" fmla="*/ 5568 h 11200"/>
              <a:gd name="T94" fmla="*/ 2815 w 8800"/>
              <a:gd name="T95" fmla="*/ 5074 h 11200"/>
              <a:gd name="T96" fmla="*/ 2000 w 8800"/>
              <a:gd name="T97" fmla="*/ 1400 h 11200"/>
              <a:gd name="T98" fmla="*/ 2000 w 8800"/>
              <a:gd name="T99" fmla="*/ 1400 h 11200"/>
              <a:gd name="T100" fmla="*/ 6419 w 8800"/>
              <a:gd name="T101" fmla="*/ 9801 h 11200"/>
              <a:gd name="T102" fmla="*/ 6800 w 8800"/>
              <a:gd name="T103" fmla="*/ 9801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00" h="11200">
                <a:moveTo>
                  <a:pt x="7234" y="1800"/>
                </a:moveTo>
                <a:lnTo>
                  <a:pt x="2434" y="1800"/>
                </a:lnTo>
                <a:lnTo>
                  <a:pt x="2434" y="1400"/>
                </a:lnTo>
                <a:lnTo>
                  <a:pt x="7234" y="1400"/>
                </a:lnTo>
                <a:lnTo>
                  <a:pt x="7234" y="1800"/>
                </a:lnTo>
                <a:close/>
                <a:moveTo>
                  <a:pt x="8288" y="400"/>
                </a:moveTo>
                <a:lnTo>
                  <a:pt x="8031" y="400"/>
                </a:lnTo>
                <a:lnTo>
                  <a:pt x="7788" y="581"/>
                </a:lnTo>
                <a:lnTo>
                  <a:pt x="7550" y="758"/>
                </a:lnTo>
                <a:lnTo>
                  <a:pt x="7313" y="581"/>
                </a:lnTo>
                <a:lnTo>
                  <a:pt x="7200" y="499"/>
                </a:lnTo>
                <a:lnTo>
                  <a:pt x="7088" y="581"/>
                </a:lnTo>
                <a:lnTo>
                  <a:pt x="6850" y="758"/>
                </a:lnTo>
                <a:lnTo>
                  <a:pt x="6613" y="581"/>
                </a:lnTo>
                <a:lnTo>
                  <a:pt x="6500" y="499"/>
                </a:lnTo>
                <a:lnTo>
                  <a:pt x="6388" y="581"/>
                </a:lnTo>
                <a:lnTo>
                  <a:pt x="6150" y="758"/>
                </a:lnTo>
                <a:lnTo>
                  <a:pt x="5913" y="581"/>
                </a:lnTo>
                <a:lnTo>
                  <a:pt x="5800" y="499"/>
                </a:lnTo>
                <a:lnTo>
                  <a:pt x="5688" y="581"/>
                </a:lnTo>
                <a:lnTo>
                  <a:pt x="5450" y="758"/>
                </a:lnTo>
                <a:lnTo>
                  <a:pt x="5213" y="581"/>
                </a:lnTo>
                <a:lnTo>
                  <a:pt x="5100" y="499"/>
                </a:lnTo>
                <a:lnTo>
                  <a:pt x="4988" y="581"/>
                </a:lnTo>
                <a:lnTo>
                  <a:pt x="4750" y="758"/>
                </a:lnTo>
                <a:lnTo>
                  <a:pt x="4513" y="581"/>
                </a:lnTo>
                <a:lnTo>
                  <a:pt x="4400" y="499"/>
                </a:lnTo>
                <a:lnTo>
                  <a:pt x="4288" y="581"/>
                </a:lnTo>
                <a:lnTo>
                  <a:pt x="4050" y="758"/>
                </a:lnTo>
                <a:lnTo>
                  <a:pt x="3813" y="581"/>
                </a:lnTo>
                <a:lnTo>
                  <a:pt x="3700" y="499"/>
                </a:lnTo>
                <a:lnTo>
                  <a:pt x="3588" y="581"/>
                </a:lnTo>
                <a:lnTo>
                  <a:pt x="3350" y="758"/>
                </a:lnTo>
                <a:lnTo>
                  <a:pt x="3113" y="581"/>
                </a:lnTo>
                <a:lnTo>
                  <a:pt x="3000" y="499"/>
                </a:lnTo>
                <a:lnTo>
                  <a:pt x="2888" y="581"/>
                </a:lnTo>
                <a:lnTo>
                  <a:pt x="2650" y="758"/>
                </a:lnTo>
                <a:lnTo>
                  <a:pt x="2413" y="581"/>
                </a:lnTo>
                <a:lnTo>
                  <a:pt x="2300" y="499"/>
                </a:lnTo>
                <a:lnTo>
                  <a:pt x="2188" y="581"/>
                </a:lnTo>
                <a:lnTo>
                  <a:pt x="1950" y="758"/>
                </a:lnTo>
                <a:lnTo>
                  <a:pt x="1713" y="581"/>
                </a:lnTo>
                <a:lnTo>
                  <a:pt x="1600" y="499"/>
                </a:lnTo>
                <a:lnTo>
                  <a:pt x="1488" y="581"/>
                </a:lnTo>
                <a:lnTo>
                  <a:pt x="1250" y="758"/>
                </a:lnTo>
                <a:lnTo>
                  <a:pt x="1013" y="581"/>
                </a:lnTo>
                <a:lnTo>
                  <a:pt x="768" y="400"/>
                </a:lnTo>
                <a:lnTo>
                  <a:pt x="513" y="400"/>
                </a:lnTo>
                <a:lnTo>
                  <a:pt x="789" y="1504"/>
                </a:lnTo>
                <a:lnTo>
                  <a:pt x="801" y="1551"/>
                </a:lnTo>
                <a:lnTo>
                  <a:pt x="801" y="9650"/>
                </a:lnTo>
                <a:lnTo>
                  <a:pt x="789" y="9698"/>
                </a:lnTo>
                <a:lnTo>
                  <a:pt x="513" y="10800"/>
                </a:lnTo>
                <a:lnTo>
                  <a:pt x="768" y="10800"/>
                </a:lnTo>
                <a:lnTo>
                  <a:pt x="1011" y="10619"/>
                </a:lnTo>
                <a:lnTo>
                  <a:pt x="1249" y="10443"/>
                </a:lnTo>
                <a:lnTo>
                  <a:pt x="1486" y="10619"/>
                </a:lnTo>
                <a:lnTo>
                  <a:pt x="1599" y="10701"/>
                </a:lnTo>
                <a:lnTo>
                  <a:pt x="1711" y="10619"/>
                </a:lnTo>
                <a:lnTo>
                  <a:pt x="1949" y="10443"/>
                </a:lnTo>
                <a:lnTo>
                  <a:pt x="2186" y="10619"/>
                </a:lnTo>
                <a:lnTo>
                  <a:pt x="2299" y="10701"/>
                </a:lnTo>
                <a:lnTo>
                  <a:pt x="2411" y="10619"/>
                </a:lnTo>
                <a:lnTo>
                  <a:pt x="2649" y="10443"/>
                </a:lnTo>
                <a:lnTo>
                  <a:pt x="2886" y="10619"/>
                </a:lnTo>
                <a:lnTo>
                  <a:pt x="2999" y="10701"/>
                </a:lnTo>
                <a:lnTo>
                  <a:pt x="3111" y="10619"/>
                </a:lnTo>
                <a:lnTo>
                  <a:pt x="3349" y="10443"/>
                </a:lnTo>
                <a:lnTo>
                  <a:pt x="3586" y="10619"/>
                </a:lnTo>
                <a:lnTo>
                  <a:pt x="3699" y="10701"/>
                </a:lnTo>
                <a:lnTo>
                  <a:pt x="3811" y="10619"/>
                </a:lnTo>
                <a:lnTo>
                  <a:pt x="4049" y="10443"/>
                </a:lnTo>
                <a:lnTo>
                  <a:pt x="4286" y="10619"/>
                </a:lnTo>
                <a:lnTo>
                  <a:pt x="4399" y="10701"/>
                </a:lnTo>
                <a:lnTo>
                  <a:pt x="4511" y="10619"/>
                </a:lnTo>
                <a:lnTo>
                  <a:pt x="4749" y="10443"/>
                </a:lnTo>
                <a:lnTo>
                  <a:pt x="4986" y="10619"/>
                </a:lnTo>
                <a:lnTo>
                  <a:pt x="5099" y="10701"/>
                </a:lnTo>
                <a:lnTo>
                  <a:pt x="5211" y="10619"/>
                </a:lnTo>
                <a:lnTo>
                  <a:pt x="5449" y="10443"/>
                </a:lnTo>
                <a:lnTo>
                  <a:pt x="5686" y="10619"/>
                </a:lnTo>
                <a:lnTo>
                  <a:pt x="5799" y="10701"/>
                </a:lnTo>
                <a:lnTo>
                  <a:pt x="5911" y="10619"/>
                </a:lnTo>
                <a:lnTo>
                  <a:pt x="6149" y="10443"/>
                </a:lnTo>
                <a:lnTo>
                  <a:pt x="6386" y="10619"/>
                </a:lnTo>
                <a:lnTo>
                  <a:pt x="6499" y="10701"/>
                </a:lnTo>
                <a:lnTo>
                  <a:pt x="6611" y="10619"/>
                </a:lnTo>
                <a:lnTo>
                  <a:pt x="6849" y="10443"/>
                </a:lnTo>
                <a:lnTo>
                  <a:pt x="7086" y="10619"/>
                </a:lnTo>
                <a:lnTo>
                  <a:pt x="7199" y="10701"/>
                </a:lnTo>
                <a:lnTo>
                  <a:pt x="7311" y="10619"/>
                </a:lnTo>
                <a:lnTo>
                  <a:pt x="7549" y="10443"/>
                </a:lnTo>
                <a:lnTo>
                  <a:pt x="7786" y="10619"/>
                </a:lnTo>
                <a:lnTo>
                  <a:pt x="8030" y="10800"/>
                </a:lnTo>
                <a:lnTo>
                  <a:pt x="8288" y="10800"/>
                </a:lnTo>
                <a:lnTo>
                  <a:pt x="8013" y="9699"/>
                </a:lnTo>
                <a:lnTo>
                  <a:pt x="8000" y="9651"/>
                </a:lnTo>
                <a:lnTo>
                  <a:pt x="8000" y="1551"/>
                </a:lnTo>
                <a:lnTo>
                  <a:pt x="8013" y="1504"/>
                </a:lnTo>
                <a:lnTo>
                  <a:pt x="8288" y="400"/>
                </a:lnTo>
                <a:close/>
                <a:moveTo>
                  <a:pt x="8800" y="0"/>
                </a:moveTo>
                <a:close/>
                <a:moveTo>
                  <a:pt x="8800" y="0"/>
                </a:moveTo>
                <a:lnTo>
                  <a:pt x="8400" y="1600"/>
                </a:lnTo>
                <a:lnTo>
                  <a:pt x="8400" y="9600"/>
                </a:lnTo>
                <a:lnTo>
                  <a:pt x="8800" y="11200"/>
                </a:lnTo>
                <a:lnTo>
                  <a:pt x="7900" y="11200"/>
                </a:lnTo>
                <a:lnTo>
                  <a:pt x="7550" y="10941"/>
                </a:lnTo>
                <a:lnTo>
                  <a:pt x="7200" y="11200"/>
                </a:lnTo>
                <a:lnTo>
                  <a:pt x="6850" y="10941"/>
                </a:lnTo>
                <a:lnTo>
                  <a:pt x="6500" y="11200"/>
                </a:lnTo>
                <a:lnTo>
                  <a:pt x="6150" y="10941"/>
                </a:lnTo>
                <a:lnTo>
                  <a:pt x="5800" y="11200"/>
                </a:lnTo>
                <a:lnTo>
                  <a:pt x="5450" y="10941"/>
                </a:lnTo>
                <a:lnTo>
                  <a:pt x="5100" y="11200"/>
                </a:lnTo>
                <a:lnTo>
                  <a:pt x="4750" y="10941"/>
                </a:lnTo>
                <a:lnTo>
                  <a:pt x="4400" y="11200"/>
                </a:lnTo>
                <a:lnTo>
                  <a:pt x="4050" y="10941"/>
                </a:lnTo>
                <a:lnTo>
                  <a:pt x="3700" y="11200"/>
                </a:lnTo>
                <a:lnTo>
                  <a:pt x="3350" y="10941"/>
                </a:lnTo>
                <a:lnTo>
                  <a:pt x="3000" y="11200"/>
                </a:lnTo>
                <a:lnTo>
                  <a:pt x="2650" y="10941"/>
                </a:lnTo>
                <a:lnTo>
                  <a:pt x="2300" y="11200"/>
                </a:lnTo>
                <a:lnTo>
                  <a:pt x="1950" y="10941"/>
                </a:lnTo>
                <a:lnTo>
                  <a:pt x="1600" y="11200"/>
                </a:lnTo>
                <a:lnTo>
                  <a:pt x="1250" y="10941"/>
                </a:lnTo>
                <a:lnTo>
                  <a:pt x="900" y="11200"/>
                </a:lnTo>
                <a:lnTo>
                  <a:pt x="0" y="11200"/>
                </a:lnTo>
                <a:lnTo>
                  <a:pt x="400" y="9601"/>
                </a:lnTo>
                <a:lnTo>
                  <a:pt x="400" y="5600"/>
                </a:lnTo>
                <a:lnTo>
                  <a:pt x="400" y="1600"/>
                </a:lnTo>
                <a:lnTo>
                  <a:pt x="0" y="0"/>
                </a:lnTo>
                <a:lnTo>
                  <a:pt x="900" y="0"/>
                </a:lnTo>
                <a:lnTo>
                  <a:pt x="1250" y="259"/>
                </a:lnTo>
                <a:lnTo>
                  <a:pt x="1600" y="0"/>
                </a:lnTo>
                <a:lnTo>
                  <a:pt x="1950" y="259"/>
                </a:lnTo>
                <a:lnTo>
                  <a:pt x="2300" y="0"/>
                </a:lnTo>
                <a:lnTo>
                  <a:pt x="2650" y="259"/>
                </a:lnTo>
                <a:lnTo>
                  <a:pt x="3000" y="0"/>
                </a:lnTo>
                <a:lnTo>
                  <a:pt x="3350" y="259"/>
                </a:lnTo>
                <a:lnTo>
                  <a:pt x="3700" y="0"/>
                </a:lnTo>
                <a:lnTo>
                  <a:pt x="4050" y="259"/>
                </a:lnTo>
                <a:lnTo>
                  <a:pt x="4400" y="0"/>
                </a:lnTo>
                <a:lnTo>
                  <a:pt x="4750" y="259"/>
                </a:lnTo>
                <a:lnTo>
                  <a:pt x="5100" y="0"/>
                </a:lnTo>
                <a:lnTo>
                  <a:pt x="5450" y="259"/>
                </a:lnTo>
                <a:lnTo>
                  <a:pt x="5800" y="0"/>
                </a:lnTo>
                <a:lnTo>
                  <a:pt x="6150" y="259"/>
                </a:lnTo>
                <a:lnTo>
                  <a:pt x="6500" y="0"/>
                </a:lnTo>
                <a:lnTo>
                  <a:pt x="6850" y="259"/>
                </a:lnTo>
                <a:lnTo>
                  <a:pt x="7200" y="0"/>
                </a:lnTo>
                <a:lnTo>
                  <a:pt x="7550" y="259"/>
                </a:lnTo>
                <a:lnTo>
                  <a:pt x="7900" y="0"/>
                </a:lnTo>
                <a:lnTo>
                  <a:pt x="8800" y="0"/>
                </a:lnTo>
                <a:close/>
                <a:moveTo>
                  <a:pt x="7153" y="8360"/>
                </a:moveTo>
                <a:cubicBezTo>
                  <a:pt x="7113" y="8400"/>
                  <a:pt x="7060" y="8420"/>
                  <a:pt x="7006" y="8420"/>
                </a:cubicBezTo>
                <a:cubicBezTo>
                  <a:pt x="6953" y="8420"/>
                  <a:pt x="6901" y="8400"/>
                  <a:pt x="6860" y="8360"/>
                </a:cubicBezTo>
                <a:lnTo>
                  <a:pt x="5393" y="6891"/>
                </a:lnTo>
                <a:cubicBezTo>
                  <a:pt x="5013" y="7206"/>
                  <a:pt x="4525" y="7396"/>
                  <a:pt x="3994" y="7396"/>
                </a:cubicBezTo>
                <a:cubicBezTo>
                  <a:pt x="3801" y="7396"/>
                  <a:pt x="3615" y="7371"/>
                  <a:pt x="3438" y="7325"/>
                </a:cubicBezTo>
                <a:cubicBezTo>
                  <a:pt x="3431" y="7324"/>
                  <a:pt x="3426" y="7322"/>
                  <a:pt x="3420" y="7320"/>
                </a:cubicBezTo>
                <a:cubicBezTo>
                  <a:pt x="2488" y="7068"/>
                  <a:pt x="1800" y="6213"/>
                  <a:pt x="1800" y="5201"/>
                </a:cubicBezTo>
                <a:cubicBezTo>
                  <a:pt x="1800" y="3991"/>
                  <a:pt x="2784" y="3006"/>
                  <a:pt x="3994" y="3006"/>
                </a:cubicBezTo>
                <a:cubicBezTo>
                  <a:pt x="5204" y="3006"/>
                  <a:pt x="6188" y="3991"/>
                  <a:pt x="6188" y="5201"/>
                </a:cubicBezTo>
                <a:cubicBezTo>
                  <a:pt x="6188" y="5733"/>
                  <a:pt x="5997" y="6220"/>
                  <a:pt x="5683" y="6600"/>
                </a:cubicBezTo>
                <a:lnTo>
                  <a:pt x="7150" y="8069"/>
                </a:lnTo>
                <a:cubicBezTo>
                  <a:pt x="7233" y="8149"/>
                  <a:pt x="7233" y="8279"/>
                  <a:pt x="7153" y="8360"/>
                </a:cubicBezTo>
                <a:close/>
                <a:moveTo>
                  <a:pt x="3994" y="6996"/>
                </a:moveTo>
                <a:cubicBezTo>
                  <a:pt x="4478" y="6996"/>
                  <a:pt x="4918" y="6804"/>
                  <a:pt x="5240" y="6491"/>
                </a:cubicBezTo>
                <a:cubicBezTo>
                  <a:pt x="5246" y="6484"/>
                  <a:pt x="5253" y="6475"/>
                  <a:pt x="5260" y="6469"/>
                </a:cubicBezTo>
                <a:cubicBezTo>
                  <a:pt x="5268" y="6461"/>
                  <a:pt x="5275" y="6455"/>
                  <a:pt x="5283" y="6449"/>
                </a:cubicBezTo>
                <a:cubicBezTo>
                  <a:pt x="5595" y="6126"/>
                  <a:pt x="5788" y="5686"/>
                  <a:pt x="5788" y="5203"/>
                </a:cubicBezTo>
                <a:cubicBezTo>
                  <a:pt x="5788" y="4213"/>
                  <a:pt x="4983" y="3408"/>
                  <a:pt x="3994" y="3408"/>
                </a:cubicBezTo>
                <a:cubicBezTo>
                  <a:pt x="3005" y="3408"/>
                  <a:pt x="2200" y="4211"/>
                  <a:pt x="2200" y="5201"/>
                </a:cubicBezTo>
                <a:cubicBezTo>
                  <a:pt x="2200" y="5373"/>
                  <a:pt x="2224" y="5538"/>
                  <a:pt x="2269" y="5694"/>
                </a:cubicBezTo>
                <a:cubicBezTo>
                  <a:pt x="2274" y="5435"/>
                  <a:pt x="2334" y="5171"/>
                  <a:pt x="2450" y="4911"/>
                </a:cubicBezTo>
                <a:cubicBezTo>
                  <a:pt x="2585" y="4608"/>
                  <a:pt x="2786" y="4339"/>
                  <a:pt x="3030" y="4131"/>
                </a:cubicBezTo>
                <a:cubicBezTo>
                  <a:pt x="3285" y="3915"/>
                  <a:pt x="3564" y="3788"/>
                  <a:pt x="3836" y="3764"/>
                </a:cubicBezTo>
                <a:cubicBezTo>
                  <a:pt x="4253" y="3728"/>
                  <a:pt x="4619" y="3844"/>
                  <a:pt x="4895" y="4100"/>
                </a:cubicBezTo>
                <a:cubicBezTo>
                  <a:pt x="5129" y="4316"/>
                  <a:pt x="5285" y="4624"/>
                  <a:pt x="5336" y="4965"/>
                </a:cubicBezTo>
                <a:cubicBezTo>
                  <a:pt x="5383" y="5271"/>
                  <a:pt x="5306" y="5573"/>
                  <a:pt x="5124" y="5811"/>
                </a:cubicBezTo>
                <a:cubicBezTo>
                  <a:pt x="4950" y="6039"/>
                  <a:pt x="4694" y="6188"/>
                  <a:pt x="4424" y="6219"/>
                </a:cubicBezTo>
                <a:cubicBezTo>
                  <a:pt x="3884" y="6281"/>
                  <a:pt x="3544" y="5935"/>
                  <a:pt x="3458" y="5586"/>
                </a:cubicBezTo>
                <a:cubicBezTo>
                  <a:pt x="3364" y="5209"/>
                  <a:pt x="3543" y="4851"/>
                  <a:pt x="3890" y="4715"/>
                </a:cubicBezTo>
                <a:cubicBezTo>
                  <a:pt x="3993" y="4675"/>
                  <a:pt x="4109" y="4726"/>
                  <a:pt x="4149" y="4829"/>
                </a:cubicBezTo>
                <a:cubicBezTo>
                  <a:pt x="4189" y="4931"/>
                  <a:pt x="4138" y="5048"/>
                  <a:pt x="4035" y="5088"/>
                </a:cubicBezTo>
                <a:cubicBezTo>
                  <a:pt x="3840" y="5164"/>
                  <a:pt x="3811" y="5351"/>
                  <a:pt x="3845" y="5490"/>
                </a:cubicBezTo>
                <a:cubicBezTo>
                  <a:pt x="3889" y="5666"/>
                  <a:pt x="4055" y="5859"/>
                  <a:pt x="4378" y="5821"/>
                </a:cubicBezTo>
                <a:cubicBezTo>
                  <a:pt x="4541" y="5803"/>
                  <a:pt x="4697" y="5710"/>
                  <a:pt x="4806" y="5568"/>
                </a:cubicBezTo>
                <a:cubicBezTo>
                  <a:pt x="4922" y="5415"/>
                  <a:pt x="4970" y="5223"/>
                  <a:pt x="4941" y="5024"/>
                </a:cubicBezTo>
                <a:cubicBezTo>
                  <a:pt x="4876" y="4589"/>
                  <a:pt x="4557" y="4103"/>
                  <a:pt x="3871" y="4163"/>
                </a:cubicBezTo>
                <a:cubicBezTo>
                  <a:pt x="3684" y="4179"/>
                  <a:pt x="3477" y="4276"/>
                  <a:pt x="3289" y="4436"/>
                </a:cubicBezTo>
                <a:cubicBezTo>
                  <a:pt x="3092" y="4603"/>
                  <a:pt x="2925" y="4829"/>
                  <a:pt x="2815" y="5074"/>
                </a:cubicBezTo>
                <a:cubicBezTo>
                  <a:pt x="2584" y="5593"/>
                  <a:pt x="2630" y="6129"/>
                  <a:pt x="2944" y="6547"/>
                </a:cubicBezTo>
                <a:cubicBezTo>
                  <a:pt x="3029" y="6661"/>
                  <a:pt x="3292" y="6847"/>
                  <a:pt x="3539" y="6936"/>
                </a:cubicBezTo>
                <a:cubicBezTo>
                  <a:pt x="3684" y="6975"/>
                  <a:pt x="3836" y="6996"/>
                  <a:pt x="3994" y="6996"/>
                </a:cubicBezTo>
                <a:close/>
                <a:moveTo>
                  <a:pt x="2000" y="1400"/>
                </a:moveTo>
                <a:lnTo>
                  <a:pt x="1600" y="1400"/>
                </a:lnTo>
                <a:lnTo>
                  <a:pt x="1600" y="1800"/>
                </a:lnTo>
                <a:lnTo>
                  <a:pt x="2000" y="1800"/>
                </a:lnTo>
                <a:lnTo>
                  <a:pt x="2000" y="1400"/>
                </a:lnTo>
                <a:close/>
                <a:moveTo>
                  <a:pt x="6419" y="9401"/>
                </a:moveTo>
                <a:lnTo>
                  <a:pt x="1619" y="9401"/>
                </a:lnTo>
                <a:lnTo>
                  <a:pt x="1619" y="9801"/>
                </a:lnTo>
                <a:lnTo>
                  <a:pt x="6419" y="9801"/>
                </a:lnTo>
                <a:lnTo>
                  <a:pt x="6419" y="9401"/>
                </a:lnTo>
                <a:close/>
                <a:moveTo>
                  <a:pt x="7200" y="9401"/>
                </a:moveTo>
                <a:lnTo>
                  <a:pt x="6800" y="9401"/>
                </a:lnTo>
                <a:lnTo>
                  <a:pt x="6800" y="9801"/>
                </a:lnTo>
                <a:lnTo>
                  <a:pt x="7200" y="9801"/>
                </a:lnTo>
                <a:lnTo>
                  <a:pt x="7200" y="94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4827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>
            <a:extLst>
              <a:ext uri="{FF2B5EF4-FFF2-40B4-BE49-F238E27FC236}">
                <a16:creationId xmlns:a16="http://schemas.microsoft.com/office/drawing/2014/main" id="{3171453C-1E4D-4B54-85AA-E8AACEBDFFE7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杭州智见科技-</a:t>
            </a:r>
            <a:r>
              <a:rPr lang="zh-CN" altLang="zh-CN" sz="3000" b="1" dirty="0">
                <a:solidFill>
                  <a:schemeClr val="tx1"/>
                </a:solidFill>
              </a:rPr>
              <a:t>苹果震动马达OCR识别</a:t>
            </a: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BA1ECA51-99B6-45A1-B6F2-C1A6D17DDE12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16B70533-AC1C-4C04-9865-9E5440BC8201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D6D5132A-6406-4871-8F2B-E291491A7452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square" lIns="144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200" ker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zh-CN" altLang="zh-CN" sz="1100" b="1" dirty="0">
                <a:solidFill>
                  <a:schemeClr val="tx1"/>
                </a:solidFill>
              </a:rPr>
              <a:t>字符模糊</a:t>
            </a:r>
            <a:r>
              <a:rPr lang="zh-CN" altLang="zh-CN" sz="1100" dirty="0"/>
              <a:t>：</a:t>
            </a:r>
            <a:r>
              <a:rPr lang="zh-CN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符在表面</a:t>
            </a:r>
            <a:r>
              <a:rPr lang="zh-CN" altLang="zh-CN" sz="1100" kern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以见到</a:t>
            </a:r>
            <a:endParaRPr lang="en-US" altLang="zh-CN" sz="1100" kern="1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zh-CN" altLang="zh-CN" sz="1100" b="1" dirty="0">
                <a:solidFill>
                  <a:schemeClr val="tx1"/>
                </a:solidFill>
              </a:rPr>
              <a:t>字符缺失</a:t>
            </a:r>
            <a:r>
              <a:rPr lang="zh-CN" altLang="zh-CN" sz="1100" dirty="0"/>
              <a:t>：</a:t>
            </a:r>
            <a:r>
              <a:rPr lang="zh-CN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达到出现</a:t>
            </a:r>
            <a:r>
              <a:rPr lang="zh-CN" altLang="zh-CN" sz="1100" kern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分字符</a:t>
            </a:r>
            <a:r>
              <a:rPr lang="zh-CN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，便能</a:t>
            </a:r>
            <a:r>
              <a:rPr lang="zh-CN" altLang="zh-CN" sz="1100" kern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识别</a:t>
            </a:r>
            <a:endParaRPr lang="en-US" altLang="zh-CN" sz="1100" kern="1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zh-CN" altLang="zh-CN" sz="1100" b="1" dirty="0">
                <a:solidFill>
                  <a:schemeClr val="tx1"/>
                </a:solidFill>
              </a:rPr>
              <a:t>字符细小</a:t>
            </a:r>
            <a:r>
              <a:rPr lang="zh-CN" altLang="zh-CN" sz="1100" dirty="0"/>
              <a:t>：</a:t>
            </a:r>
            <a:r>
              <a:rPr lang="zh-CN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符尺寸仅能达到</a:t>
            </a:r>
            <a:r>
              <a:rPr lang="en-US" altLang="zh-CN" sz="1100" kern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1mm</a:t>
            </a:r>
            <a:r>
              <a:rPr lang="en-US" altLang="zh-CN" sz="1100" kern="1200" baseline="300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85405123-F7C7-40F7-B4FC-8055E8961E4F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C641DB0C-9026-4284-B921-AED1AA0C7FDA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595FEDFC-936D-414D-B895-F320DA73B276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8956E838-1C0C-4878-BB8C-AFF0E136520A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A66DAED1-CE6A-4DEC-A46F-D6B29EDFF082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20000"/>
              </a:lnSpc>
              <a:spcBef>
                <a:spcPts val="600"/>
              </a:spcBef>
              <a:defRPr sz="1200" ker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 lvl="0" defTabSz="825500">
              <a:lnSpc>
                <a:spcPct val="130000"/>
              </a:lnSpc>
              <a:spcBef>
                <a:spcPts val="0"/>
              </a:spcBef>
            </a:pPr>
            <a:r>
              <a:rPr lang="zh-CN" altLang="zh-CN" sz="1100" b="1" dirty="0">
                <a:solidFill>
                  <a:schemeClr val="tx1"/>
                </a:solidFill>
              </a:rPr>
              <a:t>项目内容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：</a:t>
            </a:r>
            <a:r>
              <a:rPr lang="en-US" altLang="zh-CN" sz="1100" kern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hone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震动马达</a:t>
            </a:r>
            <a:r>
              <a:rPr lang="en-US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CR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  <a:endParaRPr lang="en-US" altLang="zh-CN" sz="1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just" defTabSz="825500">
              <a:lnSpc>
                <a:spcPct val="130000"/>
              </a:lnSpc>
              <a:spcBef>
                <a:spcPts val="0"/>
              </a:spcBef>
            </a:pPr>
            <a:r>
              <a:rPr lang="zh-CN" altLang="en-US" sz="1100" b="1" dirty="0">
                <a:solidFill>
                  <a:schemeClr val="tx1"/>
                </a:solidFill>
              </a:rPr>
              <a:t>物料材质</a:t>
            </a:r>
            <a:r>
              <a: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：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</a:t>
            </a:r>
            <a:r>
              <a: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玻璃的混合材料</a:t>
            </a:r>
            <a:endParaRPr lang="en-US" altLang="zh-CN" sz="1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52475" lvl="0" indent="-752475" defTabSz="825500">
              <a:lnSpc>
                <a:spcPct val="130000"/>
              </a:lnSpc>
              <a:spcBef>
                <a:spcPts val="0"/>
              </a:spcBef>
            </a:pPr>
            <a:r>
              <a:rPr lang="zh-CN" altLang="en-US" sz="1100" b="1" dirty="0">
                <a:solidFill>
                  <a:schemeClr val="tx1"/>
                </a:solidFill>
              </a:rPr>
              <a:t>识别需求</a:t>
            </a:r>
            <a:r>
              <a:rPr lang="zh-CN" altLang="en-US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：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工位</a:t>
            </a:r>
            <a:r>
              <a:rPr lang="zh-CN" altLang="en-US" sz="1100" kern="1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识字符，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</a:t>
            </a:r>
            <a:r>
              <a:rPr lang="zh-CN" altLang="en-US" sz="1100" kern="1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备编号</a:t>
            </a:r>
            <a:r>
              <a:rPr lang="zh-CN" altLang="zh-CN" sz="11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zh-CN" altLang="en-US" sz="1100" kern="12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日期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E4F7E51E-1EA9-44DE-9E71-CA7268881A66}"/>
              </a:ext>
            </a:extLst>
          </p:cNvPr>
          <p:cNvSpPr txBox="1"/>
          <p:nvPr/>
        </p:nvSpPr>
        <p:spPr>
          <a:xfrm>
            <a:off x="4532036" y="3719577"/>
            <a:ext cx="3996000" cy="662323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200" kern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 </a:t>
            </a:r>
            <a:r>
              <a:rPr lang="en-US" altLang="zh-CN" sz="1100" kern="1200" dirty="0" err="1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ore</a:t>
            </a:r>
            <a:r>
              <a:rPr lang="en-US" altLang="zh-CN" sz="1100" kern="12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100" kern="1200" dirty="0" err="1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mo</a:t>
            </a:r>
            <a:r>
              <a:rPr lang="en-US" altLang="zh-CN" sz="1100" kern="12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OCR </a:t>
            </a:r>
            <a:r>
              <a:rPr lang="zh-CN" altLang="en-US" sz="1100" kern="12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算法，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能够识别</a:t>
            </a:r>
            <a:r>
              <a:rPr lang="zh-CN" altLang="en-US" sz="1100" kern="12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分字符特征</a:t>
            </a:r>
            <a:r>
              <a:rPr lang="zh-CN" altLang="en-US" sz="11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，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能完成读取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 kern="1200" dirty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符完全模糊的产品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073B24B7-A119-4844-B942-D05855907FF9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FFABDFDD-F85A-4A47-AFB5-8479227233A7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C96E1906-DFC3-43FD-946E-C4D66D7048A5}"/>
              </a:ext>
            </a:extLst>
          </p:cNvPr>
          <p:cNvGrpSpPr/>
          <p:nvPr/>
        </p:nvGrpSpPr>
        <p:grpSpPr>
          <a:xfrm>
            <a:off x="4695714" y="2095444"/>
            <a:ext cx="3190986" cy="819892"/>
            <a:chOff x="4410476" y="2162175"/>
            <a:chExt cx="3419350" cy="878568"/>
          </a:xfrm>
        </p:grpSpPr>
        <p:grpSp>
          <p:nvGrpSpPr>
            <p:cNvPr id="70" name="组合 69">
              <a:extLst>
                <a:ext uri="{FF2B5EF4-FFF2-40B4-BE49-F238E27FC236}">
                  <a16:creationId xmlns:a16="http://schemas.microsoft.com/office/drawing/2014/main" id="{F2C9D575-8271-4FF6-917E-33895BAA3E57}"/>
                </a:ext>
              </a:extLst>
            </p:cNvPr>
            <p:cNvGrpSpPr/>
            <p:nvPr/>
          </p:nvGrpSpPr>
          <p:grpSpPr>
            <a:xfrm>
              <a:off x="6006331" y="2162175"/>
              <a:ext cx="875438" cy="877098"/>
              <a:chOff x="6588919" y="3986592"/>
              <a:chExt cx="1066229" cy="1068251"/>
            </a:xfrm>
          </p:grpSpPr>
          <p:pic>
            <p:nvPicPr>
              <p:cNvPr id="83" name="图片 82">
                <a:extLst>
                  <a:ext uri="{FF2B5EF4-FFF2-40B4-BE49-F238E27FC236}">
                    <a16:creationId xmlns:a16="http://schemas.microsoft.com/office/drawing/2014/main" id="{9DF2CB61-CD86-4317-BC18-52AB16310E50}"/>
                  </a:ext>
                </a:extLst>
              </p:cNvPr>
              <p:cNvPicPr/>
              <p:nvPr/>
            </p:nvPicPr>
            <p:blipFill rotWithShape="1">
              <a:blip r:embed="rId3"/>
              <a:srcRect l="6729" r="6729"/>
              <a:stretch/>
            </p:blipFill>
            <p:spPr>
              <a:xfrm>
                <a:off x="6588919" y="3988614"/>
                <a:ext cx="1066229" cy="1066229"/>
              </a:xfrm>
              <a:prstGeom prst="rect">
                <a:avLst/>
              </a:prstGeom>
            </p:spPr>
          </p:pic>
          <p:sp>
            <p:nvSpPr>
              <p:cNvPr id="95" name="文本框 94">
                <a:extLst>
                  <a:ext uri="{FF2B5EF4-FFF2-40B4-BE49-F238E27FC236}">
                    <a16:creationId xmlns:a16="http://schemas.microsoft.com/office/drawing/2014/main" id="{C3738DB8-CB30-4822-AB4B-480FD62D52C2}"/>
                  </a:ext>
                </a:extLst>
              </p:cNvPr>
              <p:cNvSpPr txBox="1"/>
              <p:nvPr/>
            </p:nvSpPr>
            <p:spPr>
              <a:xfrm>
                <a:off x="6588919" y="3986592"/>
                <a:ext cx="260850" cy="220211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tIns="36000" bIns="72000" anchor="ctr" anchorCtr="0"/>
              <a:lstStyle>
                <a:lvl1pPr marL="0" lvl="0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1pPr>
                <a:lvl2pPr marL="457200" lvl="1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2pPr>
                <a:lvl3pPr marL="914400" lvl="2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3pPr>
                <a:lvl4pPr marL="1371600" lvl="3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4pPr>
                <a:lvl5pPr marL="1828800" lvl="4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5pPr>
                <a:lvl6pPr marL="2286000" lvl="5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6pPr>
                <a:lvl7pPr marL="2743200" lvl="6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7pPr>
                <a:lvl8pPr marL="3200400" lvl="7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8pPr>
                <a:lvl9pPr marL="3657600" lvl="8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ts val="600"/>
                  </a:spcBef>
                </a:pPr>
                <a:r>
                  <a:rPr lang="en-US" sz="1050" kern="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</a:t>
                </a:r>
                <a:endParaRPr lang="zh-CN" sz="105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9E1BE4DB-7EDC-4EE1-B253-A4FE7B67A404}"/>
                </a:ext>
              </a:extLst>
            </p:cNvPr>
            <p:cNvGrpSpPr/>
            <p:nvPr/>
          </p:nvGrpSpPr>
          <p:grpSpPr>
            <a:xfrm>
              <a:off x="6954388" y="2162175"/>
              <a:ext cx="875438" cy="875438"/>
              <a:chOff x="6588919" y="5253739"/>
              <a:chExt cx="1066229" cy="1066229"/>
            </a:xfrm>
          </p:grpSpPr>
          <p:pic>
            <p:nvPicPr>
              <p:cNvPr id="73" name="图片 72">
                <a:extLst>
                  <a:ext uri="{FF2B5EF4-FFF2-40B4-BE49-F238E27FC236}">
                    <a16:creationId xmlns:a16="http://schemas.microsoft.com/office/drawing/2014/main" id="{0EE827C7-1412-40AA-B5F2-C060E2BC01B1}"/>
                  </a:ext>
                </a:extLst>
              </p:cNvPr>
              <p:cNvPicPr/>
              <p:nvPr/>
            </p:nvPicPr>
            <p:blipFill rotWithShape="1">
              <a:blip r:embed="rId4"/>
              <a:srcRect l="1942" r="1942"/>
              <a:stretch/>
            </p:blipFill>
            <p:spPr>
              <a:xfrm>
                <a:off x="6588919" y="5253739"/>
                <a:ext cx="1066229" cy="1066229"/>
              </a:xfrm>
              <a:prstGeom prst="rect">
                <a:avLst/>
              </a:prstGeom>
            </p:spPr>
          </p:pic>
          <p:sp>
            <p:nvSpPr>
              <p:cNvPr id="82" name="文本框 81">
                <a:extLst>
                  <a:ext uri="{FF2B5EF4-FFF2-40B4-BE49-F238E27FC236}">
                    <a16:creationId xmlns:a16="http://schemas.microsoft.com/office/drawing/2014/main" id="{30729F04-5268-4150-9622-868B979BF4AA}"/>
                  </a:ext>
                </a:extLst>
              </p:cNvPr>
              <p:cNvSpPr txBox="1"/>
              <p:nvPr/>
            </p:nvSpPr>
            <p:spPr>
              <a:xfrm>
                <a:off x="6588919" y="5253739"/>
                <a:ext cx="260850" cy="220211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tIns="36000" bIns="72000" anchor="ctr" anchorCtr="0"/>
              <a:lstStyle>
                <a:lvl1pPr marL="0" lvl="0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1pPr>
                <a:lvl2pPr marL="457200" lvl="1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2pPr>
                <a:lvl3pPr marL="914400" lvl="2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3pPr>
                <a:lvl4pPr marL="1371600" lvl="3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4pPr>
                <a:lvl5pPr marL="1828800" lvl="4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5pPr>
                <a:lvl6pPr marL="2286000" lvl="5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6pPr>
                <a:lvl7pPr marL="2743200" lvl="6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7pPr>
                <a:lvl8pPr marL="3200400" lvl="7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8pPr>
                <a:lvl9pPr marL="3657600" lvl="8" algn="l" defTabSz="914400">
                  <a:defRPr sz="1800" kern="1200">
                    <a:solidFill>
                      <a:schemeClr val="tx1"/>
                    </a:solidFill>
                    <a:latin typeface="Calibri" panose="020F0502020204030204"/>
                    <a:ea typeface="微软雅黑" panose="020B0503020204020204" charset="-122"/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ts val="600"/>
                  </a:spcBef>
                </a:pPr>
                <a:r>
                  <a:rPr lang="en-US" sz="1050" kern="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sz="105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72" name="图片 71">
              <a:extLst>
                <a:ext uri="{FF2B5EF4-FFF2-40B4-BE49-F238E27FC236}">
                  <a16:creationId xmlns:a16="http://schemas.microsoft.com/office/drawing/2014/main" id="{51E8450D-8568-498C-813C-1DC6CD0D76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4342" t="6996" r="4342" b="5098"/>
            <a:stretch/>
          </p:blipFill>
          <p:spPr>
            <a:xfrm>
              <a:off x="4410476" y="2162175"/>
              <a:ext cx="1523236" cy="878568"/>
            </a:xfrm>
            <a:prstGeom prst="rect">
              <a:avLst/>
            </a:prstGeom>
          </p:spPr>
        </p:pic>
      </p:grpSp>
      <p:sp>
        <p:nvSpPr>
          <p:cNvPr id="96" name="矩形 95">
            <a:extLst>
              <a:ext uri="{FF2B5EF4-FFF2-40B4-BE49-F238E27FC236}">
                <a16:creationId xmlns:a16="http://schemas.microsoft.com/office/drawing/2014/main" id="{C9CDB391-E662-4C01-AE01-59A1DF9AF1F2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881E1F3A-A3A4-4C9C-BA0C-DAF30E12E315}"/>
              </a:ext>
            </a:extLst>
          </p:cNvPr>
          <p:cNvSpPr txBox="1"/>
          <p:nvPr/>
        </p:nvSpPr>
        <p:spPr>
          <a:xfrm>
            <a:off x="641239" y="5131892"/>
            <a:ext cx="1319592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5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8" name="图片 4">
            <a:extLst>
              <a:ext uri="{FF2B5EF4-FFF2-40B4-BE49-F238E27FC236}">
                <a16:creationId xmlns:a16="http://schemas.microsoft.com/office/drawing/2014/main" id="{575CFC34-4417-4783-B1D8-7B599FE1B31E}"/>
              </a:ext>
            </a:extLst>
          </p:cNvPr>
          <p:cNvPicPr/>
          <p:nvPr/>
        </p:nvPicPr>
        <p:blipFill rotWithShape="1">
          <a:blip r:embed="rId6"/>
          <a:srcRect l="411" t="5145" r="951"/>
          <a:stretch/>
        </p:blipFill>
        <p:spPr>
          <a:xfrm>
            <a:off x="8767262" y="1606377"/>
            <a:ext cx="3085114" cy="40477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99" name="组合 98">
            <a:extLst>
              <a:ext uri="{FF2B5EF4-FFF2-40B4-BE49-F238E27FC236}">
                <a16:creationId xmlns:a16="http://schemas.microsoft.com/office/drawing/2014/main" id="{354BF076-4DF0-4ECC-857D-7CA9CA522268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100" name="矩形: 圆角 99">
              <a:extLst>
                <a:ext uri="{FF2B5EF4-FFF2-40B4-BE49-F238E27FC236}">
                  <a16:creationId xmlns:a16="http://schemas.microsoft.com/office/drawing/2014/main" id="{327CF873-BBAF-4F3C-ACF5-AB1114B3F39A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iconfont-11673-5560736">
              <a:extLst>
                <a:ext uri="{FF2B5EF4-FFF2-40B4-BE49-F238E27FC236}">
                  <a16:creationId xmlns:a16="http://schemas.microsoft.com/office/drawing/2014/main" id="{2E42CAE8-A44C-4D9C-8B0F-47EB02ADD099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5" name="矩形: 圆角 104">
            <a:extLst>
              <a:ext uri="{FF2B5EF4-FFF2-40B4-BE49-F238E27FC236}">
                <a16:creationId xmlns:a16="http://schemas.microsoft.com/office/drawing/2014/main" id="{A8DFD648-AE6E-4A91-A7F9-04A596287D1B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06">
            <a:extLst>
              <a:ext uri="{FF2B5EF4-FFF2-40B4-BE49-F238E27FC236}">
                <a16:creationId xmlns:a16="http://schemas.microsoft.com/office/drawing/2014/main" id="{CE434B99-7941-48B6-8D76-EDF657D7A493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28C7AB37-1C59-4EF7-B61C-61F271119A0E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verified-list-of-exercises-of-a-gymnast-on-a-clipboard_30818">
            <a:extLst>
              <a:ext uri="{FF2B5EF4-FFF2-40B4-BE49-F238E27FC236}">
                <a16:creationId xmlns:a16="http://schemas.microsoft.com/office/drawing/2014/main" id="{954C0208-39A5-437C-BE2D-0ABB703C5499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597A6157-0F97-4AE8-9B4E-DC4BBB80DCCC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cart_155395">
            <a:extLst>
              <a:ext uri="{FF2B5EF4-FFF2-40B4-BE49-F238E27FC236}">
                <a16:creationId xmlns:a16="http://schemas.microsoft.com/office/drawing/2014/main" id="{35CD5B5D-4970-47BC-9261-4355AF4FADF8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83794A17-9D68-4BB7-97C8-0426ABFB3448}"/>
              </a:ext>
            </a:extLst>
          </p:cNvPr>
          <p:cNvSpPr txBox="1"/>
          <p:nvPr/>
        </p:nvSpPr>
        <p:spPr>
          <a:xfrm>
            <a:off x="641239" y="5662329"/>
            <a:ext cx="2267061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r>
              <a:rPr lang="zh-CN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穴号识别率和 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5%</a:t>
            </a:r>
            <a:r>
              <a:rPr lang="zh-CN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模号识别率</a:t>
            </a:r>
            <a:b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超人工检测质量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3C2FA0A0-430D-448D-89CA-12DAFCC6ADC8}"/>
              </a:ext>
            </a:extLst>
          </p:cNvPr>
          <p:cNvSpPr txBox="1"/>
          <p:nvPr/>
        </p:nvSpPr>
        <p:spPr>
          <a:xfrm>
            <a:off x="3765439" y="5131892"/>
            <a:ext cx="949299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4" name="文本框 113">
            <a:extLst>
              <a:ext uri="{FF2B5EF4-FFF2-40B4-BE49-F238E27FC236}">
                <a16:creationId xmlns:a16="http://schemas.microsoft.com/office/drawing/2014/main" id="{66C8F573-76CA-48B3-96D6-BF5DB93DD54F}"/>
              </a:ext>
            </a:extLst>
          </p:cNvPr>
          <p:cNvSpPr txBox="1"/>
          <p:nvPr/>
        </p:nvSpPr>
        <p:spPr>
          <a:xfrm>
            <a:off x="3765439" y="5662329"/>
            <a:ext cx="2031325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>
                <a:solidFill>
                  <a:schemeClr val="bg1">
                    <a:lumMod val="50000"/>
                  </a:schemeClr>
                </a:solidFill>
              </a:rPr>
              <a:t>高效人力</a:t>
            </a:r>
            <a:r>
              <a:rPr lang="zh-CN" altLang="zh-CN">
                <a:solidFill>
                  <a:schemeClr val="bg1">
                    <a:lumMod val="50000"/>
                  </a:schemeClr>
                </a:solidFill>
              </a:rPr>
              <a:t>替代率</a:t>
            </a:r>
            <a:br>
              <a:rPr lang="en-US" altLang="zh-CN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zh-CN" altLang="zh-CN" dirty="0">
                <a:solidFill>
                  <a:schemeClr val="bg1">
                    <a:lumMod val="50000"/>
                  </a:schemeClr>
                </a:solidFill>
              </a:rPr>
              <a:t>几乎完成全自动化</a:t>
            </a:r>
            <a:r>
              <a:rPr lang="zh-CN" altLang="zh-CN">
                <a:solidFill>
                  <a:schemeClr val="bg1">
                    <a:lumMod val="50000"/>
                  </a:schemeClr>
                </a:solidFill>
              </a:rPr>
              <a:t>识别检测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C7F9960E-A945-488F-AA36-06624CE4CD2E}"/>
              </a:ext>
            </a:extLst>
          </p:cNvPr>
          <p:cNvSpPr txBox="1"/>
          <p:nvPr/>
        </p:nvSpPr>
        <p:spPr>
          <a:xfrm>
            <a:off x="6641989" y="5131892"/>
            <a:ext cx="986167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6794E3AA-DE23-4A8C-83DA-C7A4A6628B35}"/>
              </a:ext>
            </a:extLst>
          </p:cNvPr>
          <p:cNvSpPr txBox="1"/>
          <p:nvPr/>
        </p:nvSpPr>
        <p:spPr>
          <a:xfrm>
            <a:off x="6641989" y="5662329"/>
            <a:ext cx="800219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实现</a:t>
            </a:r>
            <a:r>
              <a:rPr lang="zh-CN" altLang="en-US">
                <a:solidFill>
                  <a:schemeClr val="bg1">
                    <a:lumMod val="50000"/>
                  </a:schemeClr>
                </a:solidFill>
              </a:rPr>
              <a:t>全检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41572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矩形 32">
            <a:extLst>
              <a:ext uri="{FF2B5EF4-FFF2-40B4-BE49-F238E27FC236}">
                <a16:creationId xmlns:a16="http://schemas.microsoft.com/office/drawing/2014/main" id="{97A3BD6F-7C37-4121-862B-973A43094CF3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3171453C-1E4D-4B54-85AA-E8AACEBDFFE7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常州精研-</a:t>
            </a:r>
            <a:r>
              <a:rPr lang="zh-CN" altLang="zh-CN" sz="3000" b="1" dirty="0">
                <a:solidFill>
                  <a:schemeClr val="tx1"/>
                </a:solidFill>
              </a:rPr>
              <a:t>苹果手机震动马达外壳字符检测</a:t>
            </a:r>
          </a:p>
        </p:txBody>
      </p:sp>
      <p:sp>
        <p:nvSpPr>
          <p:cNvPr id="102" name="文本框 101">
            <a:extLst>
              <a:ext uri="{FF2B5EF4-FFF2-40B4-BE49-F238E27FC236}">
                <a16:creationId xmlns:a16="http://schemas.microsoft.com/office/drawing/2014/main" id="{895E95C9-E049-4ECD-A2A3-90E50E91C81F}"/>
              </a:ext>
            </a:extLst>
          </p:cNvPr>
          <p:cNvSpPr txBox="1"/>
          <p:nvPr/>
        </p:nvSpPr>
        <p:spPr>
          <a:xfrm>
            <a:off x="409881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2400" dirty="0"/>
              <a:t>产线导入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5EC94711-017D-4F10-B84B-EB23F8C38877}"/>
              </a:ext>
            </a:extLst>
          </p:cNvPr>
          <p:cNvSpPr txBox="1"/>
          <p:nvPr/>
        </p:nvSpPr>
        <p:spPr>
          <a:xfrm>
            <a:off x="4098814" y="5659521"/>
            <a:ext cx="954107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量产新产品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8665CC62-268C-4DFF-A818-09D2A0A74B79}"/>
              </a:ext>
            </a:extLst>
          </p:cNvPr>
          <p:cNvSpPr txBox="1"/>
          <p:nvPr/>
        </p:nvSpPr>
        <p:spPr>
          <a:xfrm>
            <a:off x="6851539" y="5129084"/>
            <a:ext cx="197682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8</a:t>
            </a:r>
            <a:r>
              <a:rPr lang="zh-CN" altLang="zh-CN" sz="2400" dirty="0"/>
              <a:t>倍产能提升</a:t>
            </a:r>
            <a:endParaRPr lang="en-US" altLang="zh-CN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B5F6D12D-673E-41E9-95FA-3249803C27C6}"/>
              </a:ext>
            </a:extLst>
          </p:cNvPr>
          <p:cNvSpPr txBox="1"/>
          <p:nvPr/>
        </p:nvSpPr>
        <p:spPr>
          <a:xfrm>
            <a:off x="6851539" y="5659521"/>
            <a:ext cx="2185214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更稳定的检测，检测速度更快</a:t>
            </a:r>
            <a:br>
              <a:rPr lang="en-US" altLang="zh-CN" dirty="0"/>
            </a:br>
            <a:r>
              <a:rPr lang="zh-CN" altLang="zh-CN" dirty="0"/>
              <a:t>按照产能换算节省</a:t>
            </a:r>
            <a:r>
              <a:rPr lang="en-US" altLang="zh-CN" dirty="0"/>
              <a:t>40</a:t>
            </a:r>
            <a:r>
              <a:rPr lang="zh-CN" altLang="zh-CN" dirty="0"/>
              <a:t>人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CDC57987-DB8B-4B25-B6AE-76BD4241C853}"/>
              </a:ext>
            </a:extLst>
          </p:cNvPr>
          <p:cNvSpPr txBox="1"/>
          <p:nvPr/>
        </p:nvSpPr>
        <p:spPr>
          <a:xfrm>
            <a:off x="1009956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2400" dirty="0"/>
              <a:t>避免漏检</a:t>
            </a:r>
            <a:endParaRPr lang="en-GB" altLang="zh-CN" sz="2400" dirty="0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1CA99288-75CB-4D76-9910-5527D8D0D184}"/>
              </a:ext>
            </a:extLst>
          </p:cNvPr>
          <p:cNvSpPr txBox="1"/>
          <p:nvPr/>
        </p:nvSpPr>
        <p:spPr>
          <a:xfrm>
            <a:off x="10099564" y="5659521"/>
            <a:ext cx="1107996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引发召回问题</a:t>
            </a: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C77EBAC0-2EC0-42C1-8402-2BC948CD3B83}"/>
              </a:ext>
            </a:extLst>
          </p:cNvPr>
          <p:cNvSpPr/>
          <p:nvPr/>
        </p:nvSpPr>
        <p:spPr>
          <a:xfrm>
            <a:off x="365454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CD17E2AF-F782-44B1-AE34-D03E5FEDC562}"/>
              </a:ext>
            </a:extLst>
          </p:cNvPr>
          <p:cNvSpPr txBox="1"/>
          <p:nvPr/>
        </p:nvSpPr>
        <p:spPr>
          <a:xfrm>
            <a:off x="3654540" y="3719578"/>
            <a:ext cx="3816000" cy="524540"/>
          </a:xfrm>
          <a:prstGeom prst="rect">
            <a:avLst/>
          </a:prstGeom>
          <a:noFill/>
        </p:spPr>
        <p:txBody>
          <a:bodyPr wrap="square" lIns="144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成像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物料微小，雕刻模糊不清，</a:t>
            </a:r>
            <a:r>
              <a:rPr lang="zh-CN" altLang="zh-CN" b="0" kern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容易反光</a:t>
            </a:r>
          </a:p>
          <a:p>
            <a:r>
              <a:rPr lang="zh-CN" altLang="zh-CN" dirty="0"/>
              <a:t>字符样式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方向多样，雕刻形式不一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33E80FAC-C425-4184-B6EA-A8A9F8A86513}"/>
              </a:ext>
            </a:extLst>
          </p:cNvPr>
          <p:cNvSpPr txBox="1"/>
          <p:nvPr/>
        </p:nvSpPr>
        <p:spPr>
          <a:xfrm>
            <a:off x="385853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759FC406-CB92-4CC0-89AB-CFC049CAE0A3}"/>
              </a:ext>
            </a:extLst>
          </p:cNvPr>
          <p:cNvSpPr/>
          <p:nvPr/>
        </p:nvSpPr>
        <p:spPr>
          <a:xfrm>
            <a:off x="785637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D799BE6F-B767-4253-BF3B-2FFCE1BD1BD1}"/>
              </a:ext>
            </a:extLst>
          </p:cNvPr>
          <p:cNvSpPr/>
          <p:nvPr/>
        </p:nvSpPr>
        <p:spPr>
          <a:xfrm>
            <a:off x="365454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F7AC00A2-27C5-4291-858B-212F9A2EADE6}"/>
              </a:ext>
            </a:extLst>
          </p:cNvPr>
          <p:cNvSpPr txBox="1"/>
          <p:nvPr/>
        </p:nvSpPr>
        <p:spPr>
          <a:xfrm>
            <a:off x="3654540" y="2052044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概述</a:t>
            </a:r>
            <a:r>
              <a:rPr lang="zh-CN" altLang="zh-CN" b="0" dirty="0"/>
              <a:t>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常州精研为一线手机加工厂，本项目提供</a:t>
            </a:r>
            <a:r>
              <a:rPr lang="en-GB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I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检测算法，识别指甲盖大小的微小组件，其中模号为不同的物料类型，穴号为产线号，进行质量追溯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FCE8DA8A-5110-4333-8A0F-C854D14160AF}"/>
              </a:ext>
            </a:extLst>
          </p:cNvPr>
          <p:cNvSpPr txBox="1"/>
          <p:nvPr/>
        </p:nvSpPr>
        <p:spPr>
          <a:xfrm>
            <a:off x="385853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B13F76F0-E9CA-4CEB-AD98-FC5C8A371D2B}"/>
              </a:ext>
            </a:extLst>
          </p:cNvPr>
          <p:cNvSpPr txBox="1"/>
          <p:nvPr/>
        </p:nvSpPr>
        <p:spPr>
          <a:xfrm>
            <a:off x="806037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300A895-9A20-40B5-A24E-B97E896ED0EB}"/>
              </a:ext>
            </a:extLst>
          </p:cNvPr>
          <p:cNvGrpSpPr/>
          <p:nvPr/>
        </p:nvGrpSpPr>
        <p:grpSpPr>
          <a:xfrm>
            <a:off x="3835404" y="1786179"/>
            <a:ext cx="208074" cy="208074"/>
            <a:chOff x="804750" y="1099366"/>
            <a:chExt cx="377825" cy="377825"/>
          </a:xfrm>
          <a:solidFill>
            <a:srgbClr val="F2F2F2"/>
          </a:solidFill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CBEF7DA7-316C-4611-8683-5C0B99528096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iconfont-11673-5560736">
              <a:extLst>
                <a:ext uri="{FF2B5EF4-FFF2-40B4-BE49-F238E27FC236}">
                  <a16:creationId xmlns:a16="http://schemas.microsoft.com/office/drawing/2014/main" id="{787B23D8-6FB7-460D-9CB3-D3381F7A8DC0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grp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A5E5F788-F738-463D-AEEB-CC0EC48DC07F}"/>
              </a:ext>
            </a:extLst>
          </p:cNvPr>
          <p:cNvSpPr/>
          <p:nvPr/>
        </p:nvSpPr>
        <p:spPr>
          <a:xfrm>
            <a:off x="383540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653E23EE-52FB-43AE-BF8F-21F435477A45}"/>
              </a:ext>
            </a:extLst>
          </p:cNvPr>
          <p:cNvSpPr/>
          <p:nvPr/>
        </p:nvSpPr>
        <p:spPr>
          <a:xfrm>
            <a:off x="390869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C68B1B12-6061-4579-BB42-673F480F590C}"/>
              </a:ext>
            </a:extLst>
          </p:cNvPr>
          <p:cNvSpPr/>
          <p:nvPr/>
        </p:nvSpPr>
        <p:spPr>
          <a:xfrm>
            <a:off x="802005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cart_155395">
            <a:extLst>
              <a:ext uri="{FF2B5EF4-FFF2-40B4-BE49-F238E27FC236}">
                <a16:creationId xmlns:a16="http://schemas.microsoft.com/office/drawing/2014/main" id="{E1E36AC9-5874-41F1-B408-8FA317D837F9}"/>
              </a:ext>
            </a:extLst>
          </p:cNvPr>
          <p:cNvSpPr/>
          <p:nvPr/>
        </p:nvSpPr>
        <p:spPr>
          <a:xfrm>
            <a:off x="804608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图片 38">
            <a:extLst>
              <a:ext uri="{FF2B5EF4-FFF2-40B4-BE49-F238E27FC236}">
                <a16:creationId xmlns:a16="http://schemas.microsoft.com/office/drawing/2014/main" id="{ECFED620-A219-4B82-B4B0-1379E4DD6A7E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6" t="345" r="6488" b="603"/>
          <a:stretch/>
        </p:blipFill>
        <p:spPr>
          <a:xfrm rot="16200000">
            <a:off x="8645243" y="1498200"/>
            <a:ext cx="2407447" cy="3651251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pic>
        <p:nvPicPr>
          <p:cNvPr id="64" name="图片 63" descr="图片包含 图形用户界面&#10;&#10;描述已自动生成">
            <a:extLst>
              <a:ext uri="{FF2B5EF4-FFF2-40B4-BE49-F238E27FC236}">
                <a16:creationId xmlns:a16="http://schemas.microsoft.com/office/drawing/2014/main" id="{82C036D6-5F77-47CE-B1DE-10509055B7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13" t="37884" r="8131" b="34285"/>
          <a:stretch>
            <a:fillRect/>
          </a:stretch>
        </p:blipFill>
        <p:spPr>
          <a:xfrm rot="5789066" flipH="1">
            <a:off x="-641854" y="2545499"/>
            <a:ext cx="3585941" cy="1295470"/>
          </a:xfrm>
          <a:custGeom>
            <a:avLst/>
            <a:gdLst>
              <a:gd name="connsiteX0" fmla="*/ 0 w 3411336"/>
              <a:gd name="connsiteY0" fmla="*/ 0 h 903786"/>
              <a:gd name="connsiteX1" fmla="*/ 3411336 w 3411336"/>
              <a:gd name="connsiteY1" fmla="*/ 0 h 903786"/>
              <a:gd name="connsiteX2" fmla="*/ 3411336 w 3411336"/>
              <a:gd name="connsiteY2" fmla="*/ 903786 h 903786"/>
              <a:gd name="connsiteX3" fmla="*/ 0 w 3411336"/>
              <a:gd name="connsiteY3" fmla="*/ 903786 h 903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1336" h="903786">
                <a:moveTo>
                  <a:pt x="0" y="0"/>
                </a:moveTo>
                <a:lnTo>
                  <a:pt x="3411336" y="0"/>
                </a:lnTo>
                <a:lnTo>
                  <a:pt x="3411336" y="903786"/>
                </a:lnTo>
                <a:lnTo>
                  <a:pt x="0" y="9037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0" name="图片 59" descr="图形用户界面, 应用程序&#10;&#10;描述已自动生成">
            <a:extLst>
              <a:ext uri="{FF2B5EF4-FFF2-40B4-BE49-F238E27FC236}">
                <a16:creationId xmlns:a16="http://schemas.microsoft.com/office/drawing/2014/main" id="{0BDD67EE-ECEE-4092-9B9B-AF6494B0CB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02" t="68571" r="10235" b="18250"/>
          <a:stretch>
            <a:fillRect/>
          </a:stretch>
        </p:blipFill>
        <p:spPr>
          <a:xfrm rot="17486850">
            <a:off x="-194247" y="3096992"/>
            <a:ext cx="4805061" cy="1273034"/>
          </a:xfrm>
          <a:custGeom>
            <a:avLst/>
            <a:gdLst>
              <a:gd name="connsiteX0" fmla="*/ 0 w 3411336"/>
              <a:gd name="connsiteY0" fmla="*/ 0 h 903786"/>
              <a:gd name="connsiteX1" fmla="*/ 3411336 w 3411336"/>
              <a:gd name="connsiteY1" fmla="*/ 0 h 903786"/>
              <a:gd name="connsiteX2" fmla="*/ 3411336 w 3411336"/>
              <a:gd name="connsiteY2" fmla="*/ 903786 h 903786"/>
              <a:gd name="connsiteX3" fmla="*/ 0 w 3411336"/>
              <a:gd name="connsiteY3" fmla="*/ 903786 h 903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1336" h="903786">
                <a:moveTo>
                  <a:pt x="0" y="0"/>
                </a:moveTo>
                <a:lnTo>
                  <a:pt x="3411336" y="0"/>
                </a:lnTo>
                <a:lnTo>
                  <a:pt x="3411336" y="903786"/>
                </a:lnTo>
                <a:lnTo>
                  <a:pt x="0" y="9037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625041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>
            <a:extLst>
              <a:ext uri="{FF2B5EF4-FFF2-40B4-BE49-F238E27FC236}">
                <a16:creationId xmlns:a16="http://schemas.microsoft.com/office/drawing/2014/main" id="{A11A08AE-87C9-480B-B0F0-0D2AFBF33C12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常州精研-</a:t>
            </a:r>
            <a:r>
              <a:rPr lang="zh-CN" altLang="zh-CN" sz="3000" b="1" dirty="0">
                <a:solidFill>
                  <a:schemeClr val="tx1"/>
                </a:solidFill>
              </a:rPr>
              <a:t>苹果显示器外框模号识别</a:t>
            </a: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F73BCE0C-05C3-4A80-8349-9827A84F307B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57E258A7-49B0-42EA-BD54-B5A3920DCD7F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21E1F8C-4AB8-44BF-9829-B5B797CA3AB4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字符小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较小，肉眼极难看清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1029AC1-A09A-480A-833B-7D201808C064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7DE405D3-07F2-48E6-A4B6-4CE64DAC3F55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DBBCC0DC-D84E-496A-99BF-588CF3719FDE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961EF8AD-B0A8-4565-BEA6-62C9AF80DF1A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EC0DA46B-E167-4114-B987-8BF05EBF3574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料号编号识别，2位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1，0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890AE2B-0485-4AB5-8C4D-84ACEEC40154}"/>
              </a:ext>
            </a:extLst>
          </p:cNvPr>
          <p:cNvSpPr txBox="1"/>
          <p:nvPr/>
        </p:nvSpPr>
        <p:spPr>
          <a:xfrm>
            <a:off x="4532036" y="3719577"/>
            <a:ext cx="3996000" cy="662323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OI+OCR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识别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51FF2425-EFC7-45A0-B89A-16B9B9675DAB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1C0F415F-17A1-46A7-8F51-837ADF6C554F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D8860D07-326D-4059-97A3-D19D30462A88}"/>
              </a:ext>
            </a:extLst>
          </p:cNvPr>
          <p:cNvSpPr/>
          <p:nvPr/>
        </p:nvSpPr>
        <p:spPr>
          <a:xfrm>
            <a:off x="0" y="4965700"/>
            <a:ext cx="8528036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037F7FD4-D754-44B5-A8DA-E7EBAF75C4DC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74" name="矩形: 圆角 73">
              <a:extLst>
                <a:ext uri="{FF2B5EF4-FFF2-40B4-BE49-F238E27FC236}">
                  <a16:creationId xmlns:a16="http://schemas.microsoft.com/office/drawing/2014/main" id="{4ACE2BBE-1AD6-4216-B9D3-95985B694572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iconfont-11673-5560736">
              <a:extLst>
                <a:ext uri="{FF2B5EF4-FFF2-40B4-BE49-F238E27FC236}">
                  <a16:creationId xmlns:a16="http://schemas.microsoft.com/office/drawing/2014/main" id="{43C913FC-79F0-48DE-8666-E647E75A15FB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6" name="矩形: 圆角 75">
            <a:extLst>
              <a:ext uri="{FF2B5EF4-FFF2-40B4-BE49-F238E27FC236}">
                <a16:creationId xmlns:a16="http://schemas.microsoft.com/office/drawing/2014/main" id="{C4471FBB-C4A9-489A-AA59-E56C7359D4D2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2399385E-EF72-4EAC-B536-F54B3584FB43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82A8EB92-BFA9-4711-BF6D-A792A0EBA501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verified-list-of-exercises-of-a-gymnast-on-a-clipboard_30818">
            <a:extLst>
              <a:ext uri="{FF2B5EF4-FFF2-40B4-BE49-F238E27FC236}">
                <a16:creationId xmlns:a16="http://schemas.microsoft.com/office/drawing/2014/main" id="{D9DA0466-A77F-4D40-BA19-F53FE6BA3EF8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2B388381-DB79-4A91-95E0-1C1486E1DA1C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cart_155395">
            <a:extLst>
              <a:ext uri="{FF2B5EF4-FFF2-40B4-BE49-F238E27FC236}">
                <a16:creationId xmlns:a16="http://schemas.microsoft.com/office/drawing/2014/main" id="{388A4CB7-C05D-4A33-A8A5-9C18E835062D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8A2B6C77-076C-45C6-A075-7D54E5832EA2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486DE666-20A6-4E6C-8B26-6947AACCFE49}"/>
              </a:ext>
            </a:extLst>
          </p:cNvPr>
          <p:cNvSpPr txBox="1"/>
          <p:nvPr/>
        </p:nvSpPr>
        <p:spPr>
          <a:xfrm>
            <a:off x="641239" y="5763929"/>
            <a:ext cx="1261884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字符识别准确率</a:t>
            </a:r>
            <a:endParaRPr lang="en-US" altLang="zh-CN" dirty="0"/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84BC94BC-2140-41C2-BFA1-F085F1641137}"/>
              </a:ext>
            </a:extLst>
          </p:cNvPr>
          <p:cNvSpPr txBox="1"/>
          <p:nvPr/>
        </p:nvSpPr>
        <p:spPr>
          <a:xfrm>
            <a:off x="3765439" y="5233492"/>
            <a:ext cx="133402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A93D16B7-434B-4CDC-9850-AB70DABDA7D4}"/>
              </a:ext>
            </a:extLst>
          </p:cNvPr>
          <p:cNvSpPr txBox="1"/>
          <p:nvPr/>
        </p:nvSpPr>
        <p:spPr>
          <a:xfrm>
            <a:off x="3765439" y="5763929"/>
            <a:ext cx="14879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识别时间 &lt; </a:t>
            </a:r>
            <a:r>
              <a:rPr lang="zh-CN" altLang="zh-CN"/>
              <a:t>300ms</a:t>
            </a:r>
            <a:endParaRPr lang="en-US" altLang="zh-CN" dirty="0"/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99353D75-74BC-44A8-900D-363130011CEC}"/>
              </a:ext>
            </a:extLst>
          </p:cNvPr>
          <p:cNvSpPr txBox="1"/>
          <p:nvPr/>
        </p:nvSpPr>
        <p:spPr>
          <a:xfrm>
            <a:off x="6641989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165BA099-AA3A-4A82-864E-430397C2CA7E}"/>
              </a:ext>
            </a:extLst>
          </p:cNvPr>
          <p:cNvSpPr txBox="1"/>
          <p:nvPr/>
        </p:nvSpPr>
        <p:spPr>
          <a:xfrm>
            <a:off x="6641989" y="5763929"/>
            <a:ext cx="800219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实现</a:t>
            </a:r>
            <a:r>
              <a:rPr lang="zh-CN" altLang="en-US">
                <a:solidFill>
                  <a:schemeClr val="bg1">
                    <a:lumMod val="50000"/>
                  </a:schemeClr>
                </a:solidFill>
              </a:rPr>
              <a:t>全检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6F1F888-7CBE-48FD-B7F6-8B25B7EF2893}"/>
              </a:ext>
            </a:extLst>
          </p:cNvPr>
          <p:cNvPicPr/>
          <p:nvPr/>
        </p:nvPicPr>
        <p:blipFill rotWithShape="1">
          <a:blip r:embed="rId2"/>
          <a:srcRect t="6454" b="33917"/>
          <a:stretch/>
        </p:blipFill>
        <p:spPr>
          <a:xfrm>
            <a:off x="4692647" y="2095444"/>
            <a:ext cx="3518014" cy="809625"/>
          </a:xfrm>
          <a:prstGeom prst="rect">
            <a:avLst/>
          </a:prstGeom>
        </p:spPr>
      </p:pic>
      <p:grpSp>
        <p:nvGrpSpPr>
          <p:cNvPr id="3" name="组合 2">
            <a:extLst>
              <a:ext uri="{FF2B5EF4-FFF2-40B4-BE49-F238E27FC236}">
                <a16:creationId xmlns:a16="http://schemas.microsoft.com/office/drawing/2014/main" id="{BA61453C-993D-42FD-B921-5A79BD6C3D6C}"/>
              </a:ext>
            </a:extLst>
          </p:cNvPr>
          <p:cNvGrpSpPr/>
          <p:nvPr/>
        </p:nvGrpSpPr>
        <p:grpSpPr>
          <a:xfrm>
            <a:off x="8761444" y="1609046"/>
            <a:ext cx="3430557" cy="4773865"/>
            <a:chOff x="8761444" y="1609046"/>
            <a:chExt cx="3430557" cy="4773865"/>
          </a:xfrm>
        </p:grpSpPr>
        <p:pic>
          <p:nvPicPr>
            <p:cNvPr id="10" name="图片 9" descr="电脑萤幕&#10;&#10;描述已自动生成">
              <a:extLst>
                <a:ext uri="{FF2B5EF4-FFF2-40B4-BE49-F238E27FC236}">
                  <a16:creationId xmlns:a16="http://schemas.microsoft.com/office/drawing/2014/main" id="{42582FA6-1C0A-4156-AAD1-8368B9FA98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1444" y="1609046"/>
              <a:ext cx="3430556" cy="4773865"/>
            </a:xfrm>
            <a:prstGeom prst="rect">
              <a:avLst/>
            </a:prstGeom>
          </p:spPr>
        </p:pic>
        <p:pic>
          <p:nvPicPr>
            <p:cNvPr id="34" name="图片 33">
              <a:extLst>
                <a:ext uri="{FF2B5EF4-FFF2-40B4-BE49-F238E27FC236}">
                  <a16:creationId xmlns:a16="http://schemas.microsoft.com/office/drawing/2014/main" id="{89ADC333-CE59-4D6B-82B4-B76C07A7642C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820"/>
            <a:stretch>
              <a:fillRect/>
            </a:stretch>
          </p:blipFill>
          <p:spPr>
            <a:xfrm>
              <a:off x="9431108" y="2214622"/>
              <a:ext cx="2760893" cy="2562166"/>
            </a:xfrm>
            <a:custGeom>
              <a:avLst/>
              <a:gdLst>
                <a:gd name="connsiteX0" fmla="*/ 0 w 2760893"/>
                <a:gd name="connsiteY0" fmla="*/ 0 h 2562166"/>
                <a:gd name="connsiteX1" fmla="*/ 2760893 w 2760893"/>
                <a:gd name="connsiteY1" fmla="*/ 0 h 2562166"/>
                <a:gd name="connsiteX2" fmla="*/ 2760893 w 2760893"/>
                <a:gd name="connsiteY2" fmla="*/ 2562166 h 2562166"/>
                <a:gd name="connsiteX3" fmla="*/ 0 w 2760893"/>
                <a:gd name="connsiteY3" fmla="*/ 2562166 h 256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0893" h="2562166">
                  <a:moveTo>
                    <a:pt x="0" y="0"/>
                  </a:moveTo>
                  <a:lnTo>
                    <a:pt x="2760893" y="0"/>
                  </a:lnTo>
                  <a:lnTo>
                    <a:pt x="2760893" y="2562166"/>
                  </a:lnTo>
                  <a:lnTo>
                    <a:pt x="0" y="2562166"/>
                  </a:lnTo>
                  <a:close/>
                </a:path>
              </a:pathLst>
            </a:custGeom>
            <a:effectLst>
              <a:innerShdw blurRad="101600">
                <a:schemeClr val="tx1">
                  <a:lumMod val="75000"/>
                  <a:lumOff val="25000"/>
                </a:schemeClr>
              </a:innerShdw>
            </a:effectLst>
          </p:spPr>
        </p:pic>
      </p:grpSp>
    </p:spTree>
    <p:extLst>
      <p:ext uri="{BB962C8B-B14F-4D97-AF65-F5344CB8AC3E}">
        <p14:creationId xmlns:p14="http://schemas.microsoft.com/office/powerpoint/2010/main" val="3088767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矩形: 圆角 73">
            <a:extLst>
              <a:ext uri="{FF2B5EF4-FFF2-40B4-BE49-F238E27FC236}">
                <a16:creationId xmlns:a16="http://schemas.microsoft.com/office/drawing/2014/main" id="{26DE8BBD-9DCF-41B6-A6D6-869BB6E7DB3C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A019FED9-B36D-4079-A7DE-420248FF5B15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常州精研-</a:t>
            </a:r>
            <a:r>
              <a:rPr lang="zh-CN" altLang="zh-CN" sz="3000" b="1" dirty="0">
                <a:solidFill>
                  <a:schemeClr val="tx1"/>
                </a:solidFill>
              </a:rPr>
              <a:t>苹果微小元器件字符检测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66308BA-D74E-46B9-90F5-5ABF6A4F0907}"/>
              </a:ext>
            </a:extLst>
          </p:cNvPr>
          <p:cNvPicPr/>
          <p:nvPr/>
        </p:nvPicPr>
        <p:blipFill rotWithShape="1">
          <a:blip r:embed="rId2"/>
          <a:srcRect t="980" b="51879"/>
          <a:stretch/>
        </p:blipFill>
        <p:spPr>
          <a:xfrm>
            <a:off x="4695714" y="2095445"/>
            <a:ext cx="3602466" cy="2400356"/>
          </a:xfrm>
          <a:prstGeom prst="rect">
            <a:avLst/>
          </a:prstGeom>
        </p:spPr>
      </p:pic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84E8AC4D-9F86-4444-9D73-8711AA1A2EE2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411E607-CF9B-4F46-B069-F4744E7696D4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小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较小，识别的区域很小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背景颜色极其相似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342719E6-D1A0-462C-8026-8BD9F14CC2E0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96E385D4-0926-46A9-926F-1CCC78790530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5B5CD8B0-532E-4EF9-B3F0-21C7AD92EE23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苹果微小元器件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G45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31137496-A253-4D73-8CF9-92BCDFFEB2C5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D6563B49-BD7B-4CFD-9B7E-4E9E7D362C66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F0E1DFF6-EC24-42CE-83EA-F82BACEA2BFC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9" name="图片 4">
            <a:extLst>
              <a:ext uri="{FF2B5EF4-FFF2-40B4-BE49-F238E27FC236}">
                <a16:creationId xmlns:a16="http://schemas.microsoft.com/office/drawing/2014/main" id="{36E7C7C5-225F-47F1-A7DD-2B3F7643D6E2}"/>
              </a:ext>
            </a:extLst>
          </p:cNvPr>
          <p:cNvPicPr/>
          <p:nvPr/>
        </p:nvPicPr>
        <p:blipFill rotWithShape="1">
          <a:blip r:embed="rId3"/>
          <a:srcRect l="411" t="5207" r="951"/>
          <a:stretch/>
        </p:blipFill>
        <p:spPr>
          <a:xfrm>
            <a:off x="8767262" y="1609047"/>
            <a:ext cx="3085114" cy="4045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60" name="组合 59">
            <a:extLst>
              <a:ext uri="{FF2B5EF4-FFF2-40B4-BE49-F238E27FC236}">
                <a16:creationId xmlns:a16="http://schemas.microsoft.com/office/drawing/2014/main" id="{B7B9502F-2F84-4D32-BE80-7523112039C0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61" name="矩形: 圆角 60">
              <a:extLst>
                <a:ext uri="{FF2B5EF4-FFF2-40B4-BE49-F238E27FC236}">
                  <a16:creationId xmlns:a16="http://schemas.microsoft.com/office/drawing/2014/main" id="{3D79FFF3-308A-4B25-8E36-B857F2052CB4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iconfont-11673-5560736">
              <a:extLst>
                <a:ext uri="{FF2B5EF4-FFF2-40B4-BE49-F238E27FC236}">
                  <a16:creationId xmlns:a16="http://schemas.microsoft.com/office/drawing/2014/main" id="{1DD58367-9CFE-4802-A393-216FBBE69F46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DD0E9810-9D7C-4F85-A82F-DFEA094F9B7F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75FEE1E8-621C-4F85-B3F8-1A02F45896CA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E7250FF1-30C4-44BB-B2CC-967C05E47937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cart_155395">
            <a:extLst>
              <a:ext uri="{FF2B5EF4-FFF2-40B4-BE49-F238E27FC236}">
                <a16:creationId xmlns:a16="http://schemas.microsoft.com/office/drawing/2014/main" id="{471F06CB-61EC-411A-B035-815819A0CAA8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17A80EEC-FE47-46D3-950E-9EE70039363F}"/>
              </a:ext>
            </a:extLst>
          </p:cNvPr>
          <p:cNvSpPr txBox="1"/>
          <p:nvPr/>
        </p:nvSpPr>
        <p:spPr>
          <a:xfrm>
            <a:off x="641239" y="5233492"/>
            <a:ext cx="1319592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69E1B610-1258-482C-A368-DBC203057AEF}"/>
              </a:ext>
            </a:extLst>
          </p:cNvPr>
          <p:cNvSpPr txBox="1"/>
          <p:nvPr/>
        </p:nvSpPr>
        <p:spPr>
          <a:xfrm>
            <a:off x="641239" y="5763929"/>
            <a:ext cx="1261884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字符识别准确率</a:t>
            </a:r>
            <a:endParaRPr lang="en-US" altLang="zh-CN" dirty="0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BC95C956-FF0E-4571-96D1-F29D5E4E9EAE}"/>
              </a:ext>
            </a:extLst>
          </p:cNvPr>
          <p:cNvSpPr txBox="1"/>
          <p:nvPr/>
        </p:nvSpPr>
        <p:spPr>
          <a:xfrm>
            <a:off x="3765439" y="5233492"/>
            <a:ext cx="133402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F8F02ABD-2B3B-49A9-83B2-03EA04CFFC18}"/>
              </a:ext>
            </a:extLst>
          </p:cNvPr>
          <p:cNvSpPr txBox="1"/>
          <p:nvPr/>
        </p:nvSpPr>
        <p:spPr>
          <a:xfrm>
            <a:off x="3765439" y="5763929"/>
            <a:ext cx="14879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识别时间 &lt; </a:t>
            </a:r>
            <a:r>
              <a:rPr lang="zh-CN" altLang="zh-CN"/>
              <a:t>300ms</a:t>
            </a:r>
            <a:endParaRPr lang="en-US" altLang="zh-CN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12B5778B-BB03-407E-8772-A5507FA7E1A3}"/>
              </a:ext>
            </a:extLst>
          </p:cNvPr>
          <p:cNvSpPr txBox="1"/>
          <p:nvPr/>
        </p:nvSpPr>
        <p:spPr>
          <a:xfrm>
            <a:off x="6641989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D7A39045-5AE1-4AD4-BEB5-055B092B6AD8}"/>
              </a:ext>
            </a:extLst>
          </p:cNvPr>
          <p:cNvSpPr txBox="1"/>
          <p:nvPr/>
        </p:nvSpPr>
        <p:spPr>
          <a:xfrm>
            <a:off x="6641989" y="5763929"/>
            <a:ext cx="800219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实现</a:t>
            </a:r>
            <a:r>
              <a:rPr lang="zh-CN" altLang="en-US">
                <a:solidFill>
                  <a:schemeClr val="bg1">
                    <a:lumMod val="50000"/>
                  </a:schemeClr>
                </a:solidFill>
              </a:rPr>
              <a:t>全检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6886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标题 1">
            <a:extLst>
              <a:ext uri="{FF2B5EF4-FFF2-40B4-BE49-F238E27FC236}">
                <a16:creationId xmlns:a16="http://schemas.microsoft.com/office/drawing/2014/main" id="{D4C67664-B120-456C-99E4-D3B190003F0A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博众-</a:t>
            </a:r>
            <a:r>
              <a:rPr lang="zh-CN" altLang="zh-CN" sz="30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sz="3000" b="1" dirty="0">
                <a:solidFill>
                  <a:schemeClr val="tx1"/>
                </a:solidFill>
              </a:rPr>
              <a:t>iWatch表带OCR读取</a:t>
            </a:r>
          </a:p>
        </p:txBody>
      </p: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7FDB5086-DAA8-4B91-912A-7077345D641E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6B36302E-438C-4A60-9A10-0D911083941F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CF830559-00EB-467F-A3A2-FD0747ED6496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种类多</a:t>
            </a:r>
            <a:r>
              <a:rPr lang="zh-CN" altLang="zh-CN" b="0" dirty="0"/>
              <a:t>：单款模型支持</a:t>
            </a:r>
            <a:r>
              <a:rPr lang="en-US" altLang="zh-CN" b="0" dirty="0">
                <a:solidFill>
                  <a:schemeClr val="accent2"/>
                </a:solidFill>
              </a:rPr>
              <a:t>3</a:t>
            </a:r>
            <a:r>
              <a:rPr lang="zh-CN" altLang="zh-CN" b="0" dirty="0">
                <a:solidFill>
                  <a:schemeClr val="accent2"/>
                </a:solidFill>
              </a:rPr>
              <a:t>种</a:t>
            </a:r>
            <a:r>
              <a:rPr lang="zh-CN" altLang="zh-CN" b="0" dirty="0"/>
              <a:t>字体</a:t>
            </a:r>
            <a:endParaRPr lang="en-US" altLang="zh-CN" b="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表带颜色多</a:t>
            </a:r>
            <a:r>
              <a:rPr lang="zh-CN" altLang="zh-CN" b="0" dirty="0"/>
              <a:t>：包含黑白和橘色</a:t>
            </a:r>
            <a:r>
              <a:rPr lang="en-US" altLang="zh-CN" b="0" dirty="0">
                <a:solidFill>
                  <a:schemeClr val="accent2"/>
                </a:solidFill>
              </a:rPr>
              <a:t>3</a:t>
            </a:r>
            <a:r>
              <a:rPr lang="zh-CN" altLang="zh-CN" b="0" dirty="0">
                <a:solidFill>
                  <a:schemeClr val="accent2"/>
                </a:solidFill>
              </a:rPr>
              <a:t>种</a:t>
            </a:r>
            <a:r>
              <a:rPr lang="zh-CN" altLang="zh-CN" b="0" dirty="0"/>
              <a:t>颜色</a:t>
            </a:r>
            <a:endParaRPr lang="en-US" altLang="zh-CN" b="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成像情况多</a:t>
            </a:r>
            <a:r>
              <a:rPr lang="zh-CN" altLang="zh-CN" b="0" dirty="0"/>
              <a:t>：包括成像模糊、打光</a:t>
            </a:r>
            <a:r>
              <a:rPr lang="zh-CN" altLang="en-US" b="0" dirty="0"/>
              <a:t>、</a:t>
            </a:r>
            <a:r>
              <a:rPr lang="zh-CN" altLang="zh-CN" b="0" dirty="0"/>
              <a:t>倾斜等综合字符种类</a:t>
            </a:r>
            <a:r>
              <a:rPr lang="zh-CN" altLang="en-US" b="0" dirty="0"/>
              <a:t>、</a:t>
            </a:r>
            <a:r>
              <a:rPr lang="zh-CN" altLang="zh-CN" b="0" dirty="0"/>
              <a:t>颜色</a:t>
            </a:r>
            <a:r>
              <a:rPr lang="zh-CN" altLang="en-US" b="0" dirty="0"/>
              <a:t>、</a:t>
            </a:r>
            <a:r>
              <a:rPr lang="zh-CN" altLang="zh-CN" b="0" dirty="0"/>
              <a:t>打光等共</a:t>
            </a:r>
            <a:r>
              <a:rPr lang="en-US" altLang="zh-CN" b="0" dirty="0">
                <a:solidFill>
                  <a:schemeClr val="accent2"/>
                </a:solidFill>
              </a:rPr>
              <a:t>15</a:t>
            </a:r>
            <a:r>
              <a:rPr lang="zh-CN" altLang="zh-CN" b="0" dirty="0">
                <a:solidFill>
                  <a:schemeClr val="accent2"/>
                </a:solidFill>
              </a:rPr>
              <a:t>种</a:t>
            </a:r>
            <a:r>
              <a:rPr lang="zh-CN" altLang="zh-CN" b="0" dirty="0"/>
              <a:t>不同形态</a:t>
            </a: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4734D131-7128-4A0D-B5BB-6FE19D5A9ABE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5057D43A-5238-4D4B-9ED5-5E263AAE05A3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71" name="矩形: 圆角 70">
            <a:extLst>
              <a:ext uri="{FF2B5EF4-FFF2-40B4-BE49-F238E27FC236}">
                <a16:creationId xmlns:a16="http://schemas.microsoft.com/office/drawing/2014/main" id="{982E7F73-1C60-4A80-B5AA-95E1724B7492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C631D7E9-AD56-47A7-8218-5482DEE3B448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64C5F596-DC62-4D71-B25B-34C1E779F254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Watch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表带金属件字符识别</a:t>
            </a:r>
            <a:endParaRPr lang="en-US" altLang="zh-CN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zh-CN" dirty="0"/>
              <a:t>字符范围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b="0" dirty="0">
                <a:solidFill>
                  <a:schemeClr val="accent1"/>
                </a:solidFill>
              </a:rPr>
              <a:t>0-9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和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b="0" dirty="0">
                <a:solidFill>
                  <a:schemeClr val="accent1"/>
                </a:solidFill>
              </a:rPr>
              <a:t>a-z</a:t>
            </a:r>
          </a:p>
          <a:p>
            <a:r>
              <a:rPr lang="zh-CN" altLang="zh-CN" dirty="0"/>
              <a:t>字符个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b="0" dirty="0">
                <a:solidFill>
                  <a:schemeClr val="accent1"/>
                </a:solidFill>
              </a:rPr>
              <a:t>13</a:t>
            </a:r>
            <a:r>
              <a:rPr lang="zh-CN" altLang="zh-CN" b="0" dirty="0">
                <a:solidFill>
                  <a:schemeClr val="accent1"/>
                </a:solidFill>
              </a:rPr>
              <a:t>个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字符组成字符串</a:t>
            </a:r>
            <a:endParaRPr lang="en-US" altLang="zh-CN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A14AACEF-6B6C-4CD3-A099-EF0CCBE0CDDE}"/>
              </a:ext>
            </a:extLst>
          </p:cNvPr>
          <p:cNvSpPr txBox="1"/>
          <p:nvPr/>
        </p:nvSpPr>
        <p:spPr>
          <a:xfrm>
            <a:off x="4532036" y="3719577"/>
            <a:ext cx="3996000" cy="964491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首次</a:t>
            </a:r>
            <a:r>
              <a:rPr lang="zh-CN" altLang="zh-CN" dirty="0">
                <a:solidFill>
                  <a:schemeClr val="accent5"/>
                </a:solidFill>
              </a:rPr>
              <a:t>与同类竞品</a:t>
            </a:r>
            <a:r>
              <a:rPr lang="en-US" altLang="zh-CN" dirty="0">
                <a:solidFill>
                  <a:schemeClr val="accent5"/>
                </a:solidFill>
              </a:rPr>
              <a:t>PK</a:t>
            </a:r>
            <a:r>
              <a:rPr lang="zh-CN" altLang="en-US" dirty="0">
                <a:solidFill>
                  <a:schemeClr val="accent5"/>
                </a:solidFill>
              </a:rPr>
              <a:t>，</a:t>
            </a:r>
            <a:r>
              <a:rPr lang="zh-CN" altLang="zh-CN" dirty="0"/>
              <a:t>技术性能上完胜，得到</a:t>
            </a:r>
            <a:r>
              <a:rPr lang="en-US" altLang="zh-CN" dirty="0"/>
              <a:t>PMP</a:t>
            </a:r>
            <a:r>
              <a:rPr lang="zh-CN" altLang="zh-CN" dirty="0"/>
              <a:t>集团高层的认可</a:t>
            </a:r>
            <a:endParaRPr lang="en-US" altLang="zh-CN" dirty="0"/>
          </a:p>
          <a:p>
            <a:r>
              <a:rPr lang="zh-CN" altLang="zh-CN" dirty="0"/>
              <a:t>基于</a:t>
            </a:r>
            <a:r>
              <a:rPr lang="en-US" altLang="zh-CN" dirty="0"/>
              <a:t> </a:t>
            </a:r>
            <a:r>
              <a:rPr lang="en-US" altLang="zh-CN" dirty="0" err="1">
                <a:solidFill>
                  <a:schemeClr val="accent5"/>
                </a:solidFill>
              </a:rPr>
              <a:t>SMore</a:t>
            </a:r>
            <a:r>
              <a:rPr lang="en-US" altLang="zh-CN" dirty="0">
                <a:solidFill>
                  <a:schemeClr val="accent5"/>
                </a:solidFill>
              </a:rPr>
              <a:t> </a:t>
            </a:r>
            <a:r>
              <a:rPr lang="en-US" altLang="zh-CN" dirty="0" err="1">
                <a:solidFill>
                  <a:schemeClr val="accent5"/>
                </a:solidFill>
              </a:rPr>
              <a:t>Vimo</a:t>
            </a:r>
            <a:r>
              <a:rPr lang="en-US" altLang="zh-CN" dirty="0">
                <a:solidFill>
                  <a:schemeClr val="accent5"/>
                </a:solidFill>
              </a:rPr>
              <a:t> </a:t>
            </a:r>
            <a:r>
              <a:rPr lang="zh-CN" altLang="zh-CN" dirty="0">
                <a:solidFill>
                  <a:schemeClr val="accent5"/>
                </a:solidFill>
              </a:rPr>
              <a:t>工业</a:t>
            </a:r>
            <a:r>
              <a:rPr lang="en-US" altLang="zh-CN" dirty="0">
                <a:solidFill>
                  <a:schemeClr val="accent5"/>
                </a:solidFill>
              </a:rPr>
              <a:t> OCR </a:t>
            </a:r>
            <a:r>
              <a:rPr lang="zh-CN" altLang="zh-CN" dirty="0">
                <a:solidFill>
                  <a:schemeClr val="accent5"/>
                </a:solidFill>
              </a:rPr>
              <a:t>识别算法</a:t>
            </a:r>
            <a:endParaRPr lang="en-US" altLang="zh-CN" dirty="0">
              <a:solidFill>
                <a:schemeClr val="accent5"/>
              </a:solidFill>
            </a:endParaRPr>
          </a:p>
          <a:p>
            <a:r>
              <a:rPr lang="zh-CN" altLang="zh-CN" dirty="0">
                <a:solidFill>
                  <a:schemeClr val="accent5"/>
                </a:solidFill>
              </a:rPr>
              <a:t>复杂高效的预处理，</a:t>
            </a:r>
            <a:r>
              <a:rPr lang="zh-CN" altLang="zh-CN" dirty="0"/>
              <a:t>增加算法对环境鲁棒性</a:t>
            </a:r>
            <a:endParaRPr lang="en-US" altLang="zh-CN" dirty="0"/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2957DDC1-49AB-4660-A5EE-11C1F80ECE73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3EFDB665-C82C-4D11-9397-EA1614B59B73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E3408859-DF82-4B21-9E49-CB3E1F4D247C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7794CFA8-39CE-4FAC-B685-A5918C0CBBB7}"/>
              </a:ext>
            </a:extLst>
          </p:cNvPr>
          <p:cNvSpPr txBox="1"/>
          <p:nvPr/>
        </p:nvSpPr>
        <p:spPr>
          <a:xfrm>
            <a:off x="641239" y="5131892"/>
            <a:ext cx="1319592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F9162373-5262-4C6B-9103-CD686D31BE58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89" name="矩形: 圆角 88">
              <a:extLst>
                <a:ext uri="{FF2B5EF4-FFF2-40B4-BE49-F238E27FC236}">
                  <a16:creationId xmlns:a16="http://schemas.microsoft.com/office/drawing/2014/main" id="{FB516C82-613F-4353-B619-710E2D20D5BC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0" name="iconfont-11673-5560736">
              <a:extLst>
                <a:ext uri="{FF2B5EF4-FFF2-40B4-BE49-F238E27FC236}">
                  <a16:creationId xmlns:a16="http://schemas.microsoft.com/office/drawing/2014/main" id="{E2EC58D4-3B55-45C2-9AD5-289AD7E5A6B7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11430002-8186-41C8-89BF-76048D6B4DC3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任意多边形: 形状 91">
            <a:extLst>
              <a:ext uri="{FF2B5EF4-FFF2-40B4-BE49-F238E27FC236}">
                <a16:creationId xmlns:a16="http://schemas.microsoft.com/office/drawing/2014/main" id="{B5EB3314-98B6-44D8-8D82-871182EE2B4C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D6579A5A-6CEA-4815-BE8D-579727C65315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verified-list-of-exercises-of-a-gymnast-on-a-clipboard_30818">
            <a:extLst>
              <a:ext uri="{FF2B5EF4-FFF2-40B4-BE49-F238E27FC236}">
                <a16:creationId xmlns:a16="http://schemas.microsoft.com/office/drawing/2014/main" id="{40F48D03-2E64-4ED4-B8F2-4CF5498725E2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263D277A-BCE7-4C2D-9774-785719FE16F4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cart_155395">
            <a:extLst>
              <a:ext uri="{FF2B5EF4-FFF2-40B4-BE49-F238E27FC236}">
                <a16:creationId xmlns:a16="http://schemas.microsoft.com/office/drawing/2014/main" id="{1A79817C-A6A6-4973-A78E-EA69BEB2602E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9048427F-CAC2-4DE2-9AA9-65835468FDB7}"/>
              </a:ext>
            </a:extLst>
          </p:cNvPr>
          <p:cNvSpPr txBox="1"/>
          <p:nvPr/>
        </p:nvSpPr>
        <p:spPr>
          <a:xfrm>
            <a:off x="641239" y="5662329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字符</a:t>
            </a:r>
            <a:r>
              <a:rPr lang="zh-CN" altLang="zh-CN"/>
              <a:t>读取准确率</a:t>
            </a:r>
            <a:br>
              <a:rPr lang="en-US" altLang="zh-CN" dirty="0"/>
            </a:br>
            <a:r>
              <a:rPr lang="zh-CN" altLang="zh-CN" dirty="0"/>
              <a:t>兼容多种</a:t>
            </a:r>
            <a:r>
              <a:rPr lang="zh-CN" altLang="zh-CN"/>
              <a:t>产品形态</a:t>
            </a:r>
            <a:endParaRPr lang="en-US" altLang="zh-CN" dirty="0"/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55BD6D0C-227C-48AB-949E-0D4B6E7D5A5D}"/>
              </a:ext>
            </a:extLst>
          </p:cNvPr>
          <p:cNvSpPr txBox="1"/>
          <p:nvPr/>
        </p:nvSpPr>
        <p:spPr>
          <a:xfrm>
            <a:off x="3765439" y="51318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0972151D-7DFE-4478-A190-F006E9A70BDF}"/>
              </a:ext>
            </a:extLst>
          </p:cNvPr>
          <p:cNvSpPr txBox="1"/>
          <p:nvPr/>
        </p:nvSpPr>
        <p:spPr>
          <a:xfrm>
            <a:off x="3765439" y="5662329"/>
            <a:ext cx="1659429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/>
              <a:t>人力替换率</a:t>
            </a:r>
            <a:br>
              <a:rPr lang="en-US" altLang="zh-CN" dirty="0"/>
            </a:br>
            <a:r>
              <a:rPr lang="en-US" altLang="zh-CN" dirty="0"/>
              <a:t>6</a:t>
            </a:r>
            <a:r>
              <a:rPr lang="zh-CN" altLang="zh-CN" dirty="0"/>
              <a:t>条产线</a:t>
            </a:r>
            <a:r>
              <a:rPr lang="zh-CN" altLang="zh-CN"/>
              <a:t>全自动化生产</a:t>
            </a:r>
            <a:endParaRPr lang="en-US" altLang="zh-CN" dirty="0"/>
          </a:p>
        </p:txBody>
      </p:sp>
      <p:sp>
        <p:nvSpPr>
          <p:cNvPr id="100" name="文本框 99">
            <a:extLst>
              <a:ext uri="{FF2B5EF4-FFF2-40B4-BE49-F238E27FC236}">
                <a16:creationId xmlns:a16="http://schemas.microsoft.com/office/drawing/2014/main" id="{B2675B42-0044-4AD6-BC4D-C86991946D5B}"/>
              </a:ext>
            </a:extLst>
          </p:cNvPr>
          <p:cNvSpPr txBox="1"/>
          <p:nvPr/>
        </p:nvSpPr>
        <p:spPr>
          <a:xfrm>
            <a:off x="6641989" y="5131892"/>
            <a:ext cx="724878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文本框 100">
            <a:extLst>
              <a:ext uri="{FF2B5EF4-FFF2-40B4-BE49-F238E27FC236}">
                <a16:creationId xmlns:a16="http://schemas.microsoft.com/office/drawing/2014/main" id="{4EA0818B-4C6C-424F-A391-35C7FA3A6AA2}"/>
              </a:ext>
            </a:extLst>
          </p:cNvPr>
          <p:cNvSpPr txBox="1"/>
          <p:nvPr/>
        </p:nvSpPr>
        <p:spPr>
          <a:xfrm>
            <a:off x="6641989" y="5662329"/>
            <a:ext cx="2185214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从需求了解，到完成</a:t>
            </a:r>
            <a:r>
              <a:rPr lang="zh-CN" altLang="zh-CN"/>
              <a:t>产品部署</a:t>
            </a:r>
            <a:br>
              <a:rPr lang="en-US" altLang="zh-CN" dirty="0"/>
            </a:br>
            <a:r>
              <a:rPr lang="zh-CN" altLang="zh-CN"/>
              <a:t>一共花费</a:t>
            </a:r>
            <a:r>
              <a:rPr lang="en-US" altLang="zh-CN" dirty="0"/>
              <a:t>7</a:t>
            </a:r>
            <a:r>
              <a:rPr lang="zh-CN" altLang="zh-CN" dirty="0"/>
              <a:t>天</a:t>
            </a: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4A5A6C54-F024-4191-A79E-473399197C4C}"/>
              </a:ext>
            </a:extLst>
          </p:cNvPr>
          <p:cNvGrpSpPr/>
          <p:nvPr/>
        </p:nvGrpSpPr>
        <p:grpSpPr>
          <a:xfrm>
            <a:off x="4695714" y="2095444"/>
            <a:ext cx="2656511" cy="815250"/>
            <a:chOff x="3334564" y="2143977"/>
            <a:chExt cx="2617381" cy="910258"/>
          </a:xfrm>
        </p:grpSpPr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F63EB2B4-46B8-4F10-B49C-E0F960E420F4}"/>
                </a:ext>
              </a:extLst>
            </p:cNvPr>
            <p:cNvGrpSpPr/>
            <p:nvPr/>
          </p:nvGrpSpPr>
          <p:grpSpPr>
            <a:xfrm>
              <a:off x="3334564" y="2143977"/>
              <a:ext cx="2617381" cy="910258"/>
              <a:chOff x="3724781" y="2468504"/>
              <a:chExt cx="2176344" cy="756877"/>
            </a:xfrm>
          </p:grpSpPr>
          <p:grpSp>
            <p:nvGrpSpPr>
              <p:cNvPr id="56" name="组合 55">
                <a:extLst>
                  <a:ext uri="{FF2B5EF4-FFF2-40B4-BE49-F238E27FC236}">
                    <a16:creationId xmlns:a16="http://schemas.microsoft.com/office/drawing/2014/main" id="{510F79A7-617C-4333-AA35-4F0C52B7BA5A}"/>
                  </a:ext>
                </a:extLst>
              </p:cNvPr>
              <p:cNvGrpSpPr/>
              <p:nvPr/>
            </p:nvGrpSpPr>
            <p:grpSpPr>
              <a:xfrm>
                <a:off x="3724781" y="2468504"/>
                <a:ext cx="1066035" cy="756877"/>
                <a:chOff x="-2336294" y="3038225"/>
                <a:chExt cx="4097682" cy="1870260"/>
              </a:xfrm>
            </p:grpSpPr>
            <p:pic>
              <p:nvPicPr>
                <p:cNvPr id="60" name="图片 59">
                  <a:extLst>
                    <a:ext uri="{FF2B5EF4-FFF2-40B4-BE49-F238E27FC236}">
                      <a16:creationId xmlns:a16="http://schemas.microsoft.com/office/drawing/2014/main" id="{CCE79F30-7341-4504-9827-B8CD697DC5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1"/>
                <a:stretch>
                  <a:fillRect/>
                </a:stretch>
              </p:blipFill>
              <p:spPr>
                <a:xfrm>
                  <a:off x="-2336294" y="3038225"/>
                  <a:ext cx="4097678" cy="3657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图片 60">
                  <a:extLst>
                    <a:ext uri="{FF2B5EF4-FFF2-40B4-BE49-F238E27FC236}">
                      <a16:creationId xmlns:a16="http://schemas.microsoft.com/office/drawing/2014/main" id="{22BF082C-7215-43AD-8D36-EA3AC91DA4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2336294" y="3406145"/>
                  <a:ext cx="4097682" cy="510081"/>
                </a:xfrm>
                <a:prstGeom prst="rect">
                  <a:avLst/>
                </a:prstGeom>
              </p:spPr>
            </p:pic>
            <p:pic>
              <p:nvPicPr>
                <p:cNvPr id="62" name="图片 61">
                  <a:extLst>
                    <a:ext uri="{FF2B5EF4-FFF2-40B4-BE49-F238E27FC236}">
                      <a16:creationId xmlns:a16="http://schemas.microsoft.com/office/drawing/2014/main" id="{13E30FC4-F58B-41B0-8692-1070DE8042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336294" y="3918383"/>
                  <a:ext cx="4097678" cy="461770"/>
                </a:xfrm>
                <a:prstGeom prst="rect">
                  <a:avLst/>
                </a:prstGeom>
              </p:spPr>
            </p:pic>
            <p:pic>
              <p:nvPicPr>
                <p:cNvPr id="63" name="图片 62">
                  <a:extLst>
                    <a:ext uri="{FF2B5EF4-FFF2-40B4-BE49-F238E27FC236}">
                      <a16:creationId xmlns:a16="http://schemas.microsoft.com/office/drawing/2014/main" id="{BEAC4D10-FFB9-4F52-8CDC-BF8034844F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336294" y="4382313"/>
                  <a:ext cx="4097682" cy="526172"/>
                </a:xfrm>
                <a:prstGeom prst="rect">
                  <a:avLst/>
                </a:prstGeom>
              </p:spPr>
            </p:pic>
          </p:grp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CB9E5EC9-9337-4B81-A213-7E8DEF3D29A8}"/>
                  </a:ext>
                </a:extLst>
              </p:cNvPr>
              <p:cNvGrpSpPr/>
              <p:nvPr/>
            </p:nvGrpSpPr>
            <p:grpSpPr>
              <a:xfrm>
                <a:off x="4751292" y="2468504"/>
                <a:ext cx="1149833" cy="756877"/>
                <a:chOff x="4751292" y="2468504"/>
                <a:chExt cx="1149833" cy="756877"/>
              </a:xfrm>
            </p:grpSpPr>
            <p:pic>
              <p:nvPicPr>
                <p:cNvPr id="58" name="图片 57">
                  <a:extLst>
                    <a:ext uri="{FF2B5EF4-FFF2-40B4-BE49-F238E27FC236}">
                      <a16:creationId xmlns:a16="http://schemas.microsoft.com/office/drawing/2014/main" id="{76F87EFF-EAA9-4775-B9AD-AF7F3CA3AF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35092" y="2468504"/>
                  <a:ext cx="1066033" cy="756877"/>
                </a:xfrm>
                <a:prstGeom prst="rect">
                  <a:avLst/>
                </a:prstGeom>
              </p:spPr>
            </p:pic>
            <p:pic>
              <p:nvPicPr>
                <p:cNvPr id="59" name="图片 58">
                  <a:extLst>
                    <a:ext uri="{FF2B5EF4-FFF2-40B4-BE49-F238E27FC236}">
                      <a16:creationId xmlns:a16="http://schemas.microsoft.com/office/drawing/2014/main" id="{6712F4B6-2A8D-4461-82AB-1BC144745B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9272" b="94702" l="9833" r="92469">
                              <a14:foregroundMark x1="79079" y1="44371" x2="79079" y2="44371"/>
                              <a14:foregroundMark x1="74686" y1="63907" x2="74686" y2="63907"/>
                              <a14:foregroundMark x1="79498" y1="28146" x2="79498" y2="28146"/>
                              <a14:foregroundMark x1="82218" y1="27483" x2="82218" y2="27483"/>
                              <a14:foregroundMark x1="36820" y1="95364" x2="36820" y2="95364"/>
                              <a14:foregroundMark x1="82636" y1="50000" x2="82636" y2="50000"/>
                              <a14:foregroundMark x1="92469" y1="31788" x2="92469" y2="31788"/>
                              <a14:foregroundMark x1="50209" y1="9272" x2="50209" y2="9272"/>
                              <a14:foregroundMark x1="85774" y1="40728" x2="85774" y2="40728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51292" y="2905378"/>
                  <a:ext cx="506495" cy="320003"/>
                </a:xfrm>
                <a:prstGeom prst="rect">
                  <a:avLst/>
                </a:prstGeom>
              </p:spPr>
            </p:pic>
          </p:grpSp>
        </p:grp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4F1C9005-CE28-449B-8781-8D0CF3C938A3}"/>
                </a:ext>
              </a:extLst>
            </p:cNvPr>
            <p:cNvSpPr/>
            <p:nvPr/>
          </p:nvSpPr>
          <p:spPr>
            <a:xfrm>
              <a:off x="5477789" y="2266726"/>
              <a:ext cx="128194" cy="96582"/>
            </a:xfrm>
            <a:prstGeom prst="rect">
              <a:avLst/>
            </a:prstGeom>
            <a:noFill/>
            <a:ln w="9525">
              <a:solidFill>
                <a:srgbClr val="C00000"/>
              </a:solidFill>
            </a:ln>
          </p:spPr>
          <p:txBody>
            <a:bodyPr wrap="square" rtlCol="0" anchor="ctr">
              <a:noAutofit/>
            </a:bodyPr>
            <a:lstStyle/>
            <a:p>
              <a:pPr algn="l"/>
              <a:endPara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29" name="Picture 189">
            <a:extLst>
              <a:ext uri="{FF2B5EF4-FFF2-40B4-BE49-F238E27FC236}">
                <a16:creationId xmlns:a16="http://schemas.microsoft.com/office/drawing/2014/main" id="{C92412FD-4266-4819-91B3-CD1D7FB461AE}"/>
              </a:ext>
            </a:extLst>
          </p:cNvPr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0" b="8560"/>
          <a:stretch/>
        </p:blipFill>
        <p:spPr>
          <a:xfrm>
            <a:off x="8767262" y="1609047"/>
            <a:ext cx="3081838" cy="3934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672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>
            <a:extLst>
              <a:ext uri="{FF2B5EF4-FFF2-40B4-BE49-F238E27FC236}">
                <a16:creationId xmlns:a16="http://schemas.microsoft.com/office/drawing/2014/main" id="{0AA562FC-7D06-41F4-8620-A03D78906CC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广州捷普电子-</a:t>
            </a:r>
            <a:r>
              <a:rPr lang="zh-CN" altLang="zh-CN" sz="3000" b="1" dirty="0">
                <a:solidFill>
                  <a:schemeClr val="tx1"/>
                </a:solidFill>
              </a:rPr>
              <a:t>条形码识别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902423C3-F818-45A2-8FEA-11885726D7D9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28EFBBE8-8008-44ED-B729-78BEB1D2A1A8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1AB0E873-6845-4C89-A51B-98D3B6C810C3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字符小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字体很小，肉眼无法看清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76EF3780-1AA5-4871-BA55-71B1D6314FE3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3C79730E-FA64-47D2-83E0-568A4549E20F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456D9699-5C66-4F5F-9FFD-BDC5C80F507A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7E0CBBD4-C534-4826-B4CA-489B1C303A7D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F6C93892-588B-40F8-BBFA-C2BB94D4629A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物料盘上条形码的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FMN-BMTTR-A-TBT(HF1)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2960C589-7F00-486D-9AD3-C8DFDF426AB5}"/>
              </a:ext>
            </a:extLst>
          </p:cNvPr>
          <p:cNvSpPr txBox="1"/>
          <p:nvPr/>
        </p:nvSpPr>
        <p:spPr>
          <a:xfrm>
            <a:off x="4532036" y="3719577"/>
            <a:ext cx="3996000" cy="964491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I+OCR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60D8BE04-80C8-49A4-B91A-B32447E48A31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51EDCAA-63DD-45C1-8189-02E319BAE01D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F08F3D44-2E4F-4395-A31E-39553D2E1FCA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58EB35F7-B102-4BE4-97BB-BF7F39432441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7DF58935-B047-42A8-BCB6-A43A6A67C902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iconfont-11673-5560736">
              <a:extLst>
                <a:ext uri="{FF2B5EF4-FFF2-40B4-BE49-F238E27FC236}">
                  <a16:creationId xmlns:a16="http://schemas.microsoft.com/office/drawing/2014/main" id="{2BC90CE4-D160-4A81-8517-73F1FEF475EF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0B8CDF40-5C4E-458F-9D5D-06DE79E4B194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8E062CFB-E8C2-4B5C-82B4-2D35A92776FC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9399F8E6-ECE6-420E-A9DC-5CF11228EB50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verified-list-of-exercises-of-a-gymnast-on-a-clipboard_30818">
            <a:extLst>
              <a:ext uri="{FF2B5EF4-FFF2-40B4-BE49-F238E27FC236}">
                <a16:creationId xmlns:a16="http://schemas.microsoft.com/office/drawing/2014/main" id="{99F58481-A78E-40C9-A761-3493D9400FA8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21E67FDF-B336-4BD5-8BBE-0E75F0476FF7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cart_155395">
            <a:extLst>
              <a:ext uri="{FF2B5EF4-FFF2-40B4-BE49-F238E27FC236}">
                <a16:creationId xmlns:a16="http://schemas.microsoft.com/office/drawing/2014/main" id="{034439E1-9AD2-4F97-8091-71547FDDB8A5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B54DD4D-8322-4B82-A867-14353F9BDEBA}"/>
              </a:ext>
            </a:extLst>
          </p:cNvPr>
          <p:cNvPicPr/>
          <p:nvPr/>
        </p:nvPicPr>
        <p:blipFill rotWithShape="1">
          <a:blip r:embed="rId2"/>
          <a:srcRect t="6666" b="6593"/>
          <a:stretch/>
        </p:blipFill>
        <p:spPr>
          <a:xfrm>
            <a:off x="4695714" y="2095444"/>
            <a:ext cx="2126023" cy="815250"/>
          </a:xfrm>
          <a:prstGeom prst="rect">
            <a:avLst/>
          </a:prstGeom>
        </p:spPr>
      </p:pic>
      <p:sp>
        <p:nvSpPr>
          <p:cNvPr id="85" name="文本框 84">
            <a:extLst>
              <a:ext uri="{FF2B5EF4-FFF2-40B4-BE49-F238E27FC236}">
                <a16:creationId xmlns:a16="http://schemas.microsoft.com/office/drawing/2014/main" id="{26243C85-1636-4144-934D-97E3D2DC0C11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4CE09F84-4824-49D1-90D0-3F89C6B02A0B}"/>
              </a:ext>
            </a:extLst>
          </p:cNvPr>
          <p:cNvSpPr txBox="1"/>
          <p:nvPr/>
        </p:nvSpPr>
        <p:spPr>
          <a:xfrm>
            <a:off x="641239" y="5763929"/>
            <a:ext cx="1261884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字符识别准确率</a:t>
            </a:r>
            <a:endParaRPr lang="en-US" altLang="zh-CN" dirty="0"/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40FD8FE1-B659-44CD-B3E3-3B47AB04D538}"/>
              </a:ext>
            </a:extLst>
          </p:cNvPr>
          <p:cNvSpPr txBox="1"/>
          <p:nvPr/>
        </p:nvSpPr>
        <p:spPr>
          <a:xfrm>
            <a:off x="3765439" y="5233492"/>
            <a:ext cx="133402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82EECA45-82D4-40D9-9DC5-9E183A3B7ABE}"/>
              </a:ext>
            </a:extLst>
          </p:cNvPr>
          <p:cNvSpPr txBox="1"/>
          <p:nvPr/>
        </p:nvSpPr>
        <p:spPr>
          <a:xfrm>
            <a:off x="3765439" y="5763929"/>
            <a:ext cx="14879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识别时间 &lt; </a:t>
            </a:r>
            <a:r>
              <a:rPr lang="zh-CN" altLang="zh-CN"/>
              <a:t>300ms</a:t>
            </a:r>
            <a:endParaRPr lang="en-US" altLang="zh-CN" dirty="0"/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FEFA8A4A-44B1-4033-ACEC-86CC9334568E}"/>
              </a:ext>
            </a:extLst>
          </p:cNvPr>
          <p:cNvSpPr txBox="1"/>
          <p:nvPr/>
        </p:nvSpPr>
        <p:spPr>
          <a:xfrm>
            <a:off x="6641989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4FAE9B4A-CB50-4DF9-8CF7-CF8EEA9BD2A6}"/>
              </a:ext>
            </a:extLst>
          </p:cNvPr>
          <p:cNvSpPr txBox="1"/>
          <p:nvPr/>
        </p:nvSpPr>
        <p:spPr>
          <a:xfrm>
            <a:off x="6641989" y="5763929"/>
            <a:ext cx="800219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实现</a:t>
            </a:r>
            <a:r>
              <a:rPr lang="zh-CN" altLang="en-US">
                <a:solidFill>
                  <a:schemeClr val="bg1">
                    <a:lumMod val="50000"/>
                  </a:schemeClr>
                </a:solidFill>
              </a:rPr>
              <a:t>全检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3" name="图片 92" descr="图片包含 建筑, 食物, 盒子, 书&#10;&#10;描述已自动生成">
            <a:extLst>
              <a:ext uri="{FF2B5EF4-FFF2-40B4-BE49-F238E27FC236}">
                <a16:creationId xmlns:a16="http://schemas.microsoft.com/office/drawing/2014/main" id="{28D7F80E-7D41-40ED-9A3E-C8060FC31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8" t="7458" r="24590" b="1846"/>
          <a:stretch/>
        </p:blipFill>
        <p:spPr>
          <a:xfrm>
            <a:off x="8216900" y="2032001"/>
            <a:ext cx="3975100" cy="4049486"/>
          </a:xfrm>
          <a:custGeom>
            <a:avLst/>
            <a:gdLst>
              <a:gd name="connsiteX0" fmla="*/ 0 w 3975100"/>
              <a:gd name="connsiteY0" fmla="*/ 0 h 4049486"/>
              <a:gd name="connsiteX1" fmla="*/ 3975100 w 3975100"/>
              <a:gd name="connsiteY1" fmla="*/ 0 h 4049486"/>
              <a:gd name="connsiteX2" fmla="*/ 3975100 w 3975100"/>
              <a:gd name="connsiteY2" fmla="*/ 4049486 h 4049486"/>
              <a:gd name="connsiteX3" fmla="*/ 0 w 3975100"/>
              <a:gd name="connsiteY3" fmla="*/ 4049486 h 404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5100" h="4049486">
                <a:moveTo>
                  <a:pt x="0" y="0"/>
                </a:moveTo>
                <a:lnTo>
                  <a:pt x="3975100" y="0"/>
                </a:lnTo>
                <a:lnTo>
                  <a:pt x="3975100" y="4049486"/>
                </a:lnTo>
                <a:lnTo>
                  <a:pt x="0" y="40494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6010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>
            <a:extLst>
              <a:ext uri="{FF2B5EF4-FFF2-40B4-BE49-F238E27FC236}">
                <a16:creationId xmlns:a16="http://schemas.microsoft.com/office/drawing/2014/main" id="{C300791E-4FE3-40D6-87E6-B89899EBAB8B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000" b="1" dirty="0">
                <a:solidFill>
                  <a:schemeClr val="tx1"/>
                </a:solidFill>
                <a:latin typeface="+mn-ea"/>
                <a:ea typeface="+mn-ea"/>
              </a:rPr>
              <a:t>工业 </a:t>
            </a:r>
            <a:r>
              <a:rPr lang="en-US" altLang="zh-CN" sz="3000" b="1" dirty="0">
                <a:solidFill>
                  <a:schemeClr val="tx1"/>
                </a:solidFill>
                <a:latin typeface="+mn-ea"/>
                <a:ea typeface="+mn-ea"/>
              </a:rPr>
              <a:t>OCR </a:t>
            </a:r>
            <a:r>
              <a:rPr lang="zh-CN" altLang="en-US" sz="3000" b="1" dirty="0">
                <a:solidFill>
                  <a:schemeClr val="tx1"/>
                </a:solidFill>
                <a:latin typeface="+mn-ea"/>
                <a:ea typeface="+mn-ea"/>
              </a:rPr>
              <a:t>业务需求</a:t>
            </a: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91E97FBE-AB3B-4F6A-A72D-E209C98D5081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" t="1851" r="4938" b="-1"/>
          <a:stretch/>
        </p:blipFill>
        <p:spPr>
          <a:xfrm>
            <a:off x="829335" y="1400629"/>
            <a:ext cx="3320667" cy="2213424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26AED6A-7BEC-45AB-A759-595CE85E0B7F}"/>
              </a:ext>
            </a:extLst>
          </p:cNvPr>
          <p:cNvSpPr txBox="1"/>
          <p:nvPr/>
        </p:nvSpPr>
        <p:spPr bwMode="gray">
          <a:xfrm>
            <a:off x="829335" y="3218053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1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+mj-ea"/>
                <a:ea typeface="+mj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pPr marL="0" indent="0" algn="ctr">
              <a:buNone/>
            </a:pPr>
            <a:r>
              <a:rPr lang="zh-CN" altLang="en-US" sz="1600" b="0" dirty="0">
                <a:solidFill>
                  <a:schemeClr val="bg1"/>
                </a:solidFill>
                <a:latin typeface="+mn-ea"/>
                <a:ea typeface="+mn-ea"/>
              </a:rPr>
              <a:t>物流单号识别</a:t>
            </a:r>
            <a:endParaRPr lang="en-US" altLang="zh-CN" sz="1600" b="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id="{2C89320A-E0D7-4225-862A-2BC960AF5E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18541" b="32766"/>
          <a:stretch/>
        </p:blipFill>
        <p:spPr>
          <a:xfrm>
            <a:off x="8054054" y="1400629"/>
            <a:ext cx="3319200" cy="2202711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70A6CBCB-9E09-41DA-942B-AA696D26B5E1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2" t="10653" r="7394" b="4121"/>
          <a:stretch/>
        </p:blipFill>
        <p:spPr>
          <a:xfrm>
            <a:off x="4435667" y="1400629"/>
            <a:ext cx="3320667" cy="2213424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40" name="图片 39">
            <a:extLst>
              <a:ext uri="{FF2B5EF4-FFF2-40B4-BE49-F238E27FC236}">
                <a16:creationId xmlns:a16="http://schemas.microsoft.com/office/drawing/2014/main" id="{8FBCC760-7A89-4AB9-8FE8-5BF033B42569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870" b="3870"/>
          <a:stretch/>
        </p:blipFill>
        <p:spPr>
          <a:xfrm>
            <a:off x="829335" y="3893572"/>
            <a:ext cx="3320667" cy="2213424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51F2D53C-4DE6-4976-8BBC-43EF394339F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13" r="7613"/>
          <a:stretch/>
        </p:blipFill>
        <p:spPr>
          <a:xfrm>
            <a:off x="8054054" y="3904285"/>
            <a:ext cx="3319200" cy="2202711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id="{EACB6B13-783D-455D-91AE-1621C4FBFFD7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2" b="4962"/>
          <a:stretch/>
        </p:blipFill>
        <p:spPr>
          <a:xfrm>
            <a:off x="4435667" y="3893572"/>
            <a:ext cx="3320667" cy="2213424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grpSp>
        <p:nvGrpSpPr>
          <p:cNvPr id="84" name="组合 83">
            <a:extLst>
              <a:ext uri="{FF2B5EF4-FFF2-40B4-BE49-F238E27FC236}">
                <a16:creationId xmlns:a16="http://schemas.microsoft.com/office/drawing/2014/main" id="{1EAFE490-E645-4ECA-9338-35172644BA4C}"/>
              </a:ext>
            </a:extLst>
          </p:cNvPr>
          <p:cNvGrpSpPr/>
          <p:nvPr/>
        </p:nvGrpSpPr>
        <p:grpSpPr>
          <a:xfrm>
            <a:off x="914047" y="4039364"/>
            <a:ext cx="1524353" cy="1550650"/>
            <a:chOff x="914047" y="4153664"/>
            <a:chExt cx="1524353" cy="1550650"/>
          </a:xfrm>
        </p:grpSpPr>
        <p:grpSp>
          <p:nvGrpSpPr>
            <p:cNvPr id="80" name="组合 79">
              <a:extLst>
                <a:ext uri="{FF2B5EF4-FFF2-40B4-BE49-F238E27FC236}">
                  <a16:creationId xmlns:a16="http://schemas.microsoft.com/office/drawing/2014/main" id="{8791F18A-56B7-49A0-89B5-284778DA2F27}"/>
                </a:ext>
              </a:extLst>
            </p:cNvPr>
            <p:cNvGrpSpPr/>
            <p:nvPr/>
          </p:nvGrpSpPr>
          <p:grpSpPr>
            <a:xfrm>
              <a:off x="1112508" y="4153664"/>
              <a:ext cx="1325892" cy="1550650"/>
              <a:chOff x="979158" y="4144139"/>
              <a:chExt cx="1550606" cy="1550650"/>
            </a:xfrm>
          </p:grpSpPr>
          <p:sp>
            <p:nvSpPr>
              <p:cNvPr id="50" name="椭圆 49">
                <a:extLst>
                  <a:ext uri="{FF2B5EF4-FFF2-40B4-BE49-F238E27FC236}">
                    <a16:creationId xmlns:a16="http://schemas.microsoft.com/office/drawing/2014/main" id="{90A24359-A0CE-4A46-A47C-91B6FD21D04A}"/>
                  </a:ext>
                </a:extLst>
              </p:cNvPr>
              <p:cNvSpPr/>
              <p:nvPr/>
            </p:nvSpPr>
            <p:spPr>
              <a:xfrm>
                <a:off x="1103520" y="4268523"/>
                <a:ext cx="1301883" cy="1301883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8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98DAC6C9-179B-4725-9775-C215D005BA63}"/>
                  </a:ext>
                </a:extLst>
              </p:cNvPr>
              <p:cNvSpPr/>
              <p:nvPr/>
            </p:nvSpPr>
            <p:spPr>
              <a:xfrm>
                <a:off x="979158" y="4144139"/>
                <a:ext cx="1550606" cy="1550650"/>
              </a:xfrm>
              <a:custGeom>
                <a:avLst/>
                <a:gdLst>
                  <a:gd name="connsiteX0" fmla="*/ 54504 w 1550606"/>
                  <a:gd name="connsiteY0" fmla="*/ 830861 h 1550650"/>
                  <a:gd name="connsiteX1" fmla="*/ 0 w 1550606"/>
                  <a:gd name="connsiteY1" fmla="*/ 835060 h 1550650"/>
                  <a:gd name="connsiteX2" fmla="*/ 715856 w 1550606"/>
                  <a:gd name="connsiteY2" fmla="*/ 1550650 h 1550650"/>
                  <a:gd name="connsiteX3" fmla="*/ 720036 w 1550606"/>
                  <a:gd name="connsiteY3" fmla="*/ 1496145 h 1550650"/>
                  <a:gd name="connsiteX4" fmla="*/ 54504 w 1550606"/>
                  <a:gd name="connsiteY4" fmla="*/ 830861 h 1550650"/>
                  <a:gd name="connsiteX5" fmla="*/ 1496102 w 1550606"/>
                  <a:gd name="connsiteY5" fmla="*/ 830861 h 1550650"/>
                  <a:gd name="connsiteX6" fmla="*/ 830570 w 1550606"/>
                  <a:gd name="connsiteY6" fmla="*/ 1496145 h 1550650"/>
                  <a:gd name="connsiteX7" fmla="*/ 834750 w 1550606"/>
                  <a:gd name="connsiteY7" fmla="*/ 1550650 h 1550650"/>
                  <a:gd name="connsiteX8" fmla="*/ 1550606 w 1550606"/>
                  <a:gd name="connsiteY8" fmla="*/ 835060 h 1550650"/>
                  <a:gd name="connsiteX9" fmla="*/ 715856 w 1550606"/>
                  <a:gd name="connsiteY9" fmla="*/ 0 h 1550650"/>
                  <a:gd name="connsiteX10" fmla="*/ 0 w 1550606"/>
                  <a:gd name="connsiteY10" fmla="*/ 715590 h 1550650"/>
                  <a:gd name="connsiteX11" fmla="*/ 54504 w 1550606"/>
                  <a:gd name="connsiteY11" fmla="*/ 719789 h 1550650"/>
                  <a:gd name="connsiteX12" fmla="*/ 720036 w 1550606"/>
                  <a:gd name="connsiteY12" fmla="*/ 54505 h 1550650"/>
                  <a:gd name="connsiteX13" fmla="*/ 834750 w 1550606"/>
                  <a:gd name="connsiteY13" fmla="*/ 0 h 1550650"/>
                  <a:gd name="connsiteX14" fmla="*/ 830570 w 1550606"/>
                  <a:gd name="connsiteY14" fmla="*/ 54505 h 1550650"/>
                  <a:gd name="connsiteX15" fmla="*/ 1496102 w 1550606"/>
                  <a:gd name="connsiteY15" fmla="*/ 719789 h 1550650"/>
                  <a:gd name="connsiteX16" fmla="*/ 1550606 w 1550606"/>
                  <a:gd name="connsiteY16" fmla="*/ 715590 h 1550650"/>
                  <a:gd name="connsiteX17" fmla="*/ 834750 w 1550606"/>
                  <a:gd name="connsiteY17" fmla="*/ 0 h 155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50606" h="1550650">
                    <a:moveTo>
                      <a:pt x="54504" y="830861"/>
                    </a:moveTo>
                    <a:lnTo>
                      <a:pt x="0" y="835060"/>
                    </a:lnTo>
                    <a:cubicBezTo>
                      <a:pt x="29466" y="1217501"/>
                      <a:pt x="333404" y="1521326"/>
                      <a:pt x="715856" y="1550650"/>
                    </a:cubicBezTo>
                    <a:lnTo>
                      <a:pt x="720036" y="1496145"/>
                    </a:lnTo>
                    <a:cubicBezTo>
                      <a:pt x="364470" y="1468883"/>
                      <a:pt x="81899" y="1186416"/>
                      <a:pt x="54504" y="830861"/>
                    </a:cubicBezTo>
                    <a:close/>
                    <a:moveTo>
                      <a:pt x="1496102" y="830861"/>
                    </a:moveTo>
                    <a:cubicBezTo>
                      <a:pt x="1468707" y="1186416"/>
                      <a:pt x="1186136" y="1468883"/>
                      <a:pt x="830570" y="1496145"/>
                    </a:cubicBezTo>
                    <a:lnTo>
                      <a:pt x="834750" y="1550650"/>
                    </a:lnTo>
                    <a:cubicBezTo>
                      <a:pt x="1217202" y="1521326"/>
                      <a:pt x="1521140" y="1217501"/>
                      <a:pt x="1550606" y="835060"/>
                    </a:cubicBezTo>
                    <a:close/>
                    <a:moveTo>
                      <a:pt x="715856" y="0"/>
                    </a:moveTo>
                    <a:cubicBezTo>
                      <a:pt x="333404" y="29324"/>
                      <a:pt x="29466" y="333149"/>
                      <a:pt x="0" y="715590"/>
                    </a:cubicBezTo>
                    <a:lnTo>
                      <a:pt x="54504" y="719789"/>
                    </a:lnTo>
                    <a:cubicBezTo>
                      <a:pt x="81899" y="364234"/>
                      <a:pt x="364470" y="81767"/>
                      <a:pt x="720036" y="54505"/>
                    </a:cubicBezTo>
                    <a:close/>
                    <a:moveTo>
                      <a:pt x="834750" y="0"/>
                    </a:moveTo>
                    <a:lnTo>
                      <a:pt x="830570" y="54505"/>
                    </a:lnTo>
                    <a:cubicBezTo>
                      <a:pt x="1186136" y="81767"/>
                      <a:pt x="1468707" y="364234"/>
                      <a:pt x="1496102" y="719789"/>
                    </a:cubicBezTo>
                    <a:lnTo>
                      <a:pt x="1550606" y="715590"/>
                    </a:lnTo>
                    <a:cubicBezTo>
                      <a:pt x="1521140" y="333149"/>
                      <a:pt x="1217202" y="29324"/>
                      <a:pt x="83475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75C96086-676A-41F8-BDE6-58E02BAD5946}"/>
                  </a:ext>
                </a:extLst>
              </p:cNvPr>
              <p:cNvSpPr/>
              <p:nvPr/>
            </p:nvSpPr>
            <p:spPr>
              <a:xfrm rot="18900000" flipV="1">
                <a:off x="1182666" y="4347669"/>
                <a:ext cx="1143593" cy="1143593"/>
              </a:xfrm>
              <a:custGeom>
                <a:avLst/>
                <a:gdLst>
                  <a:gd name="connsiteX0" fmla="*/ 199706 w 1143593"/>
                  <a:gd name="connsiteY0" fmla="*/ 571796 h 1143593"/>
                  <a:gd name="connsiteX1" fmla="*/ 189720 w 1143593"/>
                  <a:gd name="connsiteY1" fmla="*/ 581782 h 1143593"/>
                  <a:gd name="connsiteX2" fmla="*/ 9986 w 1143593"/>
                  <a:gd name="connsiteY2" fmla="*/ 581782 h 1143593"/>
                  <a:gd name="connsiteX3" fmla="*/ 0 w 1143593"/>
                  <a:gd name="connsiteY3" fmla="*/ 571796 h 1143593"/>
                  <a:gd name="connsiteX4" fmla="*/ 9986 w 1143593"/>
                  <a:gd name="connsiteY4" fmla="*/ 561810 h 1143593"/>
                  <a:gd name="connsiteX5" fmla="*/ 189721 w 1143593"/>
                  <a:gd name="connsiteY5" fmla="*/ 561811 h 1143593"/>
                  <a:gd name="connsiteX6" fmla="*/ 581782 w 1143593"/>
                  <a:gd name="connsiteY6" fmla="*/ 189721 h 1143593"/>
                  <a:gd name="connsiteX7" fmla="*/ 571797 w 1143593"/>
                  <a:gd name="connsiteY7" fmla="*/ 199706 h 1143593"/>
                  <a:gd name="connsiteX8" fmla="*/ 561811 w 1143593"/>
                  <a:gd name="connsiteY8" fmla="*/ 189720 h 1143593"/>
                  <a:gd name="connsiteX9" fmla="*/ 561811 w 1143593"/>
                  <a:gd name="connsiteY9" fmla="*/ 9986 h 1143593"/>
                  <a:gd name="connsiteX10" fmla="*/ 571797 w 1143593"/>
                  <a:gd name="connsiteY10" fmla="*/ 0 h 1143593"/>
                  <a:gd name="connsiteX11" fmla="*/ 581783 w 1143593"/>
                  <a:gd name="connsiteY11" fmla="*/ 9986 h 1143593"/>
                  <a:gd name="connsiteX12" fmla="*/ 581782 w 1143593"/>
                  <a:gd name="connsiteY12" fmla="*/ 189721 h 1143593"/>
                  <a:gd name="connsiteX13" fmla="*/ 1143593 w 1143593"/>
                  <a:gd name="connsiteY13" fmla="*/ 571796 h 1143593"/>
                  <a:gd name="connsiteX14" fmla="*/ 1133607 w 1143593"/>
                  <a:gd name="connsiteY14" fmla="*/ 581782 h 1143593"/>
                  <a:gd name="connsiteX15" fmla="*/ 953873 w 1143593"/>
                  <a:gd name="connsiteY15" fmla="*/ 581782 h 1143593"/>
                  <a:gd name="connsiteX16" fmla="*/ 943887 w 1143593"/>
                  <a:gd name="connsiteY16" fmla="*/ 571796 h 1143593"/>
                  <a:gd name="connsiteX17" fmla="*/ 953873 w 1143593"/>
                  <a:gd name="connsiteY17" fmla="*/ 561810 h 1143593"/>
                  <a:gd name="connsiteX18" fmla="*/ 1133608 w 1143593"/>
                  <a:gd name="connsiteY18" fmla="*/ 561811 h 1143593"/>
                  <a:gd name="connsiteX19" fmla="*/ 581782 w 1143593"/>
                  <a:gd name="connsiteY19" fmla="*/ 1133608 h 1143593"/>
                  <a:gd name="connsiteX20" fmla="*/ 571797 w 1143593"/>
                  <a:gd name="connsiteY20" fmla="*/ 1143593 h 1143593"/>
                  <a:gd name="connsiteX21" fmla="*/ 561811 w 1143593"/>
                  <a:gd name="connsiteY21" fmla="*/ 1133607 h 1143593"/>
                  <a:gd name="connsiteX22" fmla="*/ 561811 w 1143593"/>
                  <a:gd name="connsiteY22" fmla="*/ 953873 h 1143593"/>
                  <a:gd name="connsiteX23" fmla="*/ 571797 w 1143593"/>
                  <a:gd name="connsiteY23" fmla="*/ 943887 h 1143593"/>
                  <a:gd name="connsiteX24" fmla="*/ 581783 w 1143593"/>
                  <a:gd name="connsiteY24" fmla="*/ 953873 h 1143593"/>
                  <a:gd name="connsiteX25" fmla="*/ 581782 w 1143593"/>
                  <a:gd name="connsiteY25" fmla="*/ 1133608 h 1143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3593" h="1143593">
                    <a:moveTo>
                      <a:pt x="199706" y="571796"/>
                    </a:moveTo>
                    <a:cubicBezTo>
                      <a:pt x="199706" y="577311"/>
                      <a:pt x="195235" y="581782"/>
                      <a:pt x="189720" y="581782"/>
                    </a:cubicBezTo>
                    <a:lnTo>
                      <a:pt x="9986" y="581782"/>
                    </a:lnTo>
                    <a:cubicBezTo>
                      <a:pt x="4471" y="581782"/>
                      <a:pt x="0" y="577311"/>
                      <a:pt x="0" y="571796"/>
                    </a:cubicBezTo>
                    <a:cubicBezTo>
                      <a:pt x="0" y="566281"/>
                      <a:pt x="4471" y="561810"/>
                      <a:pt x="9986" y="561810"/>
                    </a:cubicBezTo>
                    <a:cubicBezTo>
                      <a:pt x="69898" y="561810"/>
                      <a:pt x="129809" y="561811"/>
                      <a:pt x="189721" y="561811"/>
                    </a:cubicBezTo>
                    <a:close/>
                    <a:moveTo>
                      <a:pt x="581782" y="189721"/>
                    </a:moveTo>
                    <a:lnTo>
                      <a:pt x="571797" y="199706"/>
                    </a:lnTo>
                    <a:cubicBezTo>
                      <a:pt x="566282" y="199706"/>
                      <a:pt x="561811" y="195235"/>
                      <a:pt x="561811" y="189720"/>
                    </a:cubicBezTo>
                    <a:lnTo>
                      <a:pt x="561811" y="9986"/>
                    </a:lnTo>
                    <a:cubicBezTo>
                      <a:pt x="561811" y="4471"/>
                      <a:pt x="566282" y="0"/>
                      <a:pt x="571797" y="0"/>
                    </a:cubicBezTo>
                    <a:cubicBezTo>
                      <a:pt x="577312" y="0"/>
                      <a:pt x="581783" y="4471"/>
                      <a:pt x="581783" y="9986"/>
                    </a:cubicBezTo>
                    <a:cubicBezTo>
                      <a:pt x="581783" y="69898"/>
                      <a:pt x="581782" y="129809"/>
                      <a:pt x="581782" y="189721"/>
                    </a:cubicBezTo>
                    <a:close/>
                    <a:moveTo>
                      <a:pt x="1143593" y="571796"/>
                    </a:moveTo>
                    <a:cubicBezTo>
                      <a:pt x="1143593" y="577311"/>
                      <a:pt x="1139122" y="581782"/>
                      <a:pt x="1133607" y="581782"/>
                    </a:cubicBezTo>
                    <a:lnTo>
                      <a:pt x="953873" y="581782"/>
                    </a:lnTo>
                    <a:cubicBezTo>
                      <a:pt x="948358" y="581782"/>
                      <a:pt x="943887" y="577311"/>
                      <a:pt x="943887" y="571796"/>
                    </a:cubicBezTo>
                    <a:cubicBezTo>
                      <a:pt x="943887" y="566281"/>
                      <a:pt x="948358" y="561810"/>
                      <a:pt x="953873" y="561810"/>
                    </a:cubicBezTo>
                    <a:cubicBezTo>
                      <a:pt x="1013785" y="561810"/>
                      <a:pt x="1073696" y="561811"/>
                      <a:pt x="1133608" y="561811"/>
                    </a:cubicBezTo>
                    <a:close/>
                    <a:moveTo>
                      <a:pt x="581782" y="1133608"/>
                    </a:moveTo>
                    <a:lnTo>
                      <a:pt x="571797" y="1143593"/>
                    </a:lnTo>
                    <a:cubicBezTo>
                      <a:pt x="566282" y="1143593"/>
                      <a:pt x="561811" y="1139122"/>
                      <a:pt x="561811" y="1133607"/>
                    </a:cubicBezTo>
                    <a:lnTo>
                      <a:pt x="561811" y="953873"/>
                    </a:lnTo>
                    <a:cubicBezTo>
                      <a:pt x="561811" y="948358"/>
                      <a:pt x="566282" y="943887"/>
                      <a:pt x="571797" y="943887"/>
                    </a:cubicBezTo>
                    <a:cubicBezTo>
                      <a:pt x="577312" y="943887"/>
                      <a:pt x="581783" y="948358"/>
                      <a:pt x="581783" y="953873"/>
                    </a:cubicBezTo>
                    <a:cubicBezTo>
                      <a:pt x="581783" y="1013785"/>
                      <a:pt x="581782" y="1073696"/>
                      <a:pt x="581782" y="11336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B31F6929-FBF7-4899-AA68-8DDCBACF441C}"/>
                  </a:ext>
                </a:extLst>
              </p:cNvPr>
              <p:cNvSpPr/>
              <p:nvPr/>
            </p:nvSpPr>
            <p:spPr>
              <a:xfrm>
                <a:off x="1455588" y="4620591"/>
                <a:ext cx="597748" cy="597748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5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81" name="椭圆 80">
              <a:extLst>
                <a:ext uri="{FF2B5EF4-FFF2-40B4-BE49-F238E27FC236}">
                  <a16:creationId xmlns:a16="http://schemas.microsoft.com/office/drawing/2014/main" id="{62A7C657-E5A2-4867-AEB3-D88EC5351552}"/>
                </a:ext>
              </a:extLst>
            </p:cNvPr>
            <p:cNvSpPr/>
            <p:nvPr/>
          </p:nvSpPr>
          <p:spPr>
            <a:xfrm>
              <a:off x="914047" y="4278048"/>
              <a:ext cx="1113214" cy="1301883"/>
            </a:xfrm>
            <a:prstGeom prst="ellipse">
              <a:avLst/>
            </a:prstGeom>
            <a:noFill/>
            <a:ln w="635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82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C4A72B95-61F0-4BDC-9439-7863B0F6EA8E}"/>
                </a:ext>
              </a:extLst>
            </p:cNvPr>
            <p:cNvSpPr/>
            <p:nvPr/>
          </p:nvSpPr>
          <p:spPr>
            <a:xfrm>
              <a:off x="1601458" y="4506432"/>
              <a:ext cx="722642" cy="845116"/>
            </a:xfrm>
            <a:prstGeom prst="ellipse">
              <a:avLst/>
            </a:prstGeom>
            <a:noFill/>
            <a:ln w="127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25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椭圆 82">
              <a:extLst>
                <a:ext uri="{FF2B5EF4-FFF2-40B4-BE49-F238E27FC236}">
                  <a16:creationId xmlns:a16="http://schemas.microsoft.com/office/drawing/2014/main" id="{CAA2B978-6520-40B3-96F0-8CE01C1D07DD}"/>
                </a:ext>
              </a:extLst>
            </p:cNvPr>
            <p:cNvSpPr/>
            <p:nvPr/>
          </p:nvSpPr>
          <p:spPr>
            <a:xfrm>
              <a:off x="1943230" y="4813300"/>
              <a:ext cx="197848" cy="231380"/>
            </a:xfrm>
            <a:prstGeom prst="ellipse">
              <a:avLst/>
            </a:prstGeom>
            <a:noFill/>
            <a:ln w="254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25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FBCEBCD6-9C34-4DA7-A8EF-00C07A1AD473}"/>
              </a:ext>
            </a:extLst>
          </p:cNvPr>
          <p:cNvGrpSpPr/>
          <p:nvPr/>
        </p:nvGrpSpPr>
        <p:grpSpPr>
          <a:xfrm>
            <a:off x="2499029" y="4388906"/>
            <a:ext cx="929972" cy="1036112"/>
            <a:chOff x="914047" y="4153664"/>
            <a:chExt cx="1524353" cy="1550650"/>
          </a:xfrm>
        </p:grpSpPr>
        <p:grpSp>
          <p:nvGrpSpPr>
            <p:cNvPr id="86" name="组合 85">
              <a:extLst>
                <a:ext uri="{FF2B5EF4-FFF2-40B4-BE49-F238E27FC236}">
                  <a16:creationId xmlns:a16="http://schemas.microsoft.com/office/drawing/2014/main" id="{7592E0CE-E9C7-4090-AC03-FD2B79E0D0EE}"/>
                </a:ext>
              </a:extLst>
            </p:cNvPr>
            <p:cNvGrpSpPr/>
            <p:nvPr/>
          </p:nvGrpSpPr>
          <p:grpSpPr>
            <a:xfrm>
              <a:off x="1112508" y="4153664"/>
              <a:ext cx="1325892" cy="1550650"/>
              <a:chOff x="979158" y="4144139"/>
              <a:chExt cx="1550606" cy="1550650"/>
            </a:xfrm>
          </p:grpSpPr>
          <p:sp>
            <p:nvSpPr>
              <p:cNvPr id="90" name="椭圆 89">
                <a:extLst>
                  <a:ext uri="{FF2B5EF4-FFF2-40B4-BE49-F238E27FC236}">
                    <a16:creationId xmlns:a16="http://schemas.microsoft.com/office/drawing/2014/main" id="{67894F4B-99BC-4004-8C98-79C5A81920A1}"/>
                  </a:ext>
                </a:extLst>
              </p:cNvPr>
              <p:cNvSpPr/>
              <p:nvPr/>
            </p:nvSpPr>
            <p:spPr>
              <a:xfrm>
                <a:off x="1103520" y="4268523"/>
                <a:ext cx="1301883" cy="1301883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8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1B331F4B-1C47-4DB9-8164-83727B23CA33}"/>
                  </a:ext>
                </a:extLst>
              </p:cNvPr>
              <p:cNvSpPr/>
              <p:nvPr/>
            </p:nvSpPr>
            <p:spPr>
              <a:xfrm>
                <a:off x="979158" y="4144139"/>
                <a:ext cx="1550606" cy="1550650"/>
              </a:xfrm>
              <a:custGeom>
                <a:avLst/>
                <a:gdLst>
                  <a:gd name="connsiteX0" fmla="*/ 54504 w 1550606"/>
                  <a:gd name="connsiteY0" fmla="*/ 830861 h 1550650"/>
                  <a:gd name="connsiteX1" fmla="*/ 0 w 1550606"/>
                  <a:gd name="connsiteY1" fmla="*/ 835060 h 1550650"/>
                  <a:gd name="connsiteX2" fmla="*/ 715856 w 1550606"/>
                  <a:gd name="connsiteY2" fmla="*/ 1550650 h 1550650"/>
                  <a:gd name="connsiteX3" fmla="*/ 720036 w 1550606"/>
                  <a:gd name="connsiteY3" fmla="*/ 1496145 h 1550650"/>
                  <a:gd name="connsiteX4" fmla="*/ 54504 w 1550606"/>
                  <a:gd name="connsiteY4" fmla="*/ 830861 h 1550650"/>
                  <a:gd name="connsiteX5" fmla="*/ 1496102 w 1550606"/>
                  <a:gd name="connsiteY5" fmla="*/ 830861 h 1550650"/>
                  <a:gd name="connsiteX6" fmla="*/ 830570 w 1550606"/>
                  <a:gd name="connsiteY6" fmla="*/ 1496145 h 1550650"/>
                  <a:gd name="connsiteX7" fmla="*/ 834750 w 1550606"/>
                  <a:gd name="connsiteY7" fmla="*/ 1550650 h 1550650"/>
                  <a:gd name="connsiteX8" fmla="*/ 1550606 w 1550606"/>
                  <a:gd name="connsiteY8" fmla="*/ 835060 h 1550650"/>
                  <a:gd name="connsiteX9" fmla="*/ 715856 w 1550606"/>
                  <a:gd name="connsiteY9" fmla="*/ 0 h 1550650"/>
                  <a:gd name="connsiteX10" fmla="*/ 0 w 1550606"/>
                  <a:gd name="connsiteY10" fmla="*/ 715590 h 1550650"/>
                  <a:gd name="connsiteX11" fmla="*/ 54504 w 1550606"/>
                  <a:gd name="connsiteY11" fmla="*/ 719789 h 1550650"/>
                  <a:gd name="connsiteX12" fmla="*/ 720036 w 1550606"/>
                  <a:gd name="connsiteY12" fmla="*/ 54505 h 1550650"/>
                  <a:gd name="connsiteX13" fmla="*/ 834750 w 1550606"/>
                  <a:gd name="connsiteY13" fmla="*/ 0 h 1550650"/>
                  <a:gd name="connsiteX14" fmla="*/ 830570 w 1550606"/>
                  <a:gd name="connsiteY14" fmla="*/ 54505 h 1550650"/>
                  <a:gd name="connsiteX15" fmla="*/ 1496102 w 1550606"/>
                  <a:gd name="connsiteY15" fmla="*/ 719789 h 1550650"/>
                  <a:gd name="connsiteX16" fmla="*/ 1550606 w 1550606"/>
                  <a:gd name="connsiteY16" fmla="*/ 715590 h 1550650"/>
                  <a:gd name="connsiteX17" fmla="*/ 834750 w 1550606"/>
                  <a:gd name="connsiteY17" fmla="*/ 0 h 155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50606" h="1550650">
                    <a:moveTo>
                      <a:pt x="54504" y="830861"/>
                    </a:moveTo>
                    <a:lnTo>
                      <a:pt x="0" y="835060"/>
                    </a:lnTo>
                    <a:cubicBezTo>
                      <a:pt x="29466" y="1217501"/>
                      <a:pt x="333404" y="1521326"/>
                      <a:pt x="715856" y="1550650"/>
                    </a:cubicBezTo>
                    <a:lnTo>
                      <a:pt x="720036" y="1496145"/>
                    </a:lnTo>
                    <a:cubicBezTo>
                      <a:pt x="364470" y="1468883"/>
                      <a:pt x="81899" y="1186416"/>
                      <a:pt x="54504" y="830861"/>
                    </a:cubicBezTo>
                    <a:close/>
                    <a:moveTo>
                      <a:pt x="1496102" y="830861"/>
                    </a:moveTo>
                    <a:cubicBezTo>
                      <a:pt x="1468707" y="1186416"/>
                      <a:pt x="1186136" y="1468883"/>
                      <a:pt x="830570" y="1496145"/>
                    </a:cubicBezTo>
                    <a:lnTo>
                      <a:pt x="834750" y="1550650"/>
                    </a:lnTo>
                    <a:cubicBezTo>
                      <a:pt x="1217202" y="1521326"/>
                      <a:pt x="1521140" y="1217501"/>
                      <a:pt x="1550606" y="835060"/>
                    </a:cubicBezTo>
                    <a:close/>
                    <a:moveTo>
                      <a:pt x="715856" y="0"/>
                    </a:moveTo>
                    <a:cubicBezTo>
                      <a:pt x="333404" y="29324"/>
                      <a:pt x="29466" y="333149"/>
                      <a:pt x="0" y="715590"/>
                    </a:cubicBezTo>
                    <a:lnTo>
                      <a:pt x="54504" y="719789"/>
                    </a:lnTo>
                    <a:cubicBezTo>
                      <a:pt x="81899" y="364234"/>
                      <a:pt x="364470" y="81767"/>
                      <a:pt x="720036" y="54505"/>
                    </a:cubicBezTo>
                    <a:close/>
                    <a:moveTo>
                      <a:pt x="834750" y="0"/>
                    </a:moveTo>
                    <a:lnTo>
                      <a:pt x="830570" y="54505"/>
                    </a:lnTo>
                    <a:cubicBezTo>
                      <a:pt x="1186136" y="81767"/>
                      <a:pt x="1468707" y="364234"/>
                      <a:pt x="1496102" y="719789"/>
                    </a:cubicBezTo>
                    <a:lnTo>
                      <a:pt x="1550606" y="715590"/>
                    </a:lnTo>
                    <a:cubicBezTo>
                      <a:pt x="1521140" y="333149"/>
                      <a:pt x="1217202" y="29324"/>
                      <a:pt x="83475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98889C04-3BB1-47A8-B313-78A8E2A9D246}"/>
                  </a:ext>
                </a:extLst>
              </p:cNvPr>
              <p:cNvSpPr/>
              <p:nvPr/>
            </p:nvSpPr>
            <p:spPr>
              <a:xfrm rot="18900000" flipV="1">
                <a:off x="1182666" y="4347669"/>
                <a:ext cx="1143593" cy="1143593"/>
              </a:xfrm>
              <a:custGeom>
                <a:avLst/>
                <a:gdLst>
                  <a:gd name="connsiteX0" fmla="*/ 199706 w 1143593"/>
                  <a:gd name="connsiteY0" fmla="*/ 571796 h 1143593"/>
                  <a:gd name="connsiteX1" fmla="*/ 189720 w 1143593"/>
                  <a:gd name="connsiteY1" fmla="*/ 581782 h 1143593"/>
                  <a:gd name="connsiteX2" fmla="*/ 9986 w 1143593"/>
                  <a:gd name="connsiteY2" fmla="*/ 581782 h 1143593"/>
                  <a:gd name="connsiteX3" fmla="*/ 0 w 1143593"/>
                  <a:gd name="connsiteY3" fmla="*/ 571796 h 1143593"/>
                  <a:gd name="connsiteX4" fmla="*/ 9986 w 1143593"/>
                  <a:gd name="connsiteY4" fmla="*/ 561810 h 1143593"/>
                  <a:gd name="connsiteX5" fmla="*/ 189721 w 1143593"/>
                  <a:gd name="connsiteY5" fmla="*/ 561811 h 1143593"/>
                  <a:gd name="connsiteX6" fmla="*/ 581782 w 1143593"/>
                  <a:gd name="connsiteY6" fmla="*/ 189721 h 1143593"/>
                  <a:gd name="connsiteX7" fmla="*/ 571797 w 1143593"/>
                  <a:gd name="connsiteY7" fmla="*/ 199706 h 1143593"/>
                  <a:gd name="connsiteX8" fmla="*/ 561811 w 1143593"/>
                  <a:gd name="connsiteY8" fmla="*/ 189720 h 1143593"/>
                  <a:gd name="connsiteX9" fmla="*/ 561811 w 1143593"/>
                  <a:gd name="connsiteY9" fmla="*/ 9986 h 1143593"/>
                  <a:gd name="connsiteX10" fmla="*/ 571797 w 1143593"/>
                  <a:gd name="connsiteY10" fmla="*/ 0 h 1143593"/>
                  <a:gd name="connsiteX11" fmla="*/ 581783 w 1143593"/>
                  <a:gd name="connsiteY11" fmla="*/ 9986 h 1143593"/>
                  <a:gd name="connsiteX12" fmla="*/ 581782 w 1143593"/>
                  <a:gd name="connsiteY12" fmla="*/ 189721 h 1143593"/>
                  <a:gd name="connsiteX13" fmla="*/ 1143593 w 1143593"/>
                  <a:gd name="connsiteY13" fmla="*/ 571796 h 1143593"/>
                  <a:gd name="connsiteX14" fmla="*/ 1133607 w 1143593"/>
                  <a:gd name="connsiteY14" fmla="*/ 581782 h 1143593"/>
                  <a:gd name="connsiteX15" fmla="*/ 953873 w 1143593"/>
                  <a:gd name="connsiteY15" fmla="*/ 581782 h 1143593"/>
                  <a:gd name="connsiteX16" fmla="*/ 943887 w 1143593"/>
                  <a:gd name="connsiteY16" fmla="*/ 571796 h 1143593"/>
                  <a:gd name="connsiteX17" fmla="*/ 953873 w 1143593"/>
                  <a:gd name="connsiteY17" fmla="*/ 561810 h 1143593"/>
                  <a:gd name="connsiteX18" fmla="*/ 1133608 w 1143593"/>
                  <a:gd name="connsiteY18" fmla="*/ 561811 h 1143593"/>
                  <a:gd name="connsiteX19" fmla="*/ 581782 w 1143593"/>
                  <a:gd name="connsiteY19" fmla="*/ 1133608 h 1143593"/>
                  <a:gd name="connsiteX20" fmla="*/ 571797 w 1143593"/>
                  <a:gd name="connsiteY20" fmla="*/ 1143593 h 1143593"/>
                  <a:gd name="connsiteX21" fmla="*/ 561811 w 1143593"/>
                  <a:gd name="connsiteY21" fmla="*/ 1133607 h 1143593"/>
                  <a:gd name="connsiteX22" fmla="*/ 561811 w 1143593"/>
                  <a:gd name="connsiteY22" fmla="*/ 953873 h 1143593"/>
                  <a:gd name="connsiteX23" fmla="*/ 571797 w 1143593"/>
                  <a:gd name="connsiteY23" fmla="*/ 943887 h 1143593"/>
                  <a:gd name="connsiteX24" fmla="*/ 581783 w 1143593"/>
                  <a:gd name="connsiteY24" fmla="*/ 953873 h 1143593"/>
                  <a:gd name="connsiteX25" fmla="*/ 581782 w 1143593"/>
                  <a:gd name="connsiteY25" fmla="*/ 1133608 h 1143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3593" h="1143593">
                    <a:moveTo>
                      <a:pt x="199706" y="571796"/>
                    </a:moveTo>
                    <a:cubicBezTo>
                      <a:pt x="199706" y="577311"/>
                      <a:pt x="195235" y="581782"/>
                      <a:pt x="189720" y="581782"/>
                    </a:cubicBezTo>
                    <a:lnTo>
                      <a:pt x="9986" y="581782"/>
                    </a:lnTo>
                    <a:cubicBezTo>
                      <a:pt x="4471" y="581782"/>
                      <a:pt x="0" y="577311"/>
                      <a:pt x="0" y="571796"/>
                    </a:cubicBezTo>
                    <a:cubicBezTo>
                      <a:pt x="0" y="566281"/>
                      <a:pt x="4471" y="561810"/>
                      <a:pt x="9986" y="561810"/>
                    </a:cubicBezTo>
                    <a:cubicBezTo>
                      <a:pt x="69898" y="561810"/>
                      <a:pt x="129809" y="561811"/>
                      <a:pt x="189721" y="561811"/>
                    </a:cubicBezTo>
                    <a:close/>
                    <a:moveTo>
                      <a:pt x="581782" y="189721"/>
                    </a:moveTo>
                    <a:lnTo>
                      <a:pt x="571797" y="199706"/>
                    </a:lnTo>
                    <a:cubicBezTo>
                      <a:pt x="566282" y="199706"/>
                      <a:pt x="561811" y="195235"/>
                      <a:pt x="561811" y="189720"/>
                    </a:cubicBezTo>
                    <a:lnTo>
                      <a:pt x="561811" y="9986"/>
                    </a:lnTo>
                    <a:cubicBezTo>
                      <a:pt x="561811" y="4471"/>
                      <a:pt x="566282" y="0"/>
                      <a:pt x="571797" y="0"/>
                    </a:cubicBezTo>
                    <a:cubicBezTo>
                      <a:pt x="577312" y="0"/>
                      <a:pt x="581783" y="4471"/>
                      <a:pt x="581783" y="9986"/>
                    </a:cubicBezTo>
                    <a:cubicBezTo>
                      <a:pt x="581783" y="69898"/>
                      <a:pt x="581782" y="129809"/>
                      <a:pt x="581782" y="189721"/>
                    </a:cubicBezTo>
                    <a:close/>
                    <a:moveTo>
                      <a:pt x="1143593" y="571796"/>
                    </a:moveTo>
                    <a:cubicBezTo>
                      <a:pt x="1143593" y="577311"/>
                      <a:pt x="1139122" y="581782"/>
                      <a:pt x="1133607" y="581782"/>
                    </a:cubicBezTo>
                    <a:lnTo>
                      <a:pt x="953873" y="581782"/>
                    </a:lnTo>
                    <a:cubicBezTo>
                      <a:pt x="948358" y="581782"/>
                      <a:pt x="943887" y="577311"/>
                      <a:pt x="943887" y="571796"/>
                    </a:cubicBezTo>
                    <a:cubicBezTo>
                      <a:pt x="943887" y="566281"/>
                      <a:pt x="948358" y="561810"/>
                      <a:pt x="953873" y="561810"/>
                    </a:cubicBezTo>
                    <a:cubicBezTo>
                      <a:pt x="1013785" y="561810"/>
                      <a:pt x="1073696" y="561811"/>
                      <a:pt x="1133608" y="561811"/>
                    </a:cubicBezTo>
                    <a:close/>
                    <a:moveTo>
                      <a:pt x="581782" y="1133608"/>
                    </a:moveTo>
                    <a:lnTo>
                      <a:pt x="571797" y="1143593"/>
                    </a:lnTo>
                    <a:cubicBezTo>
                      <a:pt x="566282" y="1143593"/>
                      <a:pt x="561811" y="1139122"/>
                      <a:pt x="561811" y="1133607"/>
                    </a:cubicBezTo>
                    <a:lnTo>
                      <a:pt x="561811" y="953873"/>
                    </a:lnTo>
                    <a:cubicBezTo>
                      <a:pt x="561811" y="948358"/>
                      <a:pt x="566282" y="943887"/>
                      <a:pt x="571797" y="943887"/>
                    </a:cubicBezTo>
                    <a:cubicBezTo>
                      <a:pt x="577312" y="943887"/>
                      <a:pt x="581783" y="948358"/>
                      <a:pt x="581783" y="953873"/>
                    </a:cubicBezTo>
                    <a:cubicBezTo>
                      <a:pt x="581783" y="1013785"/>
                      <a:pt x="581782" y="1073696"/>
                      <a:pt x="581782" y="11336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93" name="椭圆 92">
                <a:extLst>
                  <a:ext uri="{FF2B5EF4-FFF2-40B4-BE49-F238E27FC236}">
                    <a16:creationId xmlns:a16="http://schemas.microsoft.com/office/drawing/2014/main" id="{FE1A2B2E-26A5-4840-9CEC-D75149AB54F0}"/>
                  </a:ext>
                </a:extLst>
              </p:cNvPr>
              <p:cNvSpPr/>
              <p:nvPr/>
            </p:nvSpPr>
            <p:spPr>
              <a:xfrm>
                <a:off x="1455588" y="4620591"/>
                <a:ext cx="597748" cy="597748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5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87" name="椭圆 86">
              <a:extLst>
                <a:ext uri="{FF2B5EF4-FFF2-40B4-BE49-F238E27FC236}">
                  <a16:creationId xmlns:a16="http://schemas.microsoft.com/office/drawing/2014/main" id="{ED6BAA15-9AFE-41EE-88A5-F985D7D3B6FC}"/>
                </a:ext>
              </a:extLst>
            </p:cNvPr>
            <p:cNvSpPr/>
            <p:nvPr/>
          </p:nvSpPr>
          <p:spPr>
            <a:xfrm>
              <a:off x="914047" y="4278048"/>
              <a:ext cx="1113214" cy="1301883"/>
            </a:xfrm>
            <a:prstGeom prst="ellipse">
              <a:avLst/>
            </a:prstGeom>
            <a:noFill/>
            <a:ln w="635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82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椭圆 87">
              <a:extLst>
                <a:ext uri="{FF2B5EF4-FFF2-40B4-BE49-F238E27FC236}">
                  <a16:creationId xmlns:a16="http://schemas.microsoft.com/office/drawing/2014/main" id="{B826739E-E613-47EE-920B-7503E3021505}"/>
                </a:ext>
              </a:extLst>
            </p:cNvPr>
            <p:cNvSpPr/>
            <p:nvPr/>
          </p:nvSpPr>
          <p:spPr>
            <a:xfrm>
              <a:off x="1710747" y="4506432"/>
              <a:ext cx="722642" cy="845116"/>
            </a:xfrm>
            <a:prstGeom prst="ellipse">
              <a:avLst/>
            </a:prstGeom>
            <a:noFill/>
            <a:ln w="127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椭圆 88">
              <a:extLst>
                <a:ext uri="{FF2B5EF4-FFF2-40B4-BE49-F238E27FC236}">
                  <a16:creationId xmlns:a16="http://schemas.microsoft.com/office/drawing/2014/main" id="{040CC668-BFBB-4663-97C9-0FAB21C50F28}"/>
                </a:ext>
              </a:extLst>
            </p:cNvPr>
            <p:cNvSpPr/>
            <p:nvPr/>
          </p:nvSpPr>
          <p:spPr>
            <a:xfrm>
              <a:off x="2052519" y="4813300"/>
              <a:ext cx="197847" cy="231380"/>
            </a:xfrm>
            <a:prstGeom prst="ellipse">
              <a:avLst/>
            </a:prstGeom>
            <a:noFill/>
            <a:ln w="254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25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425844C5-B117-47FD-B05B-78EF33838291}"/>
              </a:ext>
            </a:extLst>
          </p:cNvPr>
          <p:cNvGrpSpPr/>
          <p:nvPr/>
        </p:nvGrpSpPr>
        <p:grpSpPr>
          <a:xfrm>
            <a:off x="2194257" y="4075049"/>
            <a:ext cx="545351" cy="348274"/>
            <a:chOff x="160080" y="4153664"/>
            <a:chExt cx="545351" cy="348274"/>
          </a:xfrm>
          <a:scene3d>
            <a:camera prst="perspectiveFront" fov="7200000">
              <a:rot lat="20703496" lon="19489464" rev="80269"/>
            </a:camera>
            <a:lightRig rig="threePt" dir="t"/>
          </a:scene3d>
        </p:grpSpPr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0A46DADF-AFA4-4F63-85F4-A46410EB40FB}"/>
                </a:ext>
              </a:extLst>
            </p:cNvPr>
            <p:cNvSpPr/>
            <p:nvPr/>
          </p:nvSpPr>
          <p:spPr>
            <a:xfrm>
              <a:off x="160080" y="4153664"/>
              <a:ext cx="545351" cy="348274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5" name="半闭框 94">
              <a:extLst>
                <a:ext uri="{FF2B5EF4-FFF2-40B4-BE49-F238E27FC236}">
                  <a16:creationId xmlns:a16="http://schemas.microsoft.com/office/drawing/2014/main" id="{D3AE9F28-0DA5-4A7B-9408-345A4588BBC4}"/>
                </a:ext>
              </a:extLst>
            </p:cNvPr>
            <p:cNvSpPr/>
            <p:nvPr/>
          </p:nvSpPr>
          <p:spPr>
            <a:xfrm>
              <a:off x="160080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6" name="半闭框 95">
              <a:extLst>
                <a:ext uri="{FF2B5EF4-FFF2-40B4-BE49-F238E27FC236}">
                  <a16:creationId xmlns:a16="http://schemas.microsoft.com/office/drawing/2014/main" id="{2E7AD658-8FB2-4AE3-B24B-CDE74DF78905}"/>
                </a:ext>
              </a:extLst>
            </p:cNvPr>
            <p:cNvSpPr/>
            <p:nvPr/>
          </p:nvSpPr>
          <p:spPr>
            <a:xfrm flipH="1">
              <a:off x="664961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7" name="半闭框 96">
              <a:extLst>
                <a:ext uri="{FF2B5EF4-FFF2-40B4-BE49-F238E27FC236}">
                  <a16:creationId xmlns:a16="http://schemas.microsoft.com/office/drawing/2014/main" id="{0CCDEC27-1CC9-4D58-BB27-6BE12BFB6A0B}"/>
                </a:ext>
              </a:extLst>
            </p:cNvPr>
            <p:cNvSpPr/>
            <p:nvPr/>
          </p:nvSpPr>
          <p:spPr>
            <a:xfrm flipV="1">
              <a:off x="160080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8" name="半闭框 97">
              <a:extLst>
                <a:ext uri="{FF2B5EF4-FFF2-40B4-BE49-F238E27FC236}">
                  <a16:creationId xmlns:a16="http://schemas.microsoft.com/office/drawing/2014/main" id="{490EA183-2FCC-4B44-89BD-561BFC6DE95C}"/>
                </a:ext>
              </a:extLst>
            </p:cNvPr>
            <p:cNvSpPr/>
            <p:nvPr/>
          </p:nvSpPr>
          <p:spPr>
            <a:xfrm flipH="1" flipV="1">
              <a:off x="664961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0" name="组合 119">
            <a:extLst>
              <a:ext uri="{FF2B5EF4-FFF2-40B4-BE49-F238E27FC236}">
                <a16:creationId xmlns:a16="http://schemas.microsoft.com/office/drawing/2014/main" id="{34983E69-75BB-437C-A778-3A8B05C0114F}"/>
              </a:ext>
            </a:extLst>
          </p:cNvPr>
          <p:cNvGrpSpPr/>
          <p:nvPr/>
        </p:nvGrpSpPr>
        <p:grpSpPr>
          <a:xfrm>
            <a:off x="3368689" y="4581373"/>
            <a:ext cx="384161" cy="245334"/>
            <a:chOff x="160080" y="4153664"/>
            <a:chExt cx="545351" cy="348274"/>
          </a:xfrm>
          <a:scene3d>
            <a:camera prst="perspectiveFront" fov="7200000">
              <a:rot lat="20703496" lon="19489464" rev="80269"/>
            </a:camera>
            <a:lightRig rig="threePt" dir="t"/>
          </a:scene3d>
        </p:grpSpPr>
        <p:sp>
          <p:nvSpPr>
            <p:cNvPr id="121" name="矩形 120">
              <a:extLst>
                <a:ext uri="{FF2B5EF4-FFF2-40B4-BE49-F238E27FC236}">
                  <a16:creationId xmlns:a16="http://schemas.microsoft.com/office/drawing/2014/main" id="{ED327428-1269-483B-9B31-6AD258479855}"/>
                </a:ext>
              </a:extLst>
            </p:cNvPr>
            <p:cNvSpPr/>
            <p:nvPr/>
          </p:nvSpPr>
          <p:spPr>
            <a:xfrm>
              <a:off x="160080" y="4153664"/>
              <a:ext cx="545351" cy="348274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" name="半闭框 121">
              <a:extLst>
                <a:ext uri="{FF2B5EF4-FFF2-40B4-BE49-F238E27FC236}">
                  <a16:creationId xmlns:a16="http://schemas.microsoft.com/office/drawing/2014/main" id="{6F32B7B1-FA46-43A7-8802-BD4DBF2014AF}"/>
                </a:ext>
              </a:extLst>
            </p:cNvPr>
            <p:cNvSpPr/>
            <p:nvPr/>
          </p:nvSpPr>
          <p:spPr>
            <a:xfrm>
              <a:off x="160080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3" name="半闭框 122">
              <a:extLst>
                <a:ext uri="{FF2B5EF4-FFF2-40B4-BE49-F238E27FC236}">
                  <a16:creationId xmlns:a16="http://schemas.microsoft.com/office/drawing/2014/main" id="{DA7254FA-25EF-49BD-A0D4-8A69FD04F56F}"/>
                </a:ext>
              </a:extLst>
            </p:cNvPr>
            <p:cNvSpPr/>
            <p:nvPr/>
          </p:nvSpPr>
          <p:spPr>
            <a:xfrm flipH="1">
              <a:off x="664961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4" name="半闭框 123">
              <a:extLst>
                <a:ext uri="{FF2B5EF4-FFF2-40B4-BE49-F238E27FC236}">
                  <a16:creationId xmlns:a16="http://schemas.microsoft.com/office/drawing/2014/main" id="{D746A89E-CCE2-41A1-AAEF-B9D5EDCAA47D}"/>
                </a:ext>
              </a:extLst>
            </p:cNvPr>
            <p:cNvSpPr/>
            <p:nvPr/>
          </p:nvSpPr>
          <p:spPr>
            <a:xfrm flipV="1">
              <a:off x="160080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5" name="半闭框 124">
              <a:extLst>
                <a:ext uri="{FF2B5EF4-FFF2-40B4-BE49-F238E27FC236}">
                  <a16:creationId xmlns:a16="http://schemas.microsoft.com/office/drawing/2014/main" id="{920C9D5F-8CFD-4FE8-B936-F4EF2A68F3A3}"/>
                </a:ext>
              </a:extLst>
            </p:cNvPr>
            <p:cNvSpPr/>
            <p:nvPr/>
          </p:nvSpPr>
          <p:spPr>
            <a:xfrm flipH="1" flipV="1">
              <a:off x="664961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62" name="组合 161">
            <a:extLst>
              <a:ext uri="{FF2B5EF4-FFF2-40B4-BE49-F238E27FC236}">
                <a16:creationId xmlns:a16="http://schemas.microsoft.com/office/drawing/2014/main" id="{ED4E91D9-C878-4184-9A77-F6F5257D4ADF}"/>
              </a:ext>
            </a:extLst>
          </p:cNvPr>
          <p:cNvGrpSpPr/>
          <p:nvPr/>
        </p:nvGrpSpPr>
        <p:grpSpPr>
          <a:xfrm>
            <a:off x="8343919" y="4400550"/>
            <a:ext cx="894520" cy="894520"/>
            <a:chOff x="8317829" y="4304610"/>
            <a:chExt cx="1188000" cy="1188000"/>
          </a:xfrm>
        </p:grpSpPr>
        <p:grpSp>
          <p:nvGrpSpPr>
            <p:cNvPr id="139" name="组合 138">
              <a:extLst>
                <a:ext uri="{FF2B5EF4-FFF2-40B4-BE49-F238E27FC236}">
                  <a16:creationId xmlns:a16="http://schemas.microsoft.com/office/drawing/2014/main" id="{FE7849E7-C118-4F2F-BF67-A2ED5171EAB5}"/>
                </a:ext>
              </a:extLst>
            </p:cNvPr>
            <p:cNvGrpSpPr/>
            <p:nvPr/>
          </p:nvGrpSpPr>
          <p:grpSpPr>
            <a:xfrm rot="19800000">
              <a:off x="8422884" y="4409665"/>
              <a:ext cx="977890" cy="977890"/>
              <a:chOff x="5427546" y="3354198"/>
              <a:chExt cx="1331932" cy="1331932"/>
            </a:xfrm>
          </p:grpSpPr>
          <p:sp>
            <p:nvSpPr>
              <p:cNvPr id="140" name="空心弧 139">
                <a:extLst>
                  <a:ext uri="{FF2B5EF4-FFF2-40B4-BE49-F238E27FC236}">
                    <a16:creationId xmlns:a16="http://schemas.microsoft.com/office/drawing/2014/main" id="{7744EA19-205F-4E3D-BFC0-F7D467EA4723}"/>
                  </a:ext>
                </a:extLst>
              </p:cNvPr>
              <p:cNvSpPr/>
              <p:nvPr/>
            </p:nvSpPr>
            <p:spPr>
              <a:xfrm>
                <a:off x="5427546" y="3354198"/>
                <a:ext cx="1331932" cy="1331932"/>
              </a:xfrm>
              <a:prstGeom prst="blockArc">
                <a:avLst>
                  <a:gd name="adj1" fmla="val 18257164"/>
                  <a:gd name="adj2" fmla="val 3319074"/>
                  <a:gd name="adj3" fmla="val 5612"/>
                </a:avLst>
              </a:prstGeom>
              <a:solidFill>
                <a:schemeClr val="accent5">
                  <a:alpha val="20000"/>
                </a:schemeClr>
              </a:soli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椭圆 140">
                <a:extLst>
                  <a:ext uri="{FF2B5EF4-FFF2-40B4-BE49-F238E27FC236}">
                    <a16:creationId xmlns:a16="http://schemas.microsoft.com/office/drawing/2014/main" id="{869DF065-71FD-4F9D-915E-F62F706E9601}"/>
                  </a:ext>
                </a:extLst>
              </p:cNvPr>
              <p:cNvSpPr/>
              <p:nvPr/>
            </p:nvSpPr>
            <p:spPr>
              <a:xfrm>
                <a:off x="5579946" y="3506598"/>
                <a:ext cx="1027132" cy="1027132"/>
              </a:xfrm>
              <a:prstGeom prst="ellipse">
                <a:avLst/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42" name="组合 141">
                <a:extLst>
                  <a:ext uri="{FF2B5EF4-FFF2-40B4-BE49-F238E27FC236}">
                    <a16:creationId xmlns:a16="http://schemas.microsoft.com/office/drawing/2014/main" id="{3D678B59-2261-4501-A757-51F6E7310734}"/>
                  </a:ext>
                </a:extLst>
              </p:cNvPr>
              <p:cNvGrpSpPr/>
              <p:nvPr/>
            </p:nvGrpSpPr>
            <p:grpSpPr>
              <a:xfrm>
                <a:off x="5584877" y="3511529"/>
                <a:ext cx="1017270" cy="1017270"/>
                <a:chOff x="7751108" y="1469244"/>
                <a:chExt cx="1027132" cy="1027132"/>
              </a:xfrm>
            </p:grpSpPr>
            <p:grpSp>
              <p:nvGrpSpPr>
                <p:cNvPr id="151" name="组合 150">
                  <a:extLst>
                    <a:ext uri="{FF2B5EF4-FFF2-40B4-BE49-F238E27FC236}">
                      <a16:creationId xmlns:a16="http://schemas.microsoft.com/office/drawing/2014/main" id="{3ECB098D-3815-4A45-AE1C-6416721D5DD7}"/>
                    </a:ext>
                  </a:extLst>
                </p:cNvPr>
                <p:cNvGrpSpPr/>
                <p:nvPr/>
              </p:nvGrpSpPr>
              <p:grpSpPr>
                <a:xfrm>
                  <a:off x="8226150" y="1469244"/>
                  <a:ext cx="77048" cy="1027132"/>
                  <a:chOff x="8226150" y="1469244"/>
                  <a:chExt cx="77048" cy="1027132"/>
                </a:xfrm>
              </p:grpSpPr>
              <p:sp>
                <p:nvSpPr>
                  <p:cNvPr id="155" name="等腰三角形 154">
                    <a:extLst>
                      <a:ext uri="{FF2B5EF4-FFF2-40B4-BE49-F238E27FC236}">
                        <a16:creationId xmlns:a16="http://schemas.microsoft.com/office/drawing/2014/main" id="{891D9619-D10E-4905-A502-11C3089D1563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26150" y="1469244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156" name="等腰三角形 155">
                    <a:extLst>
                      <a:ext uri="{FF2B5EF4-FFF2-40B4-BE49-F238E27FC236}">
                        <a16:creationId xmlns:a16="http://schemas.microsoft.com/office/drawing/2014/main" id="{3B056440-5F19-4EB1-9D50-AE57BBCAF3F8}"/>
                      </a:ext>
                    </a:extLst>
                  </p:cNvPr>
                  <p:cNvSpPr/>
                  <p:nvPr/>
                </p:nvSpPr>
                <p:spPr>
                  <a:xfrm rot="10800000" flipV="1">
                    <a:off x="8226150" y="2429955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grpSp>
              <p:nvGrpSpPr>
                <p:cNvPr id="152" name="组合 151">
                  <a:extLst>
                    <a:ext uri="{FF2B5EF4-FFF2-40B4-BE49-F238E27FC236}">
                      <a16:creationId xmlns:a16="http://schemas.microsoft.com/office/drawing/2014/main" id="{D4ED7809-FD8B-47A5-A330-4FC555ED2BBD}"/>
                    </a:ext>
                  </a:extLst>
                </p:cNvPr>
                <p:cNvGrpSpPr/>
                <p:nvPr/>
              </p:nvGrpSpPr>
              <p:grpSpPr>
                <a:xfrm rot="5400000">
                  <a:off x="8226150" y="1469244"/>
                  <a:ext cx="77048" cy="1027132"/>
                  <a:chOff x="8226150" y="1469244"/>
                  <a:chExt cx="77048" cy="1027132"/>
                </a:xfrm>
              </p:grpSpPr>
              <p:sp>
                <p:nvSpPr>
                  <p:cNvPr id="153" name="等腰三角形 152">
                    <a:extLst>
                      <a:ext uri="{FF2B5EF4-FFF2-40B4-BE49-F238E27FC236}">
                        <a16:creationId xmlns:a16="http://schemas.microsoft.com/office/drawing/2014/main" id="{0985788D-43CC-40E7-8835-EE29E2A43F9F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26150" y="1469244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154" name="等腰三角形 153">
                    <a:extLst>
                      <a:ext uri="{FF2B5EF4-FFF2-40B4-BE49-F238E27FC236}">
                        <a16:creationId xmlns:a16="http://schemas.microsoft.com/office/drawing/2014/main" id="{6CC25984-42E4-4237-A4D8-536A8DB68949}"/>
                      </a:ext>
                    </a:extLst>
                  </p:cNvPr>
                  <p:cNvSpPr/>
                  <p:nvPr/>
                </p:nvSpPr>
                <p:spPr>
                  <a:xfrm rot="10800000" flipV="1">
                    <a:off x="8226150" y="2429955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</p:grpSp>
          <p:sp>
            <p:nvSpPr>
              <p:cNvPr id="143" name="空心弧 142">
                <a:extLst>
                  <a:ext uri="{FF2B5EF4-FFF2-40B4-BE49-F238E27FC236}">
                    <a16:creationId xmlns:a16="http://schemas.microsoft.com/office/drawing/2014/main" id="{925CE9DE-3D24-4B11-9C00-F26E27999A80}"/>
                  </a:ext>
                </a:extLst>
              </p:cNvPr>
              <p:cNvSpPr/>
              <p:nvPr/>
            </p:nvSpPr>
            <p:spPr>
              <a:xfrm flipH="1">
                <a:off x="5427546" y="3354198"/>
                <a:ext cx="1331932" cy="1331932"/>
              </a:xfrm>
              <a:prstGeom prst="blockArc">
                <a:avLst>
                  <a:gd name="adj1" fmla="val 18257164"/>
                  <a:gd name="adj2" fmla="val 3319074"/>
                  <a:gd name="adj3" fmla="val 5612"/>
                </a:avLst>
              </a:prstGeom>
              <a:solidFill>
                <a:schemeClr val="accent5">
                  <a:alpha val="20000"/>
                </a:schemeClr>
              </a:soli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弧形 143">
                <a:extLst>
                  <a:ext uri="{FF2B5EF4-FFF2-40B4-BE49-F238E27FC236}">
                    <a16:creationId xmlns:a16="http://schemas.microsoft.com/office/drawing/2014/main" id="{7BC430B8-E834-49C4-8E99-2AFF70391AFF}"/>
                  </a:ext>
                </a:extLst>
              </p:cNvPr>
              <p:cNvSpPr/>
              <p:nvPr/>
            </p:nvSpPr>
            <p:spPr>
              <a:xfrm>
                <a:off x="5464862" y="3391514"/>
                <a:ext cx="1257300" cy="1257300"/>
              </a:xfrm>
              <a:prstGeom prst="arc">
                <a:avLst>
                  <a:gd name="adj1" fmla="val 14255596"/>
                  <a:gd name="adj2" fmla="val 18088074"/>
                </a:avLst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5" name="弧形 144">
                <a:extLst>
                  <a:ext uri="{FF2B5EF4-FFF2-40B4-BE49-F238E27FC236}">
                    <a16:creationId xmlns:a16="http://schemas.microsoft.com/office/drawing/2014/main" id="{E15C23E3-0AB9-4A19-8A97-F0B26EAF1ED8}"/>
                  </a:ext>
                </a:extLst>
              </p:cNvPr>
              <p:cNvSpPr/>
              <p:nvPr/>
            </p:nvSpPr>
            <p:spPr>
              <a:xfrm flipV="1">
                <a:off x="5464862" y="3391514"/>
                <a:ext cx="1257300" cy="1257300"/>
              </a:xfrm>
              <a:prstGeom prst="arc">
                <a:avLst>
                  <a:gd name="adj1" fmla="val 14255596"/>
                  <a:gd name="adj2" fmla="val 18088074"/>
                </a:avLst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46" name="组合 145">
                <a:extLst>
                  <a:ext uri="{FF2B5EF4-FFF2-40B4-BE49-F238E27FC236}">
                    <a16:creationId xmlns:a16="http://schemas.microsoft.com/office/drawing/2014/main" id="{CFB40328-5E64-45A0-8346-62687689F29D}"/>
                  </a:ext>
                </a:extLst>
              </p:cNvPr>
              <p:cNvGrpSpPr/>
              <p:nvPr/>
            </p:nvGrpSpPr>
            <p:grpSpPr>
              <a:xfrm>
                <a:off x="5511904" y="3438556"/>
                <a:ext cx="1163216" cy="1163216"/>
                <a:chOff x="5632816" y="1484210"/>
                <a:chExt cx="1302000" cy="1302000"/>
              </a:xfrm>
            </p:grpSpPr>
            <p:sp>
              <p:nvSpPr>
                <p:cNvPr id="147" name="菱形 146">
                  <a:extLst>
                    <a:ext uri="{FF2B5EF4-FFF2-40B4-BE49-F238E27FC236}">
                      <a16:creationId xmlns:a16="http://schemas.microsoft.com/office/drawing/2014/main" id="{D2952CB3-B157-4CAD-A1DB-140E6C24A906}"/>
                    </a:ext>
                  </a:extLst>
                </p:cNvPr>
                <p:cNvSpPr/>
                <p:nvPr/>
              </p:nvSpPr>
              <p:spPr>
                <a:xfrm>
                  <a:off x="6866080" y="1484210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48" name="菱形 147">
                  <a:extLst>
                    <a:ext uri="{FF2B5EF4-FFF2-40B4-BE49-F238E27FC236}">
                      <a16:creationId xmlns:a16="http://schemas.microsoft.com/office/drawing/2014/main" id="{046BDE62-5EA1-4445-9A5E-2491A60F33DD}"/>
                    </a:ext>
                  </a:extLst>
                </p:cNvPr>
                <p:cNvSpPr/>
                <p:nvPr/>
              </p:nvSpPr>
              <p:spPr>
                <a:xfrm>
                  <a:off x="5632816" y="1484210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49" name="菱形 148">
                  <a:extLst>
                    <a:ext uri="{FF2B5EF4-FFF2-40B4-BE49-F238E27FC236}">
                      <a16:creationId xmlns:a16="http://schemas.microsoft.com/office/drawing/2014/main" id="{31AD7A95-E431-4122-B282-11E89A3F2E4E}"/>
                    </a:ext>
                  </a:extLst>
                </p:cNvPr>
                <p:cNvSpPr/>
                <p:nvPr/>
              </p:nvSpPr>
              <p:spPr>
                <a:xfrm>
                  <a:off x="6866080" y="2717474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50" name="菱形 149">
                  <a:extLst>
                    <a:ext uri="{FF2B5EF4-FFF2-40B4-BE49-F238E27FC236}">
                      <a16:creationId xmlns:a16="http://schemas.microsoft.com/office/drawing/2014/main" id="{61496B00-0013-4123-98D5-FC1E56002BFF}"/>
                    </a:ext>
                  </a:extLst>
                </p:cNvPr>
                <p:cNvSpPr/>
                <p:nvPr/>
              </p:nvSpPr>
              <p:spPr>
                <a:xfrm>
                  <a:off x="5632816" y="2717474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cxnSp>
          <p:nvCxnSpPr>
            <p:cNvPr id="158" name="直接连接符 157">
              <a:extLst>
                <a:ext uri="{FF2B5EF4-FFF2-40B4-BE49-F238E27FC236}">
                  <a16:creationId xmlns:a16="http://schemas.microsoft.com/office/drawing/2014/main" id="{2922B11C-C70A-491E-AA0D-664A87B91A9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317829" y="4898610"/>
              <a:ext cx="1188000" cy="0"/>
            </a:xfrm>
            <a:prstGeom prst="line">
              <a:avLst/>
            </a:prstGeom>
            <a:noFill/>
            <a:ln w="6350">
              <a:solidFill>
                <a:schemeClr val="accent5">
                  <a:alpha val="30000"/>
                </a:schemeClr>
              </a:solidFill>
            </a:ln>
            <a:effectLst>
              <a:outerShdw blurRad="254000" algn="ctr" rotWithShape="0">
                <a:schemeClr val="accent1"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0" name="直接连接符 159">
              <a:extLst>
                <a:ext uri="{FF2B5EF4-FFF2-40B4-BE49-F238E27FC236}">
                  <a16:creationId xmlns:a16="http://schemas.microsoft.com/office/drawing/2014/main" id="{34DB1096-A1E1-4FD0-8D66-032F4A3E8B60}"/>
                </a:ext>
              </a:extLst>
            </p:cNvPr>
            <p:cNvCxnSpPr>
              <a:cxnSpLocks/>
            </p:cNvCxnSpPr>
            <p:nvPr/>
          </p:nvCxnSpPr>
          <p:spPr>
            <a:xfrm>
              <a:off x="8317829" y="4898610"/>
              <a:ext cx="1188000" cy="0"/>
            </a:xfrm>
            <a:prstGeom prst="line">
              <a:avLst/>
            </a:prstGeom>
            <a:noFill/>
            <a:ln w="6350">
              <a:solidFill>
                <a:schemeClr val="accent5">
                  <a:alpha val="30000"/>
                </a:schemeClr>
              </a:solidFill>
            </a:ln>
            <a:effectLst>
              <a:outerShdw blurRad="254000" algn="ctr" rotWithShape="0">
                <a:schemeClr val="accent1"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63" name="组合 162">
            <a:extLst>
              <a:ext uri="{FF2B5EF4-FFF2-40B4-BE49-F238E27FC236}">
                <a16:creationId xmlns:a16="http://schemas.microsoft.com/office/drawing/2014/main" id="{4FBB6B93-3ABB-45B6-924A-457A1EDC804D}"/>
              </a:ext>
            </a:extLst>
          </p:cNvPr>
          <p:cNvGrpSpPr/>
          <p:nvPr/>
        </p:nvGrpSpPr>
        <p:grpSpPr>
          <a:xfrm>
            <a:off x="10734694" y="4889500"/>
            <a:ext cx="500820" cy="500820"/>
            <a:chOff x="8317829" y="4304610"/>
            <a:chExt cx="1188000" cy="1188000"/>
          </a:xfrm>
        </p:grpSpPr>
        <p:grpSp>
          <p:nvGrpSpPr>
            <p:cNvPr id="164" name="组合 163">
              <a:extLst>
                <a:ext uri="{FF2B5EF4-FFF2-40B4-BE49-F238E27FC236}">
                  <a16:creationId xmlns:a16="http://schemas.microsoft.com/office/drawing/2014/main" id="{08402D36-B700-4ADF-98EF-506E410DECC2}"/>
                </a:ext>
              </a:extLst>
            </p:cNvPr>
            <p:cNvGrpSpPr/>
            <p:nvPr/>
          </p:nvGrpSpPr>
          <p:grpSpPr>
            <a:xfrm rot="19800000">
              <a:off x="8422884" y="4409665"/>
              <a:ext cx="977890" cy="977890"/>
              <a:chOff x="5427546" y="3354198"/>
              <a:chExt cx="1331932" cy="1331932"/>
            </a:xfrm>
          </p:grpSpPr>
          <p:sp>
            <p:nvSpPr>
              <p:cNvPr id="167" name="空心弧 166">
                <a:extLst>
                  <a:ext uri="{FF2B5EF4-FFF2-40B4-BE49-F238E27FC236}">
                    <a16:creationId xmlns:a16="http://schemas.microsoft.com/office/drawing/2014/main" id="{11937C4D-C92A-492D-8177-0F3266F52387}"/>
                  </a:ext>
                </a:extLst>
              </p:cNvPr>
              <p:cNvSpPr/>
              <p:nvPr/>
            </p:nvSpPr>
            <p:spPr>
              <a:xfrm>
                <a:off x="5427546" y="3354198"/>
                <a:ext cx="1331932" cy="1331932"/>
              </a:xfrm>
              <a:prstGeom prst="blockArc">
                <a:avLst>
                  <a:gd name="adj1" fmla="val 18257164"/>
                  <a:gd name="adj2" fmla="val 3319074"/>
                  <a:gd name="adj3" fmla="val 5612"/>
                </a:avLst>
              </a:prstGeom>
              <a:solidFill>
                <a:schemeClr val="accent5">
                  <a:alpha val="20000"/>
                </a:schemeClr>
              </a:soli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8" name="椭圆 167">
                <a:extLst>
                  <a:ext uri="{FF2B5EF4-FFF2-40B4-BE49-F238E27FC236}">
                    <a16:creationId xmlns:a16="http://schemas.microsoft.com/office/drawing/2014/main" id="{87412723-E210-4A8B-9918-0F9BFE937F56}"/>
                  </a:ext>
                </a:extLst>
              </p:cNvPr>
              <p:cNvSpPr/>
              <p:nvPr/>
            </p:nvSpPr>
            <p:spPr>
              <a:xfrm>
                <a:off x="5579946" y="3506598"/>
                <a:ext cx="1027132" cy="1027132"/>
              </a:xfrm>
              <a:prstGeom prst="ellipse">
                <a:avLst/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69" name="组合 168">
                <a:extLst>
                  <a:ext uri="{FF2B5EF4-FFF2-40B4-BE49-F238E27FC236}">
                    <a16:creationId xmlns:a16="http://schemas.microsoft.com/office/drawing/2014/main" id="{0BD5675B-3899-4EE0-A519-82F134621AD7}"/>
                  </a:ext>
                </a:extLst>
              </p:cNvPr>
              <p:cNvGrpSpPr/>
              <p:nvPr/>
            </p:nvGrpSpPr>
            <p:grpSpPr>
              <a:xfrm>
                <a:off x="5584877" y="3511529"/>
                <a:ext cx="1017270" cy="1017270"/>
                <a:chOff x="7751108" y="1469244"/>
                <a:chExt cx="1027132" cy="1027132"/>
              </a:xfrm>
            </p:grpSpPr>
            <p:grpSp>
              <p:nvGrpSpPr>
                <p:cNvPr id="178" name="组合 177">
                  <a:extLst>
                    <a:ext uri="{FF2B5EF4-FFF2-40B4-BE49-F238E27FC236}">
                      <a16:creationId xmlns:a16="http://schemas.microsoft.com/office/drawing/2014/main" id="{9217A113-5643-4DC9-8F70-8195791875FE}"/>
                    </a:ext>
                  </a:extLst>
                </p:cNvPr>
                <p:cNvGrpSpPr/>
                <p:nvPr/>
              </p:nvGrpSpPr>
              <p:grpSpPr>
                <a:xfrm>
                  <a:off x="8226150" y="1469244"/>
                  <a:ext cx="77048" cy="1027132"/>
                  <a:chOff x="8226150" y="1469244"/>
                  <a:chExt cx="77048" cy="1027132"/>
                </a:xfrm>
              </p:grpSpPr>
              <p:sp>
                <p:nvSpPr>
                  <p:cNvPr id="182" name="等腰三角形 181">
                    <a:extLst>
                      <a:ext uri="{FF2B5EF4-FFF2-40B4-BE49-F238E27FC236}">
                        <a16:creationId xmlns:a16="http://schemas.microsoft.com/office/drawing/2014/main" id="{807B756E-B53D-4647-A6CA-5F4125D91BE4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26150" y="1469244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183" name="等腰三角形 182">
                    <a:extLst>
                      <a:ext uri="{FF2B5EF4-FFF2-40B4-BE49-F238E27FC236}">
                        <a16:creationId xmlns:a16="http://schemas.microsoft.com/office/drawing/2014/main" id="{6C398E09-369C-48DC-A02D-EBCB7F842EDE}"/>
                      </a:ext>
                    </a:extLst>
                  </p:cNvPr>
                  <p:cNvSpPr/>
                  <p:nvPr/>
                </p:nvSpPr>
                <p:spPr>
                  <a:xfrm rot="10800000" flipV="1">
                    <a:off x="8226150" y="2429955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  <p:grpSp>
              <p:nvGrpSpPr>
                <p:cNvPr id="179" name="组合 178">
                  <a:extLst>
                    <a:ext uri="{FF2B5EF4-FFF2-40B4-BE49-F238E27FC236}">
                      <a16:creationId xmlns:a16="http://schemas.microsoft.com/office/drawing/2014/main" id="{2E0F2990-A097-4551-AE45-F66E1E564FAC}"/>
                    </a:ext>
                  </a:extLst>
                </p:cNvPr>
                <p:cNvGrpSpPr/>
                <p:nvPr/>
              </p:nvGrpSpPr>
              <p:grpSpPr>
                <a:xfrm rot="5400000">
                  <a:off x="8226150" y="1469244"/>
                  <a:ext cx="77048" cy="1027132"/>
                  <a:chOff x="8226150" y="1469244"/>
                  <a:chExt cx="77048" cy="1027132"/>
                </a:xfrm>
              </p:grpSpPr>
              <p:sp>
                <p:nvSpPr>
                  <p:cNvPr id="180" name="等腰三角形 179">
                    <a:extLst>
                      <a:ext uri="{FF2B5EF4-FFF2-40B4-BE49-F238E27FC236}">
                        <a16:creationId xmlns:a16="http://schemas.microsoft.com/office/drawing/2014/main" id="{20041EF0-084E-45BA-841A-3EFE94A4C6BC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26150" y="1469244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181" name="等腰三角形 180">
                    <a:extLst>
                      <a:ext uri="{FF2B5EF4-FFF2-40B4-BE49-F238E27FC236}">
                        <a16:creationId xmlns:a16="http://schemas.microsoft.com/office/drawing/2014/main" id="{E23BDE69-8F7C-4B16-AA0C-307A7B3CF805}"/>
                      </a:ext>
                    </a:extLst>
                  </p:cNvPr>
                  <p:cNvSpPr/>
                  <p:nvPr/>
                </p:nvSpPr>
                <p:spPr>
                  <a:xfrm rot="10800000" flipV="1">
                    <a:off x="8226150" y="2429955"/>
                    <a:ext cx="77048" cy="66421"/>
                  </a:xfrm>
                  <a:prstGeom prst="triangle">
                    <a:avLst/>
                  </a:prstGeom>
                  <a:solidFill>
                    <a:schemeClr val="accent5">
                      <a:alpha val="20000"/>
                    </a:schemeClr>
                  </a:solidFill>
                  <a:ln>
                    <a:noFill/>
                  </a:ln>
                  <a:effectLst>
                    <a:outerShdw blurRad="254000" algn="ctr" rotWithShape="0">
                      <a:schemeClr val="accent1">
                        <a:alpha val="66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</p:grpSp>
          </p:grpSp>
          <p:sp>
            <p:nvSpPr>
              <p:cNvPr id="170" name="空心弧 169">
                <a:extLst>
                  <a:ext uri="{FF2B5EF4-FFF2-40B4-BE49-F238E27FC236}">
                    <a16:creationId xmlns:a16="http://schemas.microsoft.com/office/drawing/2014/main" id="{59CBCBFA-F1A8-4E05-99F3-87726D3C9660}"/>
                  </a:ext>
                </a:extLst>
              </p:cNvPr>
              <p:cNvSpPr/>
              <p:nvPr/>
            </p:nvSpPr>
            <p:spPr>
              <a:xfrm flipH="1">
                <a:off x="5427546" y="3354198"/>
                <a:ext cx="1331932" cy="1331932"/>
              </a:xfrm>
              <a:prstGeom prst="blockArc">
                <a:avLst>
                  <a:gd name="adj1" fmla="val 18257164"/>
                  <a:gd name="adj2" fmla="val 3319074"/>
                  <a:gd name="adj3" fmla="val 5612"/>
                </a:avLst>
              </a:prstGeom>
              <a:solidFill>
                <a:schemeClr val="accent5">
                  <a:alpha val="20000"/>
                </a:schemeClr>
              </a:soli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1" name="弧形 170">
                <a:extLst>
                  <a:ext uri="{FF2B5EF4-FFF2-40B4-BE49-F238E27FC236}">
                    <a16:creationId xmlns:a16="http://schemas.microsoft.com/office/drawing/2014/main" id="{CC78E02D-4DB0-4745-9CE7-D46FB88ACD9E}"/>
                  </a:ext>
                </a:extLst>
              </p:cNvPr>
              <p:cNvSpPr/>
              <p:nvPr/>
            </p:nvSpPr>
            <p:spPr>
              <a:xfrm>
                <a:off x="5464862" y="3391514"/>
                <a:ext cx="1257300" cy="1257300"/>
              </a:xfrm>
              <a:prstGeom prst="arc">
                <a:avLst>
                  <a:gd name="adj1" fmla="val 14255596"/>
                  <a:gd name="adj2" fmla="val 18088074"/>
                </a:avLst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2" name="弧形 171">
                <a:extLst>
                  <a:ext uri="{FF2B5EF4-FFF2-40B4-BE49-F238E27FC236}">
                    <a16:creationId xmlns:a16="http://schemas.microsoft.com/office/drawing/2014/main" id="{C446FCF4-E31A-4990-8513-A6E51AA34282}"/>
                  </a:ext>
                </a:extLst>
              </p:cNvPr>
              <p:cNvSpPr/>
              <p:nvPr/>
            </p:nvSpPr>
            <p:spPr>
              <a:xfrm flipV="1">
                <a:off x="5464862" y="3391514"/>
                <a:ext cx="1257300" cy="1257300"/>
              </a:xfrm>
              <a:prstGeom prst="arc">
                <a:avLst>
                  <a:gd name="adj1" fmla="val 14255596"/>
                  <a:gd name="adj2" fmla="val 18088074"/>
                </a:avLst>
              </a:prstGeom>
              <a:noFill/>
              <a:ln w="6350">
                <a:solidFill>
                  <a:schemeClr val="accent5">
                    <a:alpha val="30000"/>
                  </a:schemeClr>
                </a:solidFill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73" name="组合 172">
                <a:extLst>
                  <a:ext uri="{FF2B5EF4-FFF2-40B4-BE49-F238E27FC236}">
                    <a16:creationId xmlns:a16="http://schemas.microsoft.com/office/drawing/2014/main" id="{EFA276F8-3552-4662-893B-B755AC78C4BE}"/>
                  </a:ext>
                </a:extLst>
              </p:cNvPr>
              <p:cNvGrpSpPr/>
              <p:nvPr/>
            </p:nvGrpSpPr>
            <p:grpSpPr>
              <a:xfrm>
                <a:off x="5511904" y="3438556"/>
                <a:ext cx="1163216" cy="1163216"/>
                <a:chOff x="5632816" y="1484210"/>
                <a:chExt cx="1302000" cy="1302000"/>
              </a:xfrm>
            </p:grpSpPr>
            <p:sp>
              <p:nvSpPr>
                <p:cNvPr id="174" name="菱形 173">
                  <a:extLst>
                    <a:ext uri="{FF2B5EF4-FFF2-40B4-BE49-F238E27FC236}">
                      <a16:creationId xmlns:a16="http://schemas.microsoft.com/office/drawing/2014/main" id="{3EC323DB-BA4C-4D06-AC10-0CE9AF3DF6E0}"/>
                    </a:ext>
                  </a:extLst>
                </p:cNvPr>
                <p:cNvSpPr/>
                <p:nvPr/>
              </p:nvSpPr>
              <p:spPr>
                <a:xfrm>
                  <a:off x="6866080" y="1484210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75" name="菱形 174">
                  <a:extLst>
                    <a:ext uri="{FF2B5EF4-FFF2-40B4-BE49-F238E27FC236}">
                      <a16:creationId xmlns:a16="http://schemas.microsoft.com/office/drawing/2014/main" id="{EBD43430-4AD5-432A-8768-042AA3EBB054}"/>
                    </a:ext>
                  </a:extLst>
                </p:cNvPr>
                <p:cNvSpPr/>
                <p:nvPr/>
              </p:nvSpPr>
              <p:spPr>
                <a:xfrm>
                  <a:off x="5632816" y="1484210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76" name="菱形 175">
                  <a:extLst>
                    <a:ext uri="{FF2B5EF4-FFF2-40B4-BE49-F238E27FC236}">
                      <a16:creationId xmlns:a16="http://schemas.microsoft.com/office/drawing/2014/main" id="{4924FA32-2DF0-4AE5-B203-EE168AFA102D}"/>
                    </a:ext>
                  </a:extLst>
                </p:cNvPr>
                <p:cNvSpPr/>
                <p:nvPr/>
              </p:nvSpPr>
              <p:spPr>
                <a:xfrm>
                  <a:off x="6866080" y="2717474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77" name="菱形 176">
                  <a:extLst>
                    <a:ext uri="{FF2B5EF4-FFF2-40B4-BE49-F238E27FC236}">
                      <a16:creationId xmlns:a16="http://schemas.microsoft.com/office/drawing/2014/main" id="{DCAAC0B1-D395-435A-8EB3-9CDDCCE5A0CA}"/>
                    </a:ext>
                  </a:extLst>
                </p:cNvPr>
                <p:cNvSpPr/>
                <p:nvPr/>
              </p:nvSpPr>
              <p:spPr>
                <a:xfrm>
                  <a:off x="5632816" y="2717474"/>
                  <a:ext cx="68736" cy="68736"/>
                </a:xfrm>
                <a:prstGeom prst="diamond">
                  <a:avLst/>
                </a:prstGeom>
                <a:solidFill>
                  <a:schemeClr val="accent5">
                    <a:alpha val="20000"/>
                  </a:schemeClr>
                </a:solidFill>
                <a:ln>
                  <a:noFill/>
                </a:ln>
                <a:effectLst>
                  <a:outerShdw blurRad="254000" algn="ctr" rotWithShape="0">
                    <a:schemeClr val="accent1">
                      <a:alpha val="66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cxnSp>
          <p:nvCxnSpPr>
            <p:cNvPr id="165" name="直接连接符 164">
              <a:extLst>
                <a:ext uri="{FF2B5EF4-FFF2-40B4-BE49-F238E27FC236}">
                  <a16:creationId xmlns:a16="http://schemas.microsoft.com/office/drawing/2014/main" id="{AFDEC06B-EA81-4825-A6E2-459D7B7F57B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317829" y="4898610"/>
              <a:ext cx="1188000" cy="0"/>
            </a:xfrm>
            <a:prstGeom prst="line">
              <a:avLst/>
            </a:prstGeom>
            <a:noFill/>
            <a:ln w="6350">
              <a:solidFill>
                <a:schemeClr val="accent5">
                  <a:alpha val="30000"/>
                </a:schemeClr>
              </a:solidFill>
            </a:ln>
            <a:effectLst>
              <a:outerShdw blurRad="254000" algn="ctr" rotWithShape="0">
                <a:schemeClr val="accent1"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直接连接符 165">
              <a:extLst>
                <a:ext uri="{FF2B5EF4-FFF2-40B4-BE49-F238E27FC236}">
                  <a16:creationId xmlns:a16="http://schemas.microsoft.com/office/drawing/2014/main" id="{E4AAF8D8-4212-4E09-8855-75FC11437EDA}"/>
                </a:ext>
              </a:extLst>
            </p:cNvPr>
            <p:cNvCxnSpPr>
              <a:cxnSpLocks/>
            </p:cNvCxnSpPr>
            <p:nvPr/>
          </p:nvCxnSpPr>
          <p:spPr>
            <a:xfrm>
              <a:off x="8317829" y="4898610"/>
              <a:ext cx="1188000" cy="0"/>
            </a:xfrm>
            <a:prstGeom prst="line">
              <a:avLst/>
            </a:prstGeom>
            <a:noFill/>
            <a:ln w="6350">
              <a:solidFill>
                <a:schemeClr val="accent5">
                  <a:alpha val="30000"/>
                </a:schemeClr>
              </a:solidFill>
            </a:ln>
            <a:effectLst>
              <a:outerShdw blurRad="254000" algn="ctr" rotWithShape="0">
                <a:schemeClr val="accent1"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91" name="组合 190">
            <a:extLst>
              <a:ext uri="{FF2B5EF4-FFF2-40B4-BE49-F238E27FC236}">
                <a16:creationId xmlns:a16="http://schemas.microsoft.com/office/drawing/2014/main" id="{65BE22A2-CBF8-4FF1-A6B0-D75C5B1D14F6}"/>
              </a:ext>
            </a:extLst>
          </p:cNvPr>
          <p:cNvGrpSpPr/>
          <p:nvPr/>
        </p:nvGrpSpPr>
        <p:grpSpPr>
          <a:xfrm rot="-60000">
            <a:off x="4889831" y="2283620"/>
            <a:ext cx="2212643" cy="242888"/>
            <a:chOff x="4889831" y="2419350"/>
            <a:chExt cx="2212643" cy="242888"/>
          </a:xfrm>
        </p:grpSpPr>
        <p:sp>
          <p:nvSpPr>
            <p:cNvPr id="186" name="矩形 185">
              <a:extLst>
                <a:ext uri="{FF2B5EF4-FFF2-40B4-BE49-F238E27FC236}">
                  <a16:creationId xmlns:a16="http://schemas.microsoft.com/office/drawing/2014/main" id="{5A93BDAF-5007-4933-AF12-12CAC948E63D}"/>
                </a:ext>
              </a:extLst>
            </p:cNvPr>
            <p:cNvSpPr/>
            <p:nvPr/>
          </p:nvSpPr>
          <p:spPr>
            <a:xfrm>
              <a:off x="4889831" y="2419350"/>
              <a:ext cx="2212643" cy="242888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7" name="半闭框 186">
              <a:extLst>
                <a:ext uri="{FF2B5EF4-FFF2-40B4-BE49-F238E27FC236}">
                  <a16:creationId xmlns:a16="http://schemas.microsoft.com/office/drawing/2014/main" id="{D71D1459-805C-40AC-9AD6-70794F47CD04}"/>
                </a:ext>
              </a:extLst>
            </p:cNvPr>
            <p:cNvSpPr/>
            <p:nvPr/>
          </p:nvSpPr>
          <p:spPr>
            <a:xfrm>
              <a:off x="4889832" y="2419350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88" name="半闭框 187">
              <a:extLst>
                <a:ext uri="{FF2B5EF4-FFF2-40B4-BE49-F238E27FC236}">
                  <a16:creationId xmlns:a16="http://schemas.microsoft.com/office/drawing/2014/main" id="{6F3F2D60-3E79-4BA8-939D-4E6035FF9F8C}"/>
                </a:ext>
              </a:extLst>
            </p:cNvPr>
            <p:cNvSpPr/>
            <p:nvPr/>
          </p:nvSpPr>
          <p:spPr>
            <a:xfrm flipH="1">
              <a:off x="7030872" y="2419350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89" name="半闭框 188">
              <a:extLst>
                <a:ext uri="{FF2B5EF4-FFF2-40B4-BE49-F238E27FC236}">
                  <a16:creationId xmlns:a16="http://schemas.microsoft.com/office/drawing/2014/main" id="{BE3B17DF-C0EF-4105-B5C6-12121A7EE7CC}"/>
                </a:ext>
              </a:extLst>
            </p:cNvPr>
            <p:cNvSpPr/>
            <p:nvPr/>
          </p:nvSpPr>
          <p:spPr>
            <a:xfrm flipV="1">
              <a:off x="4889832" y="2590636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90" name="半闭框 189">
              <a:extLst>
                <a:ext uri="{FF2B5EF4-FFF2-40B4-BE49-F238E27FC236}">
                  <a16:creationId xmlns:a16="http://schemas.microsoft.com/office/drawing/2014/main" id="{AD43C6F8-608A-4C93-80DE-4F28D0195D7F}"/>
                </a:ext>
              </a:extLst>
            </p:cNvPr>
            <p:cNvSpPr/>
            <p:nvPr/>
          </p:nvSpPr>
          <p:spPr>
            <a:xfrm flipH="1" flipV="1">
              <a:off x="7030872" y="2590636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AF74E101-4297-4591-9EE7-1DEA1CE1AF8E}"/>
              </a:ext>
            </a:extLst>
          </p:cNvPr>
          <p:cNvGrpSpPr/>
          <p:nvPr/>
        </p:nvGrpSpPr>
        <p:grpSpPr>
          <a:xfrm>
            <a:off x="8673955" y="1898232"/>
            <a:ext cx="1513508" cy="1166050"/>
            <a:chOff x="8731105" y="1898232"/>
            <a:chExt cx="1513508" cy="1166050"/>
          </a:xfrm>
        </p:grpSpPr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8E51BDB2-3BC4-4785-9D7A-456AAB1DAE9B}"/>
                </a:ext>
              </a:extLst>
            </p:cNvPr>
            <p:cNvSpPr/>
            <p:nvPr/>
          </p:nvSpPr>
          <p:spPr>
            <a:xfrm rot="19067434">
              <a:off x="8731105" y="2360391"/>
              <a:ext cx="1513508" cy="242888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4" name="半闭框 193">
              <a:extLst>
                <a:ext uri="{FF2B5EF4-FFF2-40B4-BE49-F238E27FC236}">
                  <a16:creationId xmlns:a16="http://schemas.microsoft.com/office/drawing/2014/main" id="{6E028975-EC65-465C-9BDE-6EAA5EDF271B}"/>
                </a:ext>
              </a:extLst>
            </p:cNvPr>
            <p:cNvSpPr/>
            <p:nvPr/>
          </p:nvSpPr>
          <p:spPr>
            <a:xfrm rot="19067434">
              <a:off x="8860797" y="2865809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95" name="半闭框 194">
              <a:extLst>
                <a:ext uri="{FF2B5EF4-FFF2-40B4-BE49-F238E27FC236}">
                  <a16:creationId xmlns:a16="http://schemas.microsoft.com/office/drawing/2014/main" id="{05AD6BDC-29DE-4EC5-A270-3115DC057DD7}"/>
                </a:ext>
              </a:extLst>
            </p:cNvPr>
            <p:cNvSpPr/>
            <p:nvPr/>
          </p:nvSpPr>
          <p:spPr>
            <a:xfrm rot="19067434" flipH="1">
              <a:off x="9928525" y="1898232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96" name="半闭框 195">
              <a:extLst>
                <a:ext uri="{FF2B5EF4-FFF2-40B4-BE49-F238E27FC236}">
                  <a16:creationId xmlns:a16="http://schemas.microsoft.com/office/drawing/2014/main" id="{118ED265-1F6A-4F00-92A0-50F1904E77E3}"/>
                </a:ext>
              </a:extLst>
            </p:cNvPr>
            <p:cNvSpPr/>
            <p:nvPr/>
          </p:nvSpPr>
          <p:spPr>
            <a:xfrm rot="19067434" flipV="1">
              <a:off x="8975874" y="2992680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97" name="半闭框 196">
              <a:extLst>
                <a:ext uri="{FF2B5EF4-FFF2-40B4-BE49-F238E27FC236}">
                  <a16:creationId xmlns:a16="http://schemas.microsoft.com/office/drawing/2014/main" id="{E35FE48D-3A2A-4928-9797-99935B59B7AE}"/>
                </a:ext>
              </a:extLst>
            </p:cNvPr>
            <p:cNvSpPr/>
            <p:nvPr/>
          </p:nvSpPr>
          <p:spPr>
            <a:xfrm rot="19067434" flipH="1" flipV="1">
              <a:off x="10043602" y="2025102"/>
              <a:ext cx="71602" cy="71602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1" name="组合 200">
            <a:extLst>
              <a:ext uri="{FF2B5EF4-FFF2-40B4-BE49-F238E27FC236}">
                <a16:creationId xmlns:a16="http://schemas.microsoft.com/office/drawing/2014/main" id="{7CC4240D-8CD6-473A-B18F-8CDB8913BBD2}"/>
              </a:ext>
            </a:extLst>
          </p:cNvPr>
          <p:cNvGrpSpPr/>
          <p:nvPr/>
        </p:nvGrpSpPr>
        <p:grpSpPr>
          <a:xfrm rot="18900000">
            <a:off x="5800624" y="3988520"/>
            <a:ext cx="648185" cy="940918"/>
            <a:chOff x="914047" y="4153664"/>
            <a:chExt cx="1524353" cy="1550650"/>
          </a:xfrm>
        </p:grpSpPr>
        <p:grpSp>
          <p:nvGrpSpPr>
            <p:cNvPr id="202" name="组合 201">
              <a:extLst>
                <a:ext uri="{FF2B5EF4-FFF2-40B4-BE49-F238E27FC236}">
                  <a16:creationId xmlns:a16="http://schemas.microsoft.com/office/drawing/2014/main" id="{CA4EAB1B-FBF7-4172-8BCA-70A1AF70B13F}"/>
                </a:ext>
              </a:extLst>
            </p:cNvPr>
            <p:cNvGrpSpPr/>
            <p:nvPr/>
          </p:nvGrpSpPr>
          <p:grpSpPr>
            <a:xfrm>
              <a:off x="1112508" y="4153664"/>
              <a:ext cx="1325892" cy="1550650"/>
              <a:chOff x="979158" y="4144139"/>
              <a:chExt cx="1550606" cy="1550650"/>
            </a:xfrm>
          </p:grpSpPr>
          <p:sp>
            <p:nvSpPr>
              <p:cNvPr id="206" name="椭圆 205">
                <a:extLst>
                  <a:ext uri="{FF2B5EF4-FFF2-40B4-BE49-F238E27FC236}">
                    <a16:creationId xmlns:a16="http://schemas.microsoft.com/office/drawing/2014/main" id="{7E1530C6-6B7E-4DC3-92F6-247DD07D1BC7}"/>
                  </a:ext>
                </a:extLst>
              </p:cNvPr>
              <p:cNvSpPr/>
              <p:nvPr/>
            </p:nvSpPr>
            <p:spPr>
              <a:xfrm>
                <a:off x="1103520" y="4268523"/>
                <a:ext cx="1301883" cy="1301883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8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B49ECE75-BCE1-47DD-94FE-7E18E8838C40}"/>
                  </a:ext>
                </a:extLst>
              </p:cNvPr>
              <p:cNvSpPr/>
              <p:nvPr/>
            </p:nvSpPr>
            <p:spPr>
              <a:xfrm>
                <a:off x="979158" y="4144139"/>
                <a:ext cx="1550606" cy="1550650"/>
              </a:xfrm>
              <a:custGeom>
                <a:avLst/>
                <a:gdLst>
                  <a:gd name="connsiteX0" fmla="*/ 54504 w 1550606"/>
                  <a:gd name="connsiteY0" fmla="*/ 830861 h 1550650"/>
                  <a:gd name="connsiteX1" fmla="*/ 0 w 1550606"/>
                  <a:gd name="connsiteY1" fmla="*/ 835060 h 1550650"/>
                  <a:gd name="connsiteX2" fmla="*/ 715856 w 1550606"/>
                  <a:gd name="connsiteY2" fmla="*/ 1550650 h 1550650"/>
                  <a:gd name="connsiteX3" fmla="*/ 720036 w 1550606"/>
                  <a:gd name="connsiteY3" fmla="*/ 1496145 h 1550650"/>
                  <a:gd name="connsiteX4" fmla="*/ 54504 w 1550606"/>
                  <a:gd name="connsiteY4" fmla="*/ 830861 h 1550650"/>
                  <a:gd name="connsiteX5" fmla="*/ 1496102 w 1550606"/>
                  <a:gd name="connsiteY5" fmla="*/ 830861 h 1550650"/>
                  <a:gd name="connsiteX6" fmla="*/ 830570 w 1550606"/>
                  <a:gd name="connsiteY6" fmla="*/ 1496145 h 1550650"/>
                  <a:gd name="connsiteX7" fmla="*/ 834750 w 1550606"/>
                  <a:gd name="connsiteY7" fmla="*/ 1550650 h 1550650"/>
                  <a:gd name="connsiteX8" fmla="*/ 1550606 w 1550606"/>
                  <a:gd name="connsiteY8" fmla="*/ 835060 h 1550650"/>
                  <a:gd name="connsiteX9" fmla="*/ 715856 w 1550606"/>
                  <a:gd name="connsiteY9" fmla="*/ 0 h 1550650"/>
                  <a:gd name="connsiteX10" fmla="*/ 0 w 1550606"/>
                  <a:gd name="connsiteY10" fmla="*/ 715590 h 1550650"/>
                  <a:gd name="connsiteX11" fmla="*/ 54504 w 1550606"/>
                  <a:gd name="connsiteY11" fmla="*/ 719789 h 1550650"/>
                  <a:gd name="connsiteX12" fmla="*/ 720036 w 1550606"/>
                  <a:gd name="connsiteY12" fmla="*/ 54505 h 1550650"/>
                  <a:gd name="connsiteX13" fmla="*/ 834750 w 1550606"/>
                  <a:gd name="connsiteY13" fmla="*/ 0 h 1550650"/>
                  <a:gd name="connsiteX14" fmla="*/ 830570 w 1550606"/>
                  <a:gd name="connsiteY14" fmla="*/ 54505 h 1550650"/>
                  <a:gd name="connsiteX15" fmla="*/ 1496102 w 1550606"/>
                  <a:gd name="connsiteY15" fmla="*/ 719789 h 1550650"/>
                  <a:gd name="connsiteX16" fmla="*/ 1550606 w 1550606"/>
                  <a:gd name="connsiteY16" fmla="*/ 715590 h 1550650"/>
                  <a:gd name="connsiteX17" fmla="*/ 834750 w 1550606"/>
                  <a:gd name="connsiteY17" fmla="*/ 0 h 155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50606" h="1550650">
                    <a:moveTo>
                      <a:pt x="54504" y="830861"/>
                    </a:moveTo>
                    <a:lnTo>
                      <a:pt x="0" y="835060"/>
                    </a:lnTo>
                    <a:cubicBezTo>
                      <a:pt x="29466" y="1217501"/>
                      <a:pt x="333404" y="1521326"/>
                      <a:pt x="715856" y="1550650"/>
                    </a:cubicBezTo>
                    <a:lnTo>
                      <a:pt x="720036" y="1496145"/>
                    </a:lnTo>
                    <a:cubicBezTo>
                      <a:pt x="364470" y="1468883"/>
                      <a:pt x="81899" y="1186416"/>
                      <a:pt x="54504" y="830861"/>
                    </a:cubicBezTo>
                    <a:close/>
                    <a:moveTo>
                      <a:pt x="1496102" y="830861"/>
                    </a:moveTo>
                    <a:cubicBezTo>
                      <a:pt x="1468707" y="1186416"/>
                      <a:pt x="1186136" y="1468883"/>
                      <a:pt x="830570" y="1496145"/>
                    </a:cubicBezTo>
                    <a:lnTo>
                      <a:pt x="834750" y="1550650"/>
                    </a:lnTo>
                    <a:cubicBezTo>
                      <a:pt x="1217202" y="1521326"/>
                      <a:pt x="1521140" y="1217501"/>
                      <a:pt x="1550606" y="835060"/>
                    </a:cubicBezTo>
                    <a:close/>
                    <a:moveTo>
                      <a:pt x="715856" y="0"/>
                    </a:moveTo>
                    <a:cubicBezTo>
                      <a:pt x="333404" y="29324"/>
                      <a:pt x="29466" y="333149"/>
                      <a:pt x="0" y="715590"/>
                    </a:cubicBezTo>
                    <a:lnTo>
                      <a:pt x="54504" y="719789"/>
                    </a:lnTo>
                    <a:cubicBezTo>
                      <a:pt x="81899" y="364234"/>
                      <a:pt x="364470" y="81767"/>
                      <a:pt x="720036" y="54505"/>
                    </a:cubicBezTo>
                    <a:close/>
                    <a:moveTo>
                      <a:pt x="834750" y="0"/>
                    </a:moveTo>
                    <a:lnTo>
                      <a:pt x="830570" y="54505"/>
                    </a:lnTo>
                    <a:cubicBezTo>
                      <a:pt x="1186136" y="81767"/>
                      <a:pt x="1468707" y="364234"/>
                      <a:pt x="1496102" y="719789"/>
                    </a:cubicBezTo>
                    <a:lnTo>
                      <a:pt x="1550606" y="715590"/>
                    </a:lnTo>
                    <a:cubicBezTo>
                      <a:pt x="1521140" y="333149"/>
                      <a:pt x="1217202" y="29324"/>
                      <a:pt x="83475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92B54B9B-94D8-4C0E-9BC8-02F85D4DC3CA}"/>
                  </a:ext>
                </a:extLst>
              </p:cNvPr>
              <p:cNvSpPr/>
              <p:nvPr/>
            </p:nvSpPr>
            <p:spPr>
              <a:xfrm rot="18900000" flipV="1">
                <a:off x="1182666" y="4347669"/>
                <a:ext cx="1143593" cy="1143593"/>
              </a:xfrm>
              <a:custGeom>
                <a:avLst/>
                <a:gdLst>
                  <a:gd name="connsiteX0" fmla="*/ 199706 w 1143593"/>
                  <a:gd name="connsiteY0" fmla="*/ 571796 h 1143593"/>
                  <a:gd name="connsiteX1" fmla="*/ 189720 w 1143593"/>
                  <a:gd name="connsiteY1" fmla="*/ 581782 h 1143593"/>
                  <a:gd name="connsiteX2" fmla="*/ 9986 w 1143593"/>
                  <a:gd name="connsiteY2" fmla="*/ 581782 h 1143593"/>
                  <a:gd name="connsiteX3" fmla="*/ 0 w 1143593"/>
                  <a:gd name="connsiteY3" fmla="*/ 571796 h 1143593"/>
                  <a:gd name="connsiteX4" fmla="*/ 9986 w 1143593"/>
                  <a:gd name="connsiteY4" fmla="*/ 561810 h 1143593"/>
                  <a:gd name="connsiteX5" fmla="*/ 189721 w 1143593"/>
                  <a:gd name="connsiteY5" fmla="*/ 561811 h 1143593"/>
                  <a:gd name="connsiteX6" fmla="*/ 581782 w 1143593"/>
                  <a:gd name="connsiteY6" fmla="*/ 189721 h 1143593"/>
                  <a:gd name="connsiteX7" fmla="*/ 571797 w 1143593"/>
                  <a:gd name="connsiteY7" fmla="*/ 199706 h 1143593"/>
                  <a:gd name="connsiteX8" fmla="*/ 561811 w 1143593"/>
                  <a:gd name="connsiteY8" fmla="*/ 189720 h 1143593"/>
                  <a:gd name="connsiteX9" fmla="*/ 561811 w 1143593"/>
                  <a:gd name="connsiteY9" fmla="*/ 9986 h 1143593"/>
                  <a:gd name="connsiteX10" fmla="*/ 571797 w 1143593"/>
                  <a:gd name="connsiteY10" fmla="*/ 0 h 1143593"/>
                  <a:gd name="connsiteX11" fmla="*/ 581783 w 1143593"/>
                  <a:gd name="connsiteY11" fmla="*/ 9986 h 1143593"/>
                  <a:gd name="connsiteX12" fmla="*/ 581782 w 1143593"/>
                  <a:gd name="connsiteY12" fmla="*/ 189721 h 1143593"/>
                  <a:gd name="connsiteX13" fmla="*/ 1143593 w 1143593"/>
                  <a:gd name="connsiteY13" fmla="*/ 571796 h 1143593"/>
                  <a:gd name="connsiteX14" fmla="*/ 1133607 w 1143593"/>
                  <a:gd name="connsiteY14" fmla="*/ 581782 h 1143593"/>
                  <a:gd name="connsiteX15" fmla="*/ 953873 w 1143593"/>
                  <a:gd name="connsiteY15" fmla="*/ 581782 h 1143593"/>
                  <a:gd name="connsiteX16" fmla="*/ 943887 w 1143593"/>
                  <a:gd name="connsiteY16" fmla="*/ 571796 h 1143593"/>
                  <a:gd name="connsiteX17" fmla="*/ 953873 w 1143593"/>
                  <a:gd name="connsiteY17" fmla="*/ 561810 h 1143593"/>
                  <a:gd name="connsiteX18" fmla="*/ 1133608 w 1143593"/>
                  <a:gd name="connsiteY18" fmla="*/ 561811 h 1143593"/>
                  <a:gd name="connsiteX19" fmla="*/ 581782 w 1143593"/>
                  <a:gd name="connsiteY19" fmla="*/ 1133608 h 1143593"/>
                  <a:gd name="connsiteX20" fmla="*/ 571797 w 1143593"/>
                  <a:gd name="connsiteY20" fmla="*/ 1143593 h 1143593"/>
                  <a:gd name="connsiteX21" fmla="*/ 561811 w 1143593"/>
                  <a:gd name="connsiteY21" fmla="*/ 1133607 h 1143593"/>
                  <a:gd name="connsiteX22" fmla="*/ 561811 w 1143593"/>
                  <a:gd name="connsiteY22" fmla="*/ 953873 h 1143593"/>
                  <a:gd name="connsiteX23" fmla="*/ 571797 w 1143593"/>
                  <a:gd name="connsiteY23" fmla="*/ 943887 h 1143593"/>
                  <a:gd name="connsiteX24" fmla="*/ 581783 w 1143593"/>
                  <a:gd name="connsiteY24" fmla="*/ 953873 h 1143593"/>
                  <a:gd name="connsiteX25" fmla="*/ 581782 w 1143593"/>
                  <a:gd name="connsiteY25" fmla="*/ 1133608 h 1143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3593" h="1143593">
                    <a:moveTo>
                      <a:pt x="199706" y="571796"/>
                    </a:moveTo>
                    <a:cubicBezTo>
                      <a:pt x="199706" y="577311"/>
                      <a:pt x="195235" y="581782"/>
                      <a:pt x="189720" y="581782"/>
                    </a:cubicBezTo>
                    <a:lnTo>
                      <a:pt x="9986" y="581782"/>
                    </a:lnTo>
                    <a:cubicBezTo>
                      <a:pt x="4471" y="581782"/>
                      <a:pt x="0" y="577311"/>
                      <a:pt x="0" y="571796"/>
                    </a:cubicBezTo>
                    <a:cubicBezTo>
                      <a:pt x="0" y="566281"/>
                      <a:pt x="4471" y="561810"/>
                      <a:pt x="9986" y="561810"/>
                    </a:cubicBezTo>
                    <a:cubicBezTo>
                      <a:pt x="69898" y="561810"/>
                      <a:pt x="129809" y="561811"/>
                      <a:pt x="189721" y="561811"/>
                    </a:cubicBezTo>
                    <a:close/>
                    <a:moveTo>
                      <a:pt x="581782" y="189721"/>
                    </a:moveTo>
                    <a:lnTo>
                      <a:pt x="571797" y="199706"/>
                    </a:lnTo>
                    <a:cubicBezTo>
                      <a:pt x="566282" y="199706"/>
                      <a:pt x="561811" y="195235"/>
                      <a:pt x="561811" y="189720"/>
                    </a:cubicBezTo>
                    <a:lnTo>
                      <a:pt x="561811" y="9986"/>
                    </a:lnTo>
                    <a:cubicBezTo>
                      <a:pt x="561811" y="4471"/>
                      <a:pt x="566282" y="0"/>
                      <a:pt x="571797" y="0"/>
                    </a:cubicBezTo>
                    <a:cubicBezTo>
                      <a:pt x="577312" y="0"/>
                      <a:pt x="581783" y="4471"/>
                      <a:pt x="581783" y="9986"/>
                    </a:cubicBezTo>
                    <a:cubicBezTo>
                      <a:pt x="581783" y="69898"/>
                      <a:pt x="581782" y="129809"/>
                      <a:pt x="581782" y="189721"/>
                    </a:cubicBezTo>
                    <a:close/>
                    <a:moveTo>
                      <a:pt x="1143593" y="571796"/>
                    </a:moveTo>
                    <a:cubicBezTo>
                      <a:pt x="1143593" y="577311"/>
                      <a:pt x="1139122" y="581782"/>
                      <a:pt x="1133607" y="581782"/>
                    </a:cubicBezTo>
                    <a:lnTo>
                      <a:pt x="953873" y="581782"/>
                    </a:lnTo>
                    <a:cubicBezTo>
                      <a:pt x="948358" y="581782"/>
                      <a:pt x="943887" y="577311"/>
                      <a:pt x="943887" y="571796"/>
                    </a:cubicBezTo>
                    <a:cubicBezTo>
                      <a:pt x="943887" y="566281"/>
                      <a:pt x="948358" y="561810"/>
                      <a:pt x="953873" y="561810"/>
                    </a:cubicBezTo>
                    <a:cubicBezTo>
                      <a:pt x="1013785" y="561810"/>
                      <a:pt x="1073696" y="561811"/>
                      <a:pt x="1133608" y="561811"/>
                    </a:cubicBezTo>
                    <a:close/>
                    <a:moveTo>
                      <a:pt x="581782" y="1133608"/>
                    </a:moveTo>
                    <a:lnTo>
                      <a:pt x="571797" y="1143593"/>
                    </a:lnTo>
                    <a:cubicBezTo>
                      <a:pt x="566282" y="1143593"/>
                      <a:pt x="561811" y="1139122"/>
                      <a:pt x="561811" y="1133607"/>
                    </a:cubicBezTo>
                    <a:lnTo>
                      <a:pt x="561811" y="953873"/>
                    </a:lnTo>
                    <a:cubicBezTo>
                      <a:pt x="561811" y="948358"/>
                      <a:pt x="566282" y="943887"/>
                      <a:pt x="571797" y="943887"/>
                    </a:cubicBezTo>
                    <a:cubicBezTo>
                      <a:pt x="577312" y="943887"/>
                      <a:pt x="581783" y="948358"/>
                      <a:pt x="581783" y="953873"/>
                    </a:cubicBezTo>
                    <a:cubicBezTo>
                      <a:pt x="581783" y="1013785"/>
                      <a:pt x="581782" y="1073696"/>
                      <a:pt x="581782" y="11336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alpha val="40000"/>
                    </a:schemeClr>
                  </a:gs>
                  <a:gs pos="97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>
                <a:outerShdw blurRad="254000" algn="ctr" rotWithShape="0">
                  <a:schemeClr val="accent1">
                    <a:alpha val="6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09" name="椭圆 208">
                <a:extLst>
                  <a:ext uri="{FF2B5EF4-FFF2-40B4-BE49-F238E27FC236}">
                    <a16:creationId xmlns:a16="http://schemas.microsoft.com/office/drawing/2014/main" id="{61E3E18A-1F7A-4769-833B-B5F51466FF11}"/>
                  </a:ext>
                </a:extLst>
              </p:cNvPr>
              <p:cNvSpPr/>
              <p:nvPr/>
            </p:nvSpPr>
            <p:spPr>
              <a:xfrm>
                <a:off x="1455588" y="4620591"/>
                <a:ext cx="597748" cy="597748"/>
              </a:xfrm>
              <a:prstGeom prst="ellipse">
                <a:avLst/>
              </a:prstGeom>
              <a:noFill/>
              <a:ln w="6350" cmpd="sng">
                <a:gradFill flip="none" rotWithShape="1">
                  <a:gsLst>
                    <a:gs pos="0">
                      <a:schemeClr val="accent5">
                        <a:alpha val="50000"/>
                      </a:schemeClr>
                    </a:gs>
                    <a:gs pos="100000">
                      <a:schemeClr val="accent5">
                        <a:alpha val="4000"/>
                      </a:schemeClr>
                    </a:gs>
                  </a:gsLst>
                  <a:lin ang="0" scaled="1"/>
                  <a:tileRect/>
                </a:gradFill>
                <a:prstDash val="dash"/>
              </a:ln>
              <a:effectLst>
                <a:outerShdw blurRad="254000" algn="ctr" rotWithShape="0">
                  <a:schemeClr val="accent1">
                    <a:alpha val="6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03" name="椭圆 202">
              <a:extLst>
                <a:ext uri="{FF2B5EF4-FFF2-40B4-BE49-F238E27FC236}">
                  <a16:creationId xmlns:a16="http://schemas.microsoft.com/office/drawing/2014/main" id="{4134235D-922C-40BA-A2A4-A0D4D121D7BC}"/>
                </a:ext>
              </a:extLst>
            </p:cNvPr>
            <p:cNvSpPr/>
            <p:nvPr/>
          </p:nvSpPr>
          <p:spPr>
            <a:xfrm>
              <a:off x="914047" y="4278048"/>
              <a:ext cx="1113214" cy="1301883"/>
            </a:xfrm>
            <a:prstGeom prst="ellipse">
              <a:avLst/>
            </a:prstGeom>
            <a:noFill/>
            <a:ln w="635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82000">
                    <a:schemeClr val="accent5">
                      <a:alpha val="4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4" name="椭圆 203">
              <a:extLst>
                <a:ext uri="{FF2B5EF4-FFF2-40B4-BE49-F238E27FC236}">
                  <a16:creationId xmlns:a16="http://schemas.microsoft.com/office/drawing/2014/main" id="{A77EE03B-086D-4944-A95E-FADA96233DC3}"/>
                </a:ext>
              </a:extLst>
            </p:cNvPr>
            <p:cNvSpPr/>
            <p:nvPr/>
          </p:nvSpPr>
          <p:spPr>
            <a:xfrm>
              <a:off x="1710747" y="4506432"/>
              <a:ext cx="722642" cy="845116"/>
            </a:xfrm>
            <a:prstGeom prst="ellipse">
              <a:avLst/>
            </a:prstGeom>
            <a:noFill/>
            <a:ln w="127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5" name="椭圆 204">
              <a:extLst>
                <a:ext uri="{FF2B5EF4-FFF2-40B4-BE49-F238E27FC236}">
                  <a16:creationId xmlns:a16="http://schemas.microsoft.com/office/drawing/2014/main" id="{A7158FD7-4C0F-48F5-94AB-0024ED8B0EF0}"/>
                </a:ext>
              </a:extLst>
            </p:cNvPr>
            <p:cNvSpPr/>
            <p:nvPr/>
          </p:nvSpPr>
          <p:spPr>
            <a:xfrm>
              <a:off x="2052519" y="4813300"/>
              <a:ext cx="197847" cy="231380"/>
            </a:xfrm>
            <a:prstGeom prst="ellipse">
              <a:avLst/>
            </a:prstGeom>
            <a:noFill/>
            <a:ln w="25400" cmpd="sng">
              <a:gradFill flip="none" rotWithShape="1">
                <a:gsLst>
                  <a:gs pos="0">
                    <a:schemeClr val="accent5">
                      <a:alpha val="50000"/>
                    </a:schemeClr>
                  </a:gs>
                  <a:gs pos="97000">
                    <a:schemeClr val="accent5">
                      <a:alpha val="25000"/>
                    </a:schemeClr>
                  </a:gs>
                </a:gsLst>
                <a:lin ang="0" scaled="1"/>
                <a:tileRect/>
              </a:gradFill>
              <a:prstDash val="solid"/>
            </a:ln>
            <a:effectLst>
              <a:outerShdw blurRad="254000" algn="ctr" rotWithShape="0">
                <a:schemeClr val="accent1">
                  <a:alpha val="6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10" name="组合 209">
            <a:extLst>
              <a:ext uri="{FF2B5EF4-FFF2-40B4-BE49-F238E27FC236}">
                <a16:creationId xmlns:a16="http://schemas.microsoft.com/office/drawing/2014/main" id="{F7A4F389-43CC-43F5-80C8-C10E2C4479B1}"/>
              </a:ext>
            </a:extLst>
          </p:cNvPr>
          <p:cNvGrpSpPr/>
          <p:nvPr/>
        </p:nvGrpSpPr>
        <p:grpSpPr>
          <a:xfrm>
            <a:off x="4962720" y="4499536"/>
            <a:ext cx="545351" cy="348274"/>
            <a:chOff x="160080" y="4153664"/>
            <a:chExt cx="545351" cy="348274"/>
          </a:xfrm>
        </p:grpSpPr>
        <p:sp>
          <p:nvSpPr>
            <p:cNvPr id="211" name="矩形 210">
              <a:extLst>
                <a:ext uri="{FF2B5EF4-FFF2-40B4-BE49-F238E27FC236}">
                  <a16:creationId xmlns:a16="http://schemas.microsoft.com/office/drawing/2014/main" id="{1CC36419-ABAD-49CB-A016-382CB3F8D612}"/>
                </a:ext>
              </a:extLst>
            </p:cNvPr>
            <p:cNvSpPr/>
            <p:nvPr/>
          </p:nvSpPr>
          <p:spPr>
            <a:xfrm>
              <a:off x="160080" y="4153664"/>
              <a:ext cx="545351" cy="348274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2" name="半闭框 211">
              <a:extLst>
                <a:ext uri="{FF2B5EF4-FFF2-40B4-BE49-F238E27FC236}">
                  <a16:creationId xmlns:a16="http://schemas.microsoft.com/office/drawing/2014/main" id="{61C9D5F2-EC28-4998-ACFD-0AD6E4B8F16A}"/>
                </a:ext>
              </a:extLst>
            </p:cNvPr>
            <p:cNvSpPr/>
            <p:nvPr/>
          </p:nvSpPr>
          <p:spPr>
            <a:xfrm>
              <a:off x="160080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13" name="半闭框 212">
              <a:extLst>
                <a:ext uri="{FF2B5EF4-FFF2-40B4-BE49-F238E27FC236}">
                  <a16:creationId xmlns:a16="http://schemas.microsoft.com/office/drawing/2014/main" id="{6EF13437-1081-437F-B984-FB68D1CD242E}"/>
                </a:ext>
              </a:extLst>
            </p:cNvPr>
            <p:cNvSpPr/>
            <p:nvPr/>
          </p:nvSpPr>
          <p:spPr>
            <a:xfrm flipH="1">
              <a:off x="664961" y="4153664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14" name="半闭框 213">
              <a:extLst>
                <a:ext uri="{FF2B5EF4-FFF2-40B4-BE49-F238E27FC236}">
                  <a16:creationId xmlns:a16="http://schemas.microsoft.com/office/drawing/2014/main" id="{21FFA249-F688-4E37-A741-EBDE63C12657}"/>
                </a:ext>
              </a:extLst>
            </p:cNvPr>
            <p:cNvSpPr/>
            <p:nvPr/>
          </p:nvSpPr>
          <p:spPr>
            <a:xfrm flipV="1">
              <a:off x="160080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15" name="半闭框 214">
              <a:extLst>
                <a:ext uri="{FF2B5EF4-FFF2-40B4-BE49-F238E27FC236}">
                  <a16:creationId xmlns:a16="http://schemas.microsoft.com/office/drawing/2014/main" id="{6254CA36-4840-428F-9A40-F8BBDDC76A68}"/>
                </a:ext>
              </a:extLst>
            </p:cNvPr>
            <p:cNvSpPr/>
            <p:nvPr/>
          </p:nvSpPr>
          <p:spPr>
            <a:xfrm flipH="1" flipV="1">
              <a:off x="664961" y="4461468"/>
              <a:ext cx="40470" cy="40470"/>
            </a:xfrm>
            <a:prstGeom prst="halfFrame">
              <a:avLst>
                <a:gd name="adj1" fmla="val 11904"/>
                <a:gd name="adj2" fmla="val 1324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18" name="任意多边形: 形状 217">
            <a:extLst>
              <a:ext uri="{FF2B5EF4-FFF2-40B4-BE49-F238E27FC236}">
                <a16:creationId xmlns:a16="http://schemas.microsoft.com/office/drawing/2014/main" id="{14AA64E2-8F9A-428A-91B1-E9A321F5AA03}"/>
              </a:ext>
            </a:extLst>
          </p:cNvPr>
          <p:cNvSpPr/>
          <p:nvPr/>
        </p:nvSpPr>
        <p:spPr>
          <a:xfrm>
            <a:off x="5524500" y="4560094"/>
            <a:ext cx="464344" cy="130969"/>
          </a:xfrm>
          <a:custGeom>
            <a:avLst/>
            <a:gdLst>
              <a:gd name="connsiteX0" fmla="*/ 0 w 464344"/>
              <a:gd name="connsiteY0" fmla="*/ 130969 h 130969"/>
              <a:gd name="connsiteX1" fmla="*/ 180975 w 464344"/>
              <a:gd name="connsiteY1" fmla="*/ 130969 h 130969"/>
              <a:gd name="connsiteX2" fmla="*/ 464344 w 464344"/>
              <a:gd name="connsiteY2" fmla="*/ 0 h 130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4344" h="130969">
                <a:moveTo>
                  <a:pt x="0" y="130969"/>
                </a:moveTo>
                <a:lnTo>
                  <a:pt x="180975" y="130969"/>
                </a:lnTo>
                <a:lnTo>
                  <a:pt x="464344" y="0"/>
                </a:lnTo>
              </a:path>
            </a:pathLst>
          </a:custGeom>
          <a:ln w="3175">
            <a:solidFill>
              <a:schemeClr val="accent5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5" name="文本框 224">
            <a:extLst>
              <a:ext uri="{FF2B5EF4-FFF2-40B4-BE49-F238E27FC236}">
                <a16:creationId xmlns:a16="http://schemas.microsoft.com/office/drawing/2014/main" id="{645FE4E1-EFF7-46F6-9078-C8561A5B7A7E}"/>
              </a:ext>
            </a:extLst>
          </p:cNvPr>
          <p:cNvSpPr txBox="1"/>
          <p:nvPr/>
        </p:nvSpPr>
        <p:spPr>
          <a:xfrm>
            <a:off x="4929867" y="4500324"/>
            <a:ext cx="611065" cy="311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500" dirty="0">
                <a:solidFill>
                  <a:schemeClr val="accent5">
                    <a:lumMod val="75000"/>
                    <a:alpha val="70000"/>
                  </a:schemeClr>
                </a:solidFill>
                <a:latin typeface="+mn-ea"/>
              </a:rPr>
              <a:t>产地：</a:t>
            </a:r>
            <a:r>
              <a:rPr lang="en-US" altLang="zh-CN" sz="500" dirty="0">
                <a:solidFill>
                  <a:schemeClr val="accent5">
                    <a:lumMod val="75000"/>
                    <a:alpha val="70000"/>
                  </a:schemeClr>
                </a:solidFill>
                <a:latin typeface="+mn-ea"/>
              </a:rPr>
              <a:t>XXX</a:t>
            </a:r>
            <a:br>
              <a:rPr lang="en-US" altLang="zh-CN" sz="500" dirty="0">
                <a:solidFill>
                  <a:schemeClr val="accent5">
                    <a:lumMod val="75000"/>
                    <a:alpha val="70000"/>
                  </a:schemeClr>
                </a:solidFill>
                <a:latin typeface="+mn-ea"/>
              </a:rPr>
            </a:br>
            <a:r>
              <a:rPr lang="zh-CN" altLang="en-US" sz="500" dirty="0">
                <a:solidFill>
                  <a:schemeClr val="accent5">
                    <a:lumMod val="75000"/>
                    <a:alpha val="70000"/>
                  </a:schemeClr>
                </a:solidFill>
                <a:latin typeface="+mn-ea"/>
              </a:rPr>
              <a:t>生产批号：</a:t>
            </a:r>
            <a:r>
              <a:rPr lang="en-US" altLang="zh-CN" sz="500" dirty="0">
                <a:solidFill>
                  <a:schemeClr val="accent5">
                    <a:lumMod val="75000"/>
                    <a:alpha val="70000"/>
                  </a:schemeClr>
                </a:solidFill>
                <a:latin typeface="+mn-ea"/>
              </a:rPr>
              <a:t>666</a:t>
            </a:r>
            <a:endParaRPr lang="zh-CN" altLang="en-US" sz="500" dirty="0">
              <a:solidFill>
                <a:schemeClr val="accent5">
                  <a:lumMod val="75000"/>
                  <a:alpha val="70000"/>
                </a:schemeClr>
              </a:solidFill>
              <a:latin typeface="+mn-ea"/>
            </a:endParaRPr>
          </a:p>
        </p:txBody>
      </p:sp>
      <p:sp>
        <p:nvSpPr>
          <p:cNvPr id="226" name="矩形: 圆顶角 225">
            <a:extLst>
              <a:ext uri="{FF2B5EF4-FFF2-40B4-BE49-F238E27FC236}">
                <a16:creationId xmlns:a16="http://schemas.microsoft.com/office/drawing/2014/main" id="{BE6574A5-5BC9-4471-BAAA-4D97CB5D59BC}"/>
              </a:ext>
            </a:extLst>
          </p:cNvPr>
          <p:cNvSpPr/>
          <p:nvPr/>
        </p:nvSpPr>
        <p:spPr>
          <a:xfrm>
            <a:off x="4435667" y="2895600"/>
            <a:ext cx="3320666" cy="718453"/>
          </a:xfrm>
          <a:prstGeom prst="round2SameRect">
            <a:avLst>
              <a:gd name="adj1" fmla="val 0"/>
              <a:gd name="adj2" fmla="val 12815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7000">
                <a:schemeClr val="bg1">
                  <a:alpha val="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89EC2B5-4C01-4896-B1A2-B07AC42C46DF}"/>
              </a:ext>
            </a:extLst>
          </p:cNvPr>
          <p:cNvSpPr txBox="1"/>
          <p:nvPr/>
        </p:nvSpPr>
        <p:spPr bwMode="gray">
          <a:xfrm>
            <a:off x="8052588" y="3218053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1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医药生产</a:t>
            </a:r>
            <a:r>
              <a:rPr lang="zh-CN" altLang="en-US"/>
              <a:t>日期检测</a:t>
            </a:r>
            <a:endParaRPr lang="en-US" altLang="zh-CN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32A6600-5B60-4532-96D4-E6E8DEF59C35}"/>
              </a:ext>
            </a:extLst>
          </p:cNvPr>
          <p:cNvSpPr txBox="1"/>
          <p:nvPr/>
        </p:nvSpPr>
        <p:spPr bwMode="gray">
          <a:xfrm>
            <a:off x="4435667" y="3218053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en-US" altLang="zh-CN" dirty="0"/>
              <a:t>3C </a:t>
            </a:r>
            <a:r>
              <a:rPr lang="zh-CN" altLang="en-US" dirty="0"/>
              <a:t>物料</a:t>
            </a:r>
            <a:r>
              <a:rPr lang="zh-CN" altLang="en-US"/>
              <a:t>追踪识别</a:t>
            </a:r>
            <a:endParaRPr lang="en-US" altLang="zh-CN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64A16317-09C0-4A19-9D5F-1BC89368F8CA}"/>
              </a:ext>
            </a:extLst>
          </p:cNvPr>
          <p:cNvSpPr txBox="1"/>
          <p:nvPr/>
        </p:nvSpPr>
        <p:spPr bwMode="gray">
          <a:xfrm>
            <a:off x="829335" y="5710996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仪表</a:t>
            </a:r>
            <a:r>
              <a:rPr lang="zh-CN" altLang="en-US"/>
              <a:t>自动转抄</a:t>
            </a:r>
            <a:endParaRPr lang="en-US" altLang="zh-CN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032A28A5-F68C-4AD2-A1A4-B8250857D593}"/>
              </a:ext>
            </a:extLst>
          </p:cNvPr>
          <p:cNvSpPr txBox="1"/>
          <p:nvPr/>
        </p:nvSpPr>
        <p:spPr bwMode="gray">
          <a:xfrm>
            <a:off x="8052588" y="5710996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汽车</a:t>
            </a:r>
            <a:r>
              <a:rPr lang="zh-CN" altLang="en-US"/>
              <a:t>配件检测</a:t>
            </a:r>
            <a:endParaRPr lang="en-US" altLang="zh-CN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760AAFFE-6DFC-4B99-B716-5FF164486012}"/>
              </a:ext>
            </a:extLst>
          </p:cNvPr>
          <p:cNvSpPr txBox="1"/>
          <p:nvPr/>
        </p:nvSpPr>
        <p:spPr bwMode="gray">
          <a:xfrm>
            <a:off x="4435667" y="5710996"/>
            <a:ext cx="3320666" cy="396000"/>
          </a:xfrm>
          <a:prstGeom prst="round2SameRect">
            <a:avLst>
              <a:gd name="adj1" fmla="val 0"/>
              <a:gd name="adj2" fmla="val 22449"/>
            </a:avLst>
          </a:prstGeom>
          <a:solidFill>
            <a:schemeClr val="accent1"/>
          </a:solidFill>
        </p:spPr>
        <p:txBody>
          <a:bodyPr vert="horz" wrap="none" lIns="0" tIns="0" rIns="0" bIns="0" rtlCol="0" anchor="ctr">
            <a:noAutofit/>
          </a:bodyPr>
          <a:lstStyle>
            <a:defPPr>
              <a:defRPr lang="zh-CN"/>
            </a:defPPr>
            <a:lvl1pPr marR="0" lvl="0" indent="0" algn="ctr" defTabSz="1088390"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defRPr>
            </a:lvl1pPr>
            <a:lvl2pPr marL="179705" indent="-179705" defTabSz="108839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 marL="358775" indent="-179705" defTabSz="108839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lvl3pPr>
            <a:lvl4pPr marL="539750" indent="-179705" defTabSz="1088390">
              <a:spcBef>
                <a:spcPts val="30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sz="1600"/>
            </a:lvl4pPr>
            <a:lvl5pPr marL="720090" indent="-179705" defTabSz="108839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/>
            </a:lvl5pPr>
            <a:lvl6pPr marL="299339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7585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178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610" indent="-272415" defTabSz="108839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zh-CN" altLang="en-US" dirty="0"/>
              <a:t>食品</a:t>
            </a:r>
            <a:r>
              <a:rPr lang="zh-CN" altLang="en-US"/>
              <a:t>批号检测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848850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EA37F3EE-1B0C-425C-A11C-BE8B72F34598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EFFC4775-FC2C-4C42-A1AD-57282E944F17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3C-艾视-</a:t>
            </a:r>
            <a:r>
              <a:rPr lang="zh-CN" altLang="zh-CN" sz="3000" b="1" dirty="0">
                <a:solidFill>
                  <a:schemeClr val="tx1"/>
                </a:solidFill>
              </a:rPr>
              <a:t>SIM卡槽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B9A5A8B8-F626-4850-AC81-5867AB4239D8}"/>
              </a:ext>
            </a:extLst>
          </p:cNvPr>
          <p:cNvSpPr txBox="1"/>
          <p:nvPr/>
        </p:nvSpPr>
        <p:spPr>
          <a:xfrm>
            <a:off x="2267214" y="1049704"/>
            <a:ext cx="76575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SIM卡槽OCR识别</a:t>
            </a: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489D50AC-BC3D-4B50-8D44-9440776172B7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0856EF2-203B-4267-9354-883B07B78CAF}"/>
              </a:ext>
            </a:extLst>
          </p:cNvPr>
          <p:cNvSpPr txBox="1"/>
          <p:nvPr/>
        </p:nvSpPr>
        <p:spPr>
          <a:xfrm>
            <a:off x="330200" y="3719577"/>
            <a:ext cx="3816000" cy="874527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字符小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字体很小，人工无法看清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CFF72FC3-3459-42A9-AA7F-324A2FBD73B0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BD242BA8-208D-4C2B-836C-FC351E91C048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4FA40E51-F57A-473A-A80D-28198E071E49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SIM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卡槽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CR</a:t>
            </a: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353010118357195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EF164829-FF01-4B94-B0A4-699D502A51E5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389E3B30-4042-437C-962A-A05E2A7533AD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9F451407-0AFA-45D7-B6A1-989C306F2182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538A76A3-EBD2-488F-A2D5-0229BC442D12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4" name="矩形: 圆角 53">
              <a:extLst>
                <a:ext uri="{FF2B5EF4-FFF2-40B4-BE49-F238E27FC236}">
                  <a16:creationId xmlns:a16="http://schemas.microsoft.com/office/drawing/2014/main" id="{06C06703-E387-4AD0-BDD6-BA05C484F470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iconfont-11673-5560736">
              <a:extLst>
                <a:ext uri="{FF2B5EF4-FFF2-40B4-BE49-F238E27FC236}">
                  <a16:creationId xmlns:a16="http://schemas.microsoft.com/office/drawing/2014/main" id="{D0FB0C09-803F-4FC1-A0DD-42B1A050B975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CE8619FF-6426-4452-8ADE-4CC4E4F4D41C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F458B296-D95C-42FE-8473-79FEC44A4D66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88CF9AF7-B7D9-4AD3-8003-F082A5B215B2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cart_155395">
            <a:extLst>
              <a:ext uri="{FF2B5EF4-FFF2-40B4-BE49-F238E27FC236}">
                <a16:creationId xmlns:a16="http://schemas.microsoft.com/office/drawing/2014/main" id="{B9043F90-46C9-471B-BDDD-B30CAD39011D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697F9B03-D65F-4872-9A63-7C38D86DA574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2CADC4D7-EBF5-400E-8B66-68BD9C39DFB8}"/>
              </a:ext>
            </a:extLst>
          </p:cNvPr>
          <p:cNvSpPr txBox="1"/>
          <p:nvPr/>
        </p:nvSpPr>
        <p:spPr>
          <a:xfrm>
            <a:off x="641239" y="5763929"/>
            <a:ext cx="1261884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字符识别准确率</a:t>
            </a:r>
            <a:endParaRPr lang="en-US" altLang="zh-CN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722EAAEE-007F-493C-8DAA-2D46A572B1E2}"/>
              </a:ext>
            </a:extLst>
          </p:cNvPr>
          <p:cNvSpPr txBox="1"/>
          <p:nvPr/>
        </p:nvSpPr>
        <p:spPr>
          <a:xfrm>
            <a:off x="3765439" y="5233492"/>
            <a:ext cx="133402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B2B09196-BC6D-4A2D-A7C8-9E933A022E1E}"/>
              </a:ext>
            </a:extLst>
          </p:cNvPr>
          <p:cNvSpPr txBox="1"/>
          <p:nvPr/>
        </p:nvSpPr>
        <p:spPr>
          <a:xfrm>
            <a:off x="3765439" y="5763929"/>
            <a:ext cx="14879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识别时间 &lt; </a:t>
            </a:r>
            <a:r>
              <a:rPr lang="zh-CN" altLang="zh-CN"/>
              <a:t>300ms</a:t>
            </a:r>
            <a:endParaRPr lang="en-US" altLang="zh-CN" dirty="0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1D55E62F-EF13-426B-A5AB-E50903C29E15}"/>
              </a:ext>
            </a:extLst>
          </p:cNvPr>
          <p:cNvSpPr txBox="1"/>
          <p:nvPr/>
        </p:nvSpPr>
        <p:spPr>
          <a:xfrm>
            <a:off x="6641989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22B8BCC8-DD99-470E-ABB2-9D046EED17CD}"/>
              </a:ext>
            </a:extLst>
          </p:cNvPr>
          <p:cNvSpPr txBox="1"/>
          <p:nvPr/>
        </p:nvSpPr>
        <p:spPr>
          <a:xfrm>
            <a:off x="6641989" y="5763929"/>
            <a:ext cx="800219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实现</a:t>
            </a:r>
            <a:r>
              <a:rPr lang="zh-CN" altLang="en-US">
                <a:solidFill>
                  <a:schemeClr val="bg1">
                    <a:lumMod val="50000"/>
                  </a:schemeClr>
                </a:solidFill>
              </a:rPr>
              <a:t>全检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75B173B-B16A-4430-BB19-CD50BA6E9D5F}"/>
              </a:ext>
            </a:extLst>
          </p:cNvPr>
          <p:cNvGrpSpPr/>
          <p:nvPr/>
        </p:nvGrpSpPr>
        <p:grpSpPr>
          <a:xfrm>
            <a:off x="4695714" y="2103420"/>
            <a:ext cx="3602466" cy="2392383"/>
            <a:chOff x="4478654" y="7477878"/>
            <a:chExt cx="3503295" cy="2326523"/>
          </a:xfrm>
        </p:grpSpPr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24522890-2BD6-4E41-A57F-00D3A6751B17}"/>
                </a:ext>
              </a:extLst>
            </p:cNvPr>
            <p:cNvPicPr/>
            <p:nvPr/>
          </p:nvPicPr>
          <p:blipFill rotWithShape="1">
            <a:blip r:embed="rId2"/>
            <a:srcRect t="16879" b="917"/>
            <a:stretch/>
          </p:blipFill>
          <p:spPr>
            <a:xfrm>
              <a:off x="4478654" y="7477878"/>
              <a:ext cx="3503295" cy="2326523"/>
            </a:xfrm>
            <a:prstGeom prst="rect">
              <a:avLst/>
            </a:prstGeom>
          </p:spPr>
        </p:pic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C2CADD1-564E-4997-A616-060F185A15DA}"/>
                </a:ext>
              </a:extLst>
            </p:cNvPr>
            <p:cNvSpPr txBox="1"/>
            <p:nvPr/>
          </p:nvSpPr>
          <p:spPr>
            <a:xfrm>
              <a:off x="4852876" y="9016749"/>
              <a:ext cx="278660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53010118357195</a:t>
              </a:r>
              <a:endParaRPr lang="zh-CN" altLang="en-US" sz="2000" dirty="0"/>
            </a:p>
          </p:txBody>
        </p:sp>
      </p:grpSp>
      <p:pic>
        <p:nvPicPr>
          <p:cNvPr id="19" name="Picture 189">
            <a:extLst>
              <a:ext uri="{FF2B5EF4-FFF2-40B4-BE49-F238E27FC236}">
                <a16:creationId xmlns:a16="http://schemas.microsoft.com/office/drawing/2014/main" id="{F8A02696-816A-4022-8E6A-6ADF2B728A0D}"/>
              </a:ext>
            </a:extLst>
          </p:cNvPr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55" r="17065"/>
          <a:stretch/>
        </p:blipFill>
        <p:spPr>
          <a:xfrm>
            <a:off x="8761442" y="1609046"/>
            <a:ext cx="3087658" cy="3915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183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28656080-4EA3-43F2-BE95-006B0266A65B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61D3520B-992A-44E5-9A31-F8E931A61676}"/>
              </a:ext>
            </a:extLst>
          </p:cNvPr>
          <p:cNvSpPr txBox="1"/>
          <p:nvPr/>
        </p:nvSpPr>
        <p:spPr>
          <a:xfrm>
            <a:off x="409881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2400" dirty="0"/>
              <a:t>产线导入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71EABFE5-6F14-48C1-B4C2-C97CB366489B}"/>
              </a:ext>
            </a:extLst>
          </p:cNvPr>
          <p:cNvSpPr txBox="1"/>
          <p:nvPr/>
        </p:nvSpPr>
        <p:spPr>
          <a:xfrm>
            <a:off x="4098814" y="5659521"/>
            <a:ext cx="954107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量产新产品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1C234092-FC90-4C32-A2B6-4B785E8B0966}"/>
              </a:ext>
            </a:extLst>
          </p:cNvPr>
          <p:cNvSpPr txBox="1"/>
          <p:nvPr/>
        </p:nvSpPr>
        <p:spPr>
          <a:xfrm>
            <a:off x="6851539" y="5129084"/>
            <a:ext cx="197682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8</a:t>
            </a:r>
            <a:r>
              <a:rPr lang="zh-CN" altLang="zh-CN" sz="2400" dirty="0"/>
              <a:t>倍产能提升</a:t>
            </a:r>
            <a:endParaRPr lang="en-US" altLang="zh-CN" dirty="0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30EF6B0-0837-481A-8396-B288619BD0F4}"/>
              </a:ext>
            </a:extLst>
          </p:cNvPr>
          <p:cNvSpPr txBox="1"/>
          <p:nvPr/>
        </p:nvSpPr>
        <p:spPr>
          <a:xfrm>
            <a:off x="6851539" y="5659521"/>
            <a:ext cx="2185214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更稳定的检测，检测速度更快</a:t>
            </a:r>
            <a:br>
              <a:rPr lang="en-US" altLang="zh-CN" dirty="0"/>
            </a:br>
            <a:r>
              <a:rPr lang="zh-CN" altLang="zh-CN" dirty="0"/>
              <a:t>按照产能换算节省</a:t>
            </a:r>
            <a:r>
              <a:rPr lang="en-US" altLang="zh-CN" dirty="0"/>
              <a:t>40</a:t>
            </a:r>
            <a:r>
              <a:rPr lang="zh-CN" altLang="zh-CN" dirty="0"/>
              <a:t>人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0B60044-58AF-4B19-9E0B-959277E8C640}"/>
              </a:ext>
            </a:extLst>
          </p:cNvPr>
          <p:cNvSpPr txBox="1"/>
          <p:nvPr/>
        </p:nvSpPr>
        <p:spPr>
          <a:xfrm>
            <a:off x="1009956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2400" dirty="0"/>
              <a:t>避免漏检</a:t>
            </a:r>
            <a:endParaRPr lang="en-GB" altLang="zh-CN" sz="2400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8385287B-C5E8-49B3-BEC4-9183DC0515A4}"/>
              </a:ext>
            </a:extLst>
          </p:cNvPr>
          <p:cNvSpPr txBox="1"/>
          <p:nvPr/>
        </p:nvSpPr>
        <p:spPr>
          <a:xfrm>
            <a:off x="10099564" y="5659521"/>
            <a:ext cx="1107996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引发召回问题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DAA3AE5A-8642-4BA1-9CE8-A13897F7610E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汽车-舍弗勒-</a:t>
            </a:r>
            <a:r>
              <a:rPr lang="zh-CN" altLang="zh-CN" sz="3000" b="1" dirty="0">
                <a:solidFill>
                  <a:schemeClr val="tx1"/>
                </a:solidFill>
              </a:rPr>
              <a:t>轴承字符识别</a:t>
            </a: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B486F362-D3DA-4B9B-A4EB-504D3B66787D}"/>
              </a:ext>
            </a:extLst>
          </p:cNvPr>
          <p:cNvSpPr/>
          <p:nvPr/>
        </p:nvSpPr>
        <p:spPr>
          <a:xfrm>
            <a:off x="365454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A7898005-DBCC-44B6-81B8-4C9961D00583}"/>
              </a:ext>
            </a:extLst>
          </p:cNvPr>
          <p:cNvSpPr txBox="1"/>
          <p:nvPr/>
        </p:nvSpPr>
        <p:spPr>
          <a:xfrm>
            <a:off x="3654540" y="3719578"/>
            <a:ext cx="3995308" cy="722624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轴承上的字符具有一定角度的弯曲，需要做到精确的定位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轴承背景颜色极为相似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17E9F2D9-E34E-499E-BC3A-29D3A33BDA52}"/>
              </a:ext>
            </a:extLst>
          </p:cNvPr>
          <p:cNvSpPr txBox="1"/>
          <p:nvPr/>
        </p:nvSpPr>
        <p:spPr>
          <a:xfrm>
            <a:off x="385853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D4F1542D-5F2A-4F7A-9706-FA3EDD3BC7E9}"/>
              </a:ext>
            </a:extLst>
          </p:cNvPr>
          <p:cNvSpPr/>
          <p:nvPr/>
        </p:nvSpPr>
        <p:spPr>
          <a:xfrm>
            <a:off x="785637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F1879ECD-EEA5-48BA-8531-4CF2E3240779}"/>
              </a:ext>
            </a:extLst>
          </p:cNvPr>
          <p:cNvSpPr/>
          <p:nvPr/>
        </p:nvSpPr>
        <p:spPr>
          <a:xfrm>
            <a:off x="365454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99DCE96-22B6-4B7D-86CF-ADE322B23576}"/>
              </a:ext>
            </a:extLst>
          </p:cNvPr>
          <p:cNvSpPr txBox="1"/>
          <p:nvPr/>
        </p:nvSpPr>
        <p:spPr>
          <a:xfrm>
            <a:off x="3654540" y="2052044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舍弗勒轴承字符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0AK.311.139 A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7AF0CC52-6559-4CC2-95CA-C767319A6D74}"/>
              </a:ext>
            </a:extLst>
          </p:cNvPr>
          <p:cNvSpPr txBox="1"/>
          <p:nvPr/>
        </p:nvSpPr>
        <p:spPr>
          <a:xfrm>
            <a:off x="385853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C8487442-B48A-4083-960C-CE305C88AA4D}"/>
              </a:ext>
            </a:extLst>
          </p:cNvPr>
          <p:cNvSpPr txBox="1"/>
          <p:nvPr/>
        </p:nvSpPr>
        <p:spPr>
          <a:xfrm>
            <a:off x="806037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773308F4-1CD9-42EB-844C-C56AD97BBAE2}"/>
              </a:ext>
            </a:extLst>
          </p:cNvPr>
          <p:cNvGrpSpPr/>
          <p:nvPr/>
        </p:nvGrpSpPr>
        <p:grpSpPr>
          <a:xfrm>
            <a:off x="3835404" y="1786179"/>
            <a:ext cx="208074" cy="208074"/>
            <a:chOff x="804750" y="1099366"/>
            <a:chExt cx="377825" cy="377825"/>
          </a:xfrm>
          <a:solidFill>
            <a:srgbClr val="F2F2F2"/>
          </a:solidFill>
        </p:grpSpPr>
        <p:sp>
          <p:nvSpPr>
            <p:cNvPr id="64" name="矩形: 圆角 63">
              <a:extLst>
                <a:ext uri="{FF2B5EF4-FFF2-40B4-BE49-F238E27FC236}">
                  <a16:creationId xmlns:a16="http://schemas.microsoft.com/office/drawing/2014/main" id="{975471EE-3038-4F20-9E5D-CDD7D496C773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iconfont-11673-5560736">
              <a:extLst>
                <a:ext uri="{FF2B5EF4-FFF2-40B4-BE49-F238E27FC236}">
                  <a16:creationId xmlns:a16="http://schemas.microsoft.com/office/drawing/2014/main" id="{0F382ED3-415F-490F-BB5D-BF45E463E22E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grp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46CA8A7C-7791-4018-ABEE-1CFE863EEB98}"/>
              </a:ext>
            </a:extLst>
          </p:cNvPr>
          <p:cNvSpPr/>
          <p:nvPr/>
        </p:nvSpPr>
        <p:spPr>
          <a:xfrm>
            <a:off x="383540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D0B0390B-C109-4BF2-BC6B-E2F641BD8A1A}"/>
              </a:ext>
            </a:extLst>
          </p:cNvPr>
          <p:cNvSpPr/>
          <p:nvPr/>
        </p:nvSpPr>
        <p:spPr>
          <a:xfrm>
            <a:off x="390869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514CB457-CDA4-4022-AC30-01F909275611}"/>
              </a:ext>
            </a:extLst>
          </p:cNvPr>
          <p:cNvSpPr/>
          <p:nvPr/>
        </p:nvSpPr>
        <p:spPr>
          <a:xfrm>
            <a:off x="802005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cart_155395">
            <a:extLst>
              <a:ext uri="{FF2B5EF4-FFF2-40B4-BE49-F238E27FC236}">
                <a16:creationId xmlns:a16="http://schemas.microsoft.com/office/drawing/2014/main" id="{346C2662-3595-4C7B-B53B-8A8DD40896FE}"/>
              </a:ext>
            </a:extLst>
          </p:cNvPr>
          <p:cNvSpPr/>
          <p:nvPr/>
        </p:nvSpPr>
        <p:spPr>
          <a:xfrm>
            <a:off x="804608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图片 62">
            <a:extLst>
              <a:ext uri="{FF2B5EF4-FFF2-40B4-BE49-F238E27FC236}">
                <a16:creationId xmlns:a16="http://schemas.microsoft.com/office/drawing/2014/main" id="{8DE9C4BB-60A9-4F28-B759-C841F58E48D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2" r="19334"/>
          <a:stretch/>
        </p:blipFill>
        <p:spPr>
          <a:xfrm rot="16200000">
            <a:off x="8645243" y="1498200"/>
            <a:ext cx="2407447" cy="3651251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pic>
        <p:nvPicPr>
          <p:cNvPr id="3" name="图片 2" descr="图片包含 黑暗&#10;&#10;描述已自动生成">
            <a:extLst>
              <a:ext uri="{FF2B5EF4-FFF2-40B4-BE49-F238E27FC236}">
                <a16:creationId xmlns:a16="http://schemas.microsoft.com/office/drawing/2014/main" id="{9AE11024-D3EC-46FB-938E-02889F1306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623183" y="1491822"/>
            <a:ext cx="5958808" cy="4469106"/>
          </a:xfrm>
          <a:custGeom>
            <a:avLst/>
            <a:gdLst>
              <a:gd name="connsiteX0" fmla="*/ 0 w 3975100"/>
              <a:gd name="connsiteY0" fmla="*/ 0 h 4049486"/>
              <a:gd name="connsiteX1" fmla="*/ 3975100 w 3975100"/>
              <a:gd name="connsiteY1" fmla="*/ 0 h 4049486"/>
              <a:gd name="connsiteX2" fmla="*/ 3975100 w 3975100"/>
              <a:gd name="connsiteY2" fmla="*/ 4049486 h 4049486"/>
              <a:gd name="connsiteX3" fmla="*/ 0 w 3975100"/>
              <a:gd name="connsiteY3" fmla="*/ 4049486 h 404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5100" h="4049486">
                <a:moveTo>
                  <a:pt x="0" y="0"/>
                </a:moveTo>
                <a:lnTo>
                  <a:pt x="3975100" y="0"/>
                </a:lnTo>
                <a:lnTo>
                  <a:pt x="3975100" y="4049486"/>
                </a:lnTo>
                <a:lnTo>
                  <a:pt x="0" y="40494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52466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46470C37-9D60-46A0-9966-91BFC97E34DF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DAA3AE5A-8642-4BA1-9CE8-A13897F7610E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汽车-舍弗勒-</a:t>
            </a:r>
            <a:r>
              <a:rPr lang="zh-CN" altLang="zh-CN" sz="3000" b="1" dirty="0">
                <a:solidFill>
                  <a:schemeClr val="tx1"/>
                </a:solidFill>
              </a:rPr>
              <a:t>调整环字符识别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50496B3-C015-4655-9229-8D3EF31A321B}"/>
              </a:ext>
            </a:extLst>
          </p:cNvPr>
          <p:cNvSpPr txBox="1"/>
          <p:nvPr/>
        </p:nvSpPr>
        <p:spPr>
          <a:xfrm>
            <a:off x="409881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产线改善</a:t>
            </a:r>
            <a:endParaRPr lang="en-US" altLang="zh-CN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C5CB3FBF-960E-4492-A0DF-BE7BDED21C30}"/>
              </a:ext>
            </a:extLst>
          </p:cNvPr>
          <p:cNvSpPr txBox="1"/>
          <p:nvPr/>
        </p:nvSpPr>
        <p:spPr>
          <a:xfrm>
            <a:off x="4098814" y="5659521"/>
            <a:ext cx="2339103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帮助客户解决了长期困扰的问题</a:t>
            </a:r>
            <a:br>
              <a:rPr lang="en-US" altLang="zh-CN" dirty="0"/>
            </a:br>
            <a:r>
              <a:rPr lang="zh-CN" altLang="zh-CN" dirty="0"/>
              <a:t>避免优化工艺带来的成本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BAA6B16-4CCE-4FF5-A040-891DB03A8CF3}"/>
              </a:ext>
            </a:extLst>
          </p:cNvPr>
          <p:cNvSpPr txBox="1"/>
          <p:nvPr/>
        </p:nvSpPr>
        <p:spPr>
          <a:xfrm>
            <a:off x="7511080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取代人力</a:t>
            </a:r>
            <a:endParaRPr lang="en-US" altLang="zh-CN" dirty="0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AE78FDA-8EBD-41A2-85DF-8F64A7D10AF6}"/>
              </a:ext>
            </a:extLst>
          </p:cNvPr>
          <p:cNvSpPr txBox="1"/>
          <p:nvPr/>
        </p:nvSpPr>
        <p:spPr>
          <a:xfrm>
            <a:off x="7511080" y="5659521"/>
            <a:ext cx="1475084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更稳定</a:t>
            </a:r>
            <a:r>
              <a:rPr lang="zh-CN" altLang="zh-CN"/>
              <a:t>的检测</a:t>
            </a:r>
            <a:br>
              <a:rPr lang="en-US" altLang="zh-CN" dirty="0"/>
            </a:br>
            <a:r>
              <a:rPr lang="zh-CN" altLang="zh-CN" dirty="0"/>
              <a:t>节省</a:t>
            </a:r>
            <a:r>
              <a:rPr lang="zh-CN" altLang="zh-CN"/>
              <a:t>人员成本</a:t>
            </a:r>
            <a:r>
              <a:rPr lang="en-US" altLang="zh-CN"/>
              <a:t>600</a:t>
            </a:r>
            <a:r>
              <a:rPr lang="en-GB" altLang="zh-CN" dirty="0"/>
              <a:t>K</a:t>
            </a:r>
            <a:endParaRPr lang="zh-CN" altLang="zh-CN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86B6D00-649F-42A7-8F14-24026105A255}"/>
              </a:ext>
            </a:extLst>
          </p:cNvPr>
          <p:cNvSpPr txBox="1"/>
          <p:nvPr/>
        </p:nvSpPr>
        <p:spPr>
          <a:xfrm>
            <a:off x="10099564" y="5252194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sz="2400" dirty="0"/>
              <a:t>避免漏检</a:t>
            </a:r>
            <a:endParaRPr lang="en-GB" altLang="zh-CN" sz="2400" dirty="0"/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C6F83D38-7299-4FBD-A123-2FB52E3DC293}"/>
              </a:ext>
            </a:extLst>
          </p:cNvPr>
          <p:cNvSpPr txBox="1"/>
          <p:nvPr/>
        </p:nvSpPr>
        <p:spPr>
          <a:xfrm>
            <a:off x="10099564" y="5659521"/>
            <a:ext cx="1107996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引发召回问题</a:t>
            </a:r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A1AE694C-407D-4887-AF78-AB4ACEC2D111}"/>
              </a:ext>
            </a:extLst>
          </p:cNvPr>
          <p:cNvSpPr/>
          <p:nvPr/>
        </p:nvSpPr>
        <p:spPr>
          <a:xfrm>
            <a:off x="3654540" y="3255626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87557686-5410-489D-A189-354B1FAB1EF4}"/>
              </a:ext>
            </a:extLst>
          </p:cNvPr>
          <p:cNvSpPr txBox="1"/>
          <p:nvPr/>
        </p:nvSpPr>
        <p:spPr>
          <a:xfrm>
            <a:off x="3654540" y="3719579"/>
            <a:ext cx="3995308" cy="722624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轴承上的字符具有一定角度的弯曲，需要做到精确的定位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轴承背景颜色极为相似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3A70CBF-D51C-4AC6-A87D-CBC15CBA61AC}"/>
              </a:ext>
            </a:extLst>
          </p:cNvPr>
          <p:cNvSpPr txBox="1"/>
          <p:nvPr/>
        </p:nvSpPr>
        <p:spPr>
          <a:xfrm>
            <a:off x="3858534" y="3375127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F7150024-F6FF-4F84-BD31-37BEAC623005}"/>
              </a:ext>
            </a:extLst>
          </p:cNvPr>
          <p:cNvSpPr/>
          <p:nvPr/>
        </p:nvSpPr>
        <p:spPr>
          <a:xfrm>
            <a:off x="7856376" y="1609048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C2122D45-CADA-4C27-8EA1-4D23C64DF9F3}"/>
              </a:ext>
            </a:extLst>
          </p:cNvPr>
          <p:cNvSpPr/>
          <p:nvPr/>
        </p:nvSpPr>
        <p:spPr>
          <a:xfrm>
            <a:off x="3654540" y="1609048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4800A5FC-9A8A-453E-A11F-BBAF65FF9330}"/>
              </a:ext>
            </a:extLst>
          </p:cNvPr>
          <p:cNvSpPr txBox="1"/>
          <p:nvPr/>
        </p:nvSpPr>
        <p:spPr>
          <a:xfrm>
            <a:off x="3654540" y="2052045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舍弗勒调整环字符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INA-F-570816-0010-GR5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69D6B101-1C33-46FB-AF12-368D93141944}"/>
              </a:ext>
            </a:extLst>
          </p:cNvPr>
          <p:cNvSpPr txBox="1"/>
          <p:nvPr/>
        </p:nvSpPr>
        <p:spPr>
          <a:xfrm>
            <a:off x="3858534" y="1713944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89F30C7B-2015-4AFC-A045-57E897A0549C}"/>
              </a:ext>
            </a:extLst>
          </p:cNvPr>
          <p:cNvSpPr txBox="1"/>
          <p:nvPr/>
        </p:nvSpPr>
        <p:spPr>
          <a:xfrm>
            <a:off x="8060370" y="1713944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6393E655-9655-49AF-8FBD-E37603283629}"/>
              </a:ext>
            </a:extLst>
          </p:cNvPr>
          <p:cNvGrpSpPr/>
          <p:nvPr/>
        </p:nvGrpSpPr>
        <p:grpSpPr>
          <a:xfrm>
            <a:off x="3835404" y="1786180"/>
            <a:ext cx="208074" cy="208074"/>
            <a:chOff x="804750" y="1099366"/>
            <a:chExt cx="377825" cy="377825"/>
          </a:xfrm>
          <a:solidFill>
            <a:srgbClr val="F2F2F2"/>
          </a:solidFill>
        </p:grpSpPr>
        <p:sp>
          <p:nvSpPr>
            <p:cNvPr id="66" name="矩形: 圆角 65">
              <a:extLst>
                <a:ext uri="{FF2B5EF4-FFF2-40B4-BE49-F238E27FC236}">
                  <a16:creationId xmlns:a16="http://schemas.microsoft.com/office/drawing/2014/main" id="{07A4367B-E2F4-4642-971D-11FD715AAD38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iconfont-11673-5560736">
              <a:extLst>
                <a:ext uri="{FF2B5EF4-FFF2-40B4-BE49-F238E27FC236}">
                  <a16:creationId xmlns:a16="http://schemas.microsoft.com/office/drawing/2014/main" id="{A8D34973-043A-4D25-9A77-0AC6CBF2604D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grpFill/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EE4D1E98-D15E-401E-BF1A-15DCD8761217}"/>
              </a:ext>
            </a:extLst>
          </p:cNvPr>
          <p:cNvSpPr/>
          <p:nvPr/>
        </p:nvSpPr>
        <p:spPr>
          <a:xfrm>
            <a:off x="3835404" y="3442260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07763EDD-F096-4C81-B9C7-A8A4B5C8478F}"/>
              </a:ext>
            </a:extLst>
          </p:cNvPr>
          <p:cNvSpPr/>
          <p:nvPr/>
        </p:nvSpPr>
        <p:spPr>
          <a:xfrm>
            <a:off x="3908691" y="3487345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64C62C31-AC51-4F9C-A727-721FF994295B}"/>
              </a:ext>
            </a:extLst>
          </p:cNvPr>
          <p:cNvSpPr/>
          <p:nvPr/>
        </p:nvSpPr>
        <p:spPr>
          <a:xfrm>
            <a:off x="8020054" y="1786180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cart_155395">
            <a:extLst>
              <a:ext uri="{FF2B5EF4-FFF2-40B4-BE49-F238E27FC236}">
                <a16:creationId xmlns:a16="http://schemas.microsoft.com/office/drawing/2014/main" id="{0E510870-3C59-4BE8-87CA-8FEB56C6EAA4}"/>
              </a:ext>
            </a:extLst>
          </p:cNvPr>
          <p:cNvSpPr/>
          <p:nvPr/>
        </p:nvSpPr>
        <p:spPr>
          <a:xfrm>
            <a:off x="8046083" y="1826522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8A3A831-E268-4F2D-BF96-EE9E6FE708FD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5" t="870" b="16363"/>
          <a:stretch/>
        </p:blipFill>
        <p:spPr>
          <a:xfrm>
            <a:off x="8023341" y="2120101"/>
            <a:ext cx="2801442" cy="2424351"/>
          </a:xfrm>
          <a:prstGeom prst="rect">
            <a:avLst/>
          </a:prstGeom>
        </p:spPr>
      </p:pic>
      <p:pic>
        <p:nvPicPr>
          <p:cNvPr id="47" name="图片 18">
            <a:extLst>
              <a:ext uri="{FF2B5EF4-FFF2-40B4-BE49-F238E27FC236}">
                <a16:creationId xmlns:a16="http://schemas.microsoft.com/office/drawing/2014/main" id="{E130B12C-99D1-4665-9EFE-75A7FCB3B73B}"/>
              </a:ext>
            </a:extLst>
          </p:cNvPr>
          <p:cNvPicPr/>
          <p:nvPr/>
        </p:nvPicPr>
        <p:blipFill>
          <a:blip r:embed="rId3"/>
          <a:srcRect l="15708" t="11170" r="16055" b="7719"/>
          <a:stretch>
            <a:fillRect/>
          </a:stretch>
        </p:blipFill>
        <p:spPr>
          <a:xfrm>
            <a:off x="10387378" y="1739395"/>
            <a:ext cx="1325298" cy="1213035"/>
          </a:xfrm>
          <a:prstGeom prst="ellipse">
            <a:avLst/>
          </a:prstGeom>
        </p:spPr>
      </p:pic>
      <p:pic>
        <p:nvPicPr>
          <p:cNvPr id="69" name="Picture 189">
            <a:extLst>
              <a:ext uri="{FF2B5EF4-FFF2-40B4-BE49-F238E27FC236}">
                <a16:creationId xmlns:a16="http://schemas.microsoft.com/office/drawing/2014/main" id="{095E745A-5341-486C-82C7-B146E0C5050E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1" t="3680" r="14921" b="-1"/>
          <a:stretch/>
        </p:blipFill>
        <p:spPr>
          <a:xfrm>
            <a:off x="343611" y="1609047"/>
            <a:ext cx="3087658" cy="3771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8965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>
            <a:extLst>
              <a:ext uri="{FF2B5EF4-FFF2-40B4-BE49-F238E27FC236}">
                <a16:creationId xmlns:a16="http://schemas.microsoft.com/office/drawing/2014/main" id="{CD7A5ADC-05B7-4714-A400-35217DA88408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000" dirty="0" err="1">
                <a:solidFill>
                  <a:schemeClr val="tx1"/>
                </a:solidFill>
                <a:latin typeface="+mn-ea"/>
                <a:ea typeface="+mn-ea"/>
              </a:rPr>
              <a:t>汽车-广汽本田</a:t>
            </a:r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-</a:t>
            </a:r>
            <a:r>
              <a:rPr lang="en-US" altLang="zh-CN" sz="3000" b="1" dirty="0" err="1">
                <a:solidFill>
                  <a:schemeClr val="tx1"/>
                </a:solidFill>
              </a:rPr>
              <a:t>汽车微小元器件字符检测</a:t>
            </a:r>
            <a:endParaRPr lang="zh-CN" altLang="zh-CN" sz="3000" b="1" dirty="0">
              <a:solidFill>
                <a:schemeClr val="tx1"/>
              </a:solidFill>
            </a:endParaRP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2D0FE9E3-C230-4037-A97A-65F7E2236CDC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67918A48-6421-40D9-A4F4-214E58DBF303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1A2C9742-CF8D-41A9-A697-DF513311B2C5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样式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雕刻方式多种多样，需要识别的字符种类较多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背景颜色极其相似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09314CFC-FCC9-4D3F-8A91-20958E1B7F39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1BD1303-1401-4090-885A-7ED0D190D28B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1DD548AB-78C7-4FBF-82E4-4E2CD330E17F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CE491FA0-951B-4502-BFBB-104FC6DAA469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3AA0BBFC-9B72-409A-BBDF-40200C57201D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汽车微小元器件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XLHGRY1852L2155220X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4C04B169-A50F-424F-B023-86CFB1A487FB}"/>
              </a:ext>
            </a:extLst>
          </p:cNvPr>
          <p:cNvSpPr txBox="1"/>
          <p:nvPr/>
        </p:nvSpPr>
        <p:spPr>
          <a:xfrm>
            <a:off x="4532036" y="3719577"/>
            <a:ext cx="3996000" cy="964491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I+OCR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36FBAD6A-7879-48AD-AD24-3EFD2C1321DF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7D3C0EF3-09AA-48AB-ADA1-A7429EDE98F9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F2F0EA2C-A01C-4083-A0C7-15A3389B83E4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BF986063-0A63-440B-AFC2-E418DE0B1825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04CEBFD8-83F4-4984-8855-DC605CD2091D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iconfont-11673-5560736">
              <a:extLst>
                <a:ext uri="{FF2B5EF4-FFF2-40B4-BE49-F238E27FC236}">
                  <a16:creationId xmlns:a16="http://schemas.microsoft.com/office/drawing/2014/main" id="{1B182D7F-F22C-45F9-A678-2E1F65F6C039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51B7BFDF-5E10-40FF-B64F-4EE8E4BF73FC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32C59D84-F053-44B1-B6D2-1B527EDB12A6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1E126E29-72E8-4DF6-A0E1-F1E96E931AB6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verified-list-of-exercises-of-a-gymnast-on-a-clipboard_30818">
            <a:extLst>
              <a:ext uri="{FF2B5EF4-FFF2-40B4-BE49-F238E27FC236}">
                <a16:creationId xmlns:a16="http://schemas.microsoft.com/office/drawing/2014/main" id="{5416F356-9938-4AF1-9292-31A4FF15B5BA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485A243A-274E-455B-8AAA-420731D1333E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cart_155395">
            <a:extLst>
              <a:ext uri="{FF2B5EF4-FFF2-40B4-BE49-F238E27FC236}">
                <a16:creationId xmlns:a16="http://schemas.microsoft.com/office/drawing/2014/main" id="{7178F316-20B3-495A-9FFE-D1C585F3A491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EAE2A9A2-B272-4432-B065-53BB1EF76D0F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DD919F26-40E7-48D3-9F36-1DF0913E9C1B}"/>
              </a:ext>
            </a:extLst>
          </p:cNvPr>
          <p:cNvSpPr txBox="1"/>
          <p:nvPr/>
        </p:nvSpPr>
        <p:spPr>
          <a:xfrm>
            <a:off x="641239" y="5763929"/>
            <a:ext cx="13276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OCR </a:t>
            </a:r>
            <a:r>
              <a:rPr lang="zh-CN" altLang="en-US" dirty="0"/>
              <a:t>检测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D2B11485-E5A5-4F7B-B57D-E7C0E70FC206}"/>
              </a:ext>
            </a:extLst>
          </p:cNvPr>
          <p:cNvSpPr txBox="1"/>
          <p:nvPr/>
        </p:nvSpPr>
        <p:spPr>
          <a:xfrm>
            <a:off x="3141325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4AC35A77-66FA-4E38-AF53-FC0BE5F10DBD}"/>
              </a:ext>
            </a:extLst>
          </p:cNvPr>
          <p:cNvSpPr txBox="1"/>
          <p:nvPr/>
        </p:nvSpPr>
        <p:spPr>
          <a:xfrm>
            <a:off x="3141325" y="5763929"/>
            <a:ext cx="264687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替换率，多条产线</a:t>
            </a:r>
            <a:r>
              <a:rPr lang="zh-CN" altLang="zh-CN"/>
              <a:t>全自动化生产</a:t>
            </a:r>
            <a:endParaRPr lang="en-US" altLang="zh-CN" dirty="0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93E3EF92-2A2F-483D-BEC6-C152CC62B266}"/>
              </a:ext>
            </a:extLst>
          </p:cNvPr>
          <p:cNvSpPr txBox="1"/>
          <p:nvPr/>
        </p:nvSpPr>
        <p:spPr>
          <a:xfrm>
            <a:off x="6641989" y="5233492"/>
            <a:ext cx="696024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44CF979B-CDBE-4DED-95A7-6180A8BE88B6}"/>
              </a:ext>
            </a:extLst>
          </p:cNvPr>
          <p:cNvSpPr txBox="1"/>
          <p:nvPr/>
        </p:nvSpPr>
        <p:spPr>
          <a:xfrm>
            <a:off x="6641989" y="5763929"/>
            <a:ext cx="118013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漏检率低于</a:t>
            </a:r>
            <a:r>
              <a:rPr lang="zh-CN" altLang="zh-CN"/>
              <a:t>1%</a:t>
            </a:r>
            <a:endParaRPr lang="en-US" altLang="zh-CN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13CFDAD-BE15-461E-A609-8848EE4AB951}"/>
              </a:ext>
            </a:extLst>
          </p:cNvPr>
          <p:cNvPicPr/>
          <p:nvPr/>
        </p:nvPicPr>
        <p:blipFill rotWithShape="1">
          <a:blip r:embed="rId2"/>
          <a:srcRect t="33134" b="2669"/>
          <a:stretch/>
        </p:blipFill>
        <p:spPr>
          <a:xfrm>
            <a:off x="4695714" y="2095445"/>
            <a:ext cx="3497624" cy="815250"/>
          </a:xfrm>
          <a:prstGeom prst="rect">
            <a:avLst/>
          </a:prstGeom>
        </p:spPr>
      </p:pic>
      <p:pic>
        <p:nvPicPr>
          <p:cNvPr id="20" name="Picture 189">
            <a:extLst>
              <a:ext uri="{FF2B5EF4-FFF2-40B4-BE49-F238E27FC236}">
                <a16:creationId xmlns:a16="http://schemas.microsoft.com/office/drawing/2014/main" id="{2C238B58-BCD4-4D08-BF65-545CCE530591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808" r="3110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791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DCC65D1E-31FF-4BC9-96F2-E35BA4AD2975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868F6BD9-17A1-4F87-9656-9E30632C26F6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000" dirty="0" err="1">
                <a:solidFill>
                  <a:schemeClr val="tx1"/>
                </a:solidFill>
                <a:latin typeface="+mn-ea"/>
                <a:ea typeface="+mn-ea"/>
              </a:rPr>
              <a:t>汽车</a:t>
            </a:r>
            <a:r>
              <a:rPr lang="en-US" altLang="zh-CN" sz="3000" dirty="0">
                <a:solidFill>
                  <a:schemeClr val="tx1"/>
                </a:solidFill>
                <a:latin typeface="+mn-ea"/>
                <a:ea typeface="+mn-ea"/>
              </a:rPr>
              <a:t>-</a:t>
            </a:r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伟景-</a:t>
            </a:r>
            <a:r>
              <a:rPr lang="zh-CN" altLang="zh-CN" sz="3000" b="1" dirty="0">
                <a:solidFill>
                  <a:schemeClr val="tx1"/>
                </a:solidFill>
              </a:rPr>
              <a:t>车架号码识别</a:t>
            </a: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68453532-BB9E-4183-9A22-594DDD09A91B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68CA4E1-FE6E-4C3E-8115-C8E1C3742D11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小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标签上的字符极小并存在很多手写字符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背景颜色极其相似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710E8D2D-8F82-415B-A1E2-7F30D11D11A8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9DFC2876-342F-42EA-A484-94683C8E5C2C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9C07C8BC-F99B-41A8-B958-C2272DE6F5AB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  检测车架零件上贴纸编号和打刻在零件上的编号是否一致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LWBJA3399K1405G14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3391531-72FC-44F3-9977-967CFC9DF5DA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E449A5FF-DDC7-4A30-95FE-AB73BF4B05E6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6AA15030-706D-4F4C-97C2-1733C4A326CE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AE347C4D-CBEE-420D-B392-A1E40346A3D5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2" name="矩形: 圆角 51">
              <a:extLst>
                <a:ext uri="{FF2B5EF4-FFF2-40B4-BE49-F238E27FC236}">
                  <a16:creationId xmlns:a16="http://schemas.microsoft.com/office/drawing/2014/main" id="{6A287837-E528-48A8-8D74-CC8D97949DF1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iconfont-11673-5560736">
              <a:extLst>
                <a:ext uri="{FF2B5EF4-FFF2-40B4-BE49-F238E27FC236}">
                  <a16:creationId xmlns:a16="http://schemas.microsoft.com/office/drawing/2014/main" id="{A9ADEA52-F86A-4603-9BE3-2ADCB0B84FCF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A5D5A28C-7840-43CC-9ACF-5DB8623574F6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52B198B6-4BE0-40AD-BA32-E6F9DF9E6461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AEF2455B-D290-4133-8868-F7F350BC8788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cart_155395">
            <a:extLst>
              <a:ext uri="{FF2B5EF4-FFF2-40B4-BE49-F238E27FC236}">
                <a16:creationId xmlns:a16="http://schemas.microsoft.com/office/drawing/2014/main" id="{258DBB4F-F4E7-4D5C-A2DD-BE0C4E24DDD7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273FC853-9131-4834-94CF-A9AA0B1E0C0E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2D36779A-F273-45A7-AA8C-304CE71D9B28}"/>
              </a:ext>
            </a:extLst>
          </p:cNvPr>
          <p:cNvSpPr txBox="1"/>
          <p:nvPr/>
        </p:nvSpPr>
        <p:spPr>
          <a:xfrm>
            <a:off x="641239" y="5763929"/>
            <a:ext cx="13276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OCR </a:t>
            </a:r>
            <a:r>
              <a:rPr lang="zh-CN" altLang="en-US" dirty="0"/>
              <a:t>检测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448598E6-1DC2-4F2E-BBB6-4320A75FDB05}"/>
              </a:ext>
            </a:extLst>
          </p:cNvPr>
          <p:cNvSpPr txBox="1"/>
          <p:nvPr/>
        </p:nvSpPr>
        <p:spPr>
          <a:xfrm>
            <a:off x="3141325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0AF8E2B9-6DEA-4471-8FD0-47A932C9BC82}"/>
              </a:ext>
            </a:extLst>
          </p:cNvPr>
          <p:cNvSpPr txBox="1"/>
          <p:nvPr/>
        </p:nvSpPr>
        <p:spPr>
          <a:xfrm>
            <a:off x="3141325" y="5763929"/>
            <a:ext cx="264687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替换率，多条产线</a:t>
            </a:r>
            <a:r>
              <a:rPr lang="zh-CN" altLang="zh-CN"/>
              <a:t>全自动化生产</a:t>
            </a:r>
            <a:endParaRPr lang="en-US" altLang="zh-CN" dirty="0"/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0B1E9EF1-D5E5-4BE3-BAE2-A9CD942A1D7E}"/>
              </a:ext>
            </a:extLst>
          </p:cNvPr>
          <p:cNvSpPr txBox="1"/>
          <p:nvPr/>
        </p:nvSpPr>
        <p:spPr>
          <a:xfrm>
            <a:off x="6641989" y="5233492"/>
            <a:ext cx="696024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7EB98A53-6F06-402D-B296-96636B1A1B9C}"/>
              </a:ext>
            </a:extLst>
          </p:cNvPr>
          <p:cNvSpPr txBox="1"/>
          <p:nvPr/>
        </p:nvSpPr>
        <p:spPr>
          <a:xfrm>
            <a:off x="6641989" y="5763929"/>
            <a:ext cx="118013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漏检率低于</a:t>
            </a:r>
            <a:r>
              <a:rPr lang="zh-CN" altLang="zh-CN"/>
              <a:t>1%</a:t>
            </a:r>
            <a:endParaRPr lang="en-US" altLang="zh-CN" dirty="0"/>
          </a:p>
        </p:txBody>
      </p:sp>
      <p:pic>
        <p:nvPicPr>
          <p:cNvPr id="73" name="Picture 189">
            <a:extLst>
              <a:ext uri="{FF2B5EF4-FFF2-40B4-BE49-F238E27FC236}">
                <a16:creationId xmlns:a16="http://schemas.microsoft.com/office/drawing/2014/main" id="{7886C94C-EF45-4B65-B79A-8FCEEE326F5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1" r="14921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grpSp>
        <p:nvGrpSpPr>
          <p:cNvPr id="53" name="组合 52">
            <a:extLst>
              <a:ext uri="{FF2B5EF4-FFF2-40B4-BE49-F238E27FC236}">
                <a16:creationId xmlns:a16="http://schemas.microsoft.com/office/drawing/2014/main" id="{12A88A48-3CA6-437C-A7FB-C3F69DE0C54B}"/>
              </a:ext>
            </a:extLst>
          </p:cNvPr>
          <p:cNvGrpSpPr/>
          <p:nvPr/>
        </p:nvGrpSpPr>
        <p:grpSpPr>
          <a:xfrm>
            <a:off x="4695714" y="2103419"/>
            <a:ext cx="2861377" cy="2392383"/>
            <a:chOff x="4474801" y="2094072"/>
            <a:chExt cx="2685371" cy="2191421"/>
          </a:xfrm>
        </p:grpSpPr>
        <p:pic>
          <p:nvPicPr>
            <p:cNvPr id="51" name="图片 50">
              <a:extLst>
                <a:ext uri="{FF2B5EF4-FFF2-40B4-BE49-F238E27FC236}">
                  <a16:creationId xmlns:a16="http://schemas.microsoft.com/office/drawing/2014/main" id="{24335889-7670-46A9-9C9F-4626449817F0}"/>
                </a:ext>
              </a:extLst>
            </p:cNvPr>
            <p:cNvPicPr/>
            <p:nvPr/>
          </p:nvPicPr>
          <p:blipFill rotWithShape="1">
            <a:blip r:embed="rId3"/>
            <a:srcRect l="1136" t="1136" r="1136" b="48695"/>
            <a:stretch/>
          </p:blipFill>
          <p:spPr>
            <a:xfrm>
              <a:off x="4474801" y="2094072"/>
              <a:ext cx="2685371" cy="1187293"/>
            </a:xfrm>
            <a:custGeom>
              <a:avLst/>
              <a:gdLst>
                <a:gd name="connsiteX0" fmla="*/ 0 w 2685371"/>
                <a:gd name="connsiteY0" fmla="*/ 0 h 1187293"/>
                <a:gd name="connsiteX1" fmla="*/ 2685371 w 2685371"/>
                <a:gd name="connsiteY1" fmla="*/ 0 h 1187293"/>
                <a:gd name="connsiteX2" fmla="*/ 2685371 w 2685371"/>
                <a:gd name="connsiteY2" fmla="*/ 1187293 h 1187293"/>
                <a:gd name="connsiteX3" fmla="*/ 0 w 2685371"/>
                <a:gd name="connsiteY3" fmla="*/ 1187293 h 1187293"/>
                <a:gd name="connsiteX4" fmla="*/ 0 w 2685371"/>
                <a:gd name="connsiteY4" fmla="*/ 0 h 118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5371" h="1187293">
                  <a:moveTo>
                    <a:pt x="0" y="0"/>
                  </a:moveTo>
                  <a:lnTo>
                    <a:pt x="2685371" y="0"/>
                  </a:lnTo>
                  <a:lnTo>
                    <a:pt x="2685371" y="1187293"/>
                  </a:lnTo>
                  <a:lnTo>
                    <a:pt x="0" y="1187293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pic>
          <p:nvPicPr>
            <p:cNvPr id="48" name="图片 47">
              <a:extLst>
                <a:ext uri="{FF2B5EF4-FFF2-40B4-BE49-F238E27FC236}">
                  <a16:creationId xmlns:a16="http://schemas.microsoft.com/office/drawing/2014/main" id="{95D7C1ED-FF19-493C-82B7-817214F7F15F}"/>
                </a:ext>
              </a:extLst>
            </p:cNvPr>
            <p:cNvPicPr/>
            <p:nvPr/>
          </p:nvPicPr>
          <p:blipFill rotWithShape="1">
            <a:blip r:embed="rId3"/>
            <a:srcRect l="1136" t="57946" r="1136" b="1136"/>
            <a:stretch/>
          </p:blipFill>
          <p:spPr>
            <a:xfrm>
              <a:off x="4474801" y="3317118"/>
              <a:ext cx="2685371" cy="968375"/>
            </a:xfrm>
            <a:custGeom>
              <a:avLst/>
              <a:gdLst>
                <a:gd name="connsiteX0" fmla="*/ 0 w 2685371"/>
                <a:gd name="connsiteY0" fmla="*/ 0 h 968375"/>
                <a:gd name="connsiteX1" fmla="*/ 2685371 w 2685371"/>
                <a:gd name="connsiteY1" fmla="*/ 0 h 968375"/>
                <a:gd name="connsiteX2" fmla="*/ 2685371 w 2685371"/>
                <a:gd name="connsiteY2" fmla="*/ 968375 h 968375"/>
                <a:gd name="connsiteX3" fmla="*/ 0 w 2685371"/>
                <a:gd name="connsiteY3" fmla="*/ 968375 h 968375"/>
                <a:gd name="connsiteX4" fmla="*/ 0 w 2685371"/>
                <a:gd name="connsiteY4" fmla="*/ 0 h 96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5371" h="968375">
                  <a:moveTo>
                    <a:pt x="0" y="0"/>
                  </a:moveTo>
                  <a:lnTo>
                    <a:pt x="2685371" y="0"/>
                  </a:lnTo>
                  <a:lnTo>
                    <a:pt x="2685371" y="968375"/>
                  </a:lnTo>
                  <a:lnTo>
                    <a:pt x="0" y="968375"/>
                  </a:lnTo>
                  <a:lnTo>
                    <a:pt x="0" y="0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5703213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矩形: 圆角 72">
            <a:extLst>
              <a:ext uri="{FF2B5EF4-FFF2-40B4-BE49-F238E27FC236}">
                <a16:creationId xmlns:a16="http://schemas.microsoft.com/office/drawing/2014/main" id="{B4397B87-7D93-4BD5-B802-F939FA4D45EF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48E81C3B-13AA-42D2-A361-46E4A6B3BFA3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98B4F54B-D456-4621-AECA-36EABC9CD150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E1A04B86-8E19-4D40-A080-0A9A4FF4CBAD}"/>
              </a:ext>
            </a:extLst>
          </p:cNvPr>
          <p:cNvSpPr txBox="1"/>
          <p:nvPr/>
        </p:nvSpPr>
        <p:spPr>
          <a:xfrm>
            <a:off x="4532036" y="3719577"/>
            <a:ext cx="3996000" cy="964491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CR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FF4ECAFC-0BEC-405F-AF16-99991FC195A3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verified-list-of-exercises-of-a-gymnast-on-a-clipboard_30818">
            <a:extLst>
              <a:ext uri="{FF2B5EF4-FFF2-40B4-BE49-F238E27FC236}">
                <a16:creationId xmlns:a16="http://schemas.microsoft.com/office/drawing/2014/main" id="{F79AE074-3F7E-4271-BB68-48F267CF3428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0C001B80-BC08-45BB-9F59-467885F7FB30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半导体-深南电路-</a:t>
            </a:r>
            <a:r>
              <a:rPr lang="zh-CN" altLang="zh-CN" sz="3000" b="1" dirty="0">
                <a:solidFill>
                  <a:schemeClr val="tx1"/>
                </a:solidFill>
              </a:rPr>
              <a:t>PCB板表面字符检测</a:t>
            </a: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CCB63057-3D11-44E7-92AF-151698C2CE53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25217DD8-1468-46AE-98E7-E04939CA7A5E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光线暗淡，取图质量差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B4F1381B-3FF5-4AEC-8A07-360E820A1E4C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5C0CEDA9-2453-445A-8613-B36DC6C511B3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D736EDC-FA0D-458E-BA8E-C87ACD9FAFE5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PCB板表面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1686169-D01-9F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72F574A-29E4-4BAF-882E-4173B6102EB9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967E980-764D-4959-975E-9C026AB2AA97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B207D638-9004-4006-8204-2CA5081C2559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12ACA687-67C1-4B9E-9658-1D9252E31159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E008F9EE-9274-4B0F-BDD4-E50C8AA804A9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confont-11673-5560736">
              <a:extLst>
                <a:ext uri="{FF2B5EF4-FFF2-40B4-BE49-F238E27FC236}">
                  <a16:creationId xmlns:a16="http://schemas.microsoft.com/office/drawing/2014/main" id="{0C8C9E33-B325-435F-BC4D-0AD87BFF41D1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1DB31916-81DC-4930-B8A8-675B7287397A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E0C26F6A-3C5B-4778-878F-73E7CC388028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7DB831DB-BCFE-4515-9610-1CB1115351DC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cart_155395">
            <a:extLst>
              <a:ext uri="{FF2B5EF4-FFF2-40B4-BE49-F238E27FC236}">
                <a16:creationId xmlns:a16="http://schemas.microsoft.com/office/drawing/2014/main" id="{E9A6E43A-ABED-4A02-9CE1-18FB3707DA65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C91E0C4E-1EBA-44B0-B107-91146A0AD95A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50EB3025-2ECB-4866-985B-8436FF6BCF6F}"/>
              </a:ext>
            </a:extLst>
          </p:cNvPr>
          <p:cNvSpPr txBox="1"/>
          <p:nvPr/>
        </p:nvSpPr>
        <p:spPr>
          <a:xfrm>
            <a:off x="641239" y="5763929"/>
            <a:ext cx="13276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OCR </a:t>
            </a:r>
            <a:r>
              <a:rPr lang="zh-CN" altLang="en-US" dirty="0"/>
              <a:t>检测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8DBF397E-DF08-4BB0-BD0D-C60A512ED63F}"/>
              </a:ext>
            </a:extLst>
          </p:cNvPr>
          <p:cNvSpPr txBox="1"/>
          <p:nvPr/>
        </p:nvSpPr>
        <p:spPr>
          <a:xfrm>
            <a:off x="3141325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4FB83AD6-E013-45B6-A9F0-56452EA2934E}"/>
              </a:ext>
            </a:extLst>
          </p:cNvPr>
          <p:cNvSpPr txBox="1"/>
          <p:nvPr/>
        </p:nvSpPr>
        <p:spPr>
          <a:xfrm>
            <a:off x="3141325" y="5763929"/>
            <a:ext cx="264687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替换率，多条产线</a:t>
            </a:r>
            <a:r>
              <a:rPr lang="zh-CN" altLang="zh-CN"/>
              <a:t>全自动化生产</a:t>
            </a:r>
            <a:endParaRPr lang="en-US" altLang="zh-CN" dirty="0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8279FE5F-0DB7-4B9B-A9F5-61264F10754E}"/>
              </a:ext>
            </a:extLst>
          </p:cNvPr>
          <p:cNvSpPr txBox="1"/>
          <p:nvPr/>
        </p:nvSpPr>
        <p:spPr>
          <a:xfrm>
            <a:off x="6641989" y="5233492"/>
            <a:ext cx="696024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C511CD69-D43C-4009-B40C-BEEF127B664C}"/>
              </a:ext>
            </a:extLst>
          </p:cNvPr>
          <p:cNvSpPr txBox="1"/>
          <p:nvPr/>
        </p:nvSpPr>
        <p:spPr>
          <a:xfrm>
            <a:off x="6641989" y="5763929"/>
            <a:ext cx="118013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漏检率低于</a:t>
            </a:r>
            <a:r>
              <a:rPr lang="zh-CN" altLang="zh-CN"/>
              <a:t>1%</a:t>
            </a:r>
            <a:endParaRPr lang="en-US" altLang="zh-CN" dirty="0"/>
          </a:p>
        </p:txBody>
      </p:sp>
      <p:pic>
        <p:nvPicPr>
          <p:cNvPr id="69" name="Picture 189">
            <a:extLst>
              <a:ext uri="{FF2B5EF4-FFF2-40B4-BE49-F238E27FC236}">
                <a16:creationId xmlns:a16="http://schemas.microsoft.com/office/drawing/2014/main" id="{B0F2CCC1-331B-47C5-BD80-D4218B6C3AFA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1" r="14971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A91A5838-6D2E-4F9F-B2BE-EF52FE1204E7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" t="7078" r="275" b="3099"/>
          <a:stretch/>
        </p:blipFill>
        <p:spPr>
          <a:xfrm>
            <a:off x="4695714" y="2095444"/>
            <a:ext cx="3497624" cy="815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0545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>
            <a:extLst>
              <a:ext uri="{FF2B5EF4-FFF2-40B4-BE49-F238E27FC236}">
                <a16:creationId xmlns:a16="http://schemas.microsoft.com/office/drawing/2014/main" id="{84127EE1-FE2A-472D-BE8B-A2C741CFF05F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半导体-金海通-</a:t>
            </a:r>
            <a:r>
              <a:rPr lang="zh-CN" altLang="zh-CN" sz="3000" b="1" dirty="0">
                <a:solidFill>
                  <a:schemeClr val="tx1"/>
                </a:solidFill>
              </a:rPr>
              <a:t>芯片封装字符检测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BF51239-03EF-4225-B22E-C8CE016D51F5}"/>
              </a:ext>
            </a:extLst>
          </p:cNvPr>
          <p:cNvSpPr txBox="1"/>
          <p:nvPr/>
        </p:nvSpPr>
        <p:spPr>
          <a:xfrm>
            <a:off x="2267214" y="1049704"/>
            <a:ext cx="76575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芯片封装字符检测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3A25B022-F89F-430F-AFA4-583E45A02C5F}"/>
              </a:ext>
            </a:extLst>
          </p:cNvPr>
          <p:cNvSpPr/>
          <p:nvPr/>
        </p:nvSpPr>
        <p:spPr>
          <a:xfrm>
            <a:off x="4532036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2B44CBBC-127E-49C4-9C66-87B6318AD61E}"/>
              </a:ext>
            </a:extLst>
          </p:cNvPr>
          <p:cNvSpPr txBox="1"/>
          <p:nvPr/>
        </p:nvSpPr>
        <p:spPr>
          <a:xfrm>
            <a:off x="4736030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A0FD00A2-A5E8-4FD0-B187-A98B444A81E5}"/>
              </a:ext>
            </a:extLst>
          </p:cNvPr>
          <p:cNvSpPr/>
          <p:nvPr/>
        </p:nvSpPr>
        <p:spPr>
          <a:xfrm>
            <a:off x="4532036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C6FDB1F-9E79-4E24-AB4A-E80A4FE9084E}"/>
              </a:ext>
            </a:extLst>
          </p:cNvPr>
          <p:cNvSpPr txBox="1"/>
          <p:nvPr/>
        </p:nvSpPr>
        <p:spPr>
          <a:xfrm>
            <a:off x="4532036" y="3719577"/>
            <a:ext cx="3996000" cy="964491"/>
          </a:xfrm>
          <a:prstGeom prst="rect">
            <a:avLst/>
          </a:prstGeom>
          <a:noFill/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CR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087D6425-F393-401A-98C8-95B6247C61E8}"/>
              </a:ext>
            </a:extLst>
          </p:cNvPr>
          <p:cNvSpPr/>
          <p:nvPr/>
        </p:nvSpPr>
        <p:spPr>
          <a:xfrm>
            <a:off x="4695714" y="344225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verified-list-of-exercises-of-a-gymnast-on-a-clipboard_30818">
            <a:extLst>
              <a:ext uri="{FF2B5EF4-FFF2-40B4-BE49-F238E27FC236}">
                <a16:creationId xmlns:a16="http://schemas.microsoft.com/office/drawing/2014/main" id="{87BEF961-409C-4CE6-88D9-727194290D91}"/>
              </a:ext>
            </a:extLst>
          </p:cNvPr>
          <p:cNvSpPr/>
          <p:nvPr/>
        </p:nvSpPr>
        <p:spPr>
          <a:xfrm>
            <a:off x="4736990" y="346147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08CB00F6-7C32-461D-AE57-8CE474BFD8C3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8A1747C-F9B2-4880-A175-9F1CD4852908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Uph要求高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终端的产能较高，为满足Uph的要求，需要视觉与设备完美配合，在20us的间隔时间内获得完整、清晰、没有错位的高质量图像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E73EDC11-C911-4F4E-992D-2CDEAEE8C810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C1E9A442-0B2F-49D4-9E8D-1B646954F63A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66376121-CAF1-48C0-88AD-2A9EDA9FA68B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芯片封装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N002D1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54F60E2C-C178-4A45-B6F2-36AC70417494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7F143546-C23A-4135-9F78-AA1015CD9251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A684B0C-9A4C-46C1-9CC2-0FD7B7197BE5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487C82AF-180B-49A9-93C6-2936E60AD3FA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61" name="矩形: 圆角 60">
              <a:extLst>
                <a:ext uri="{FF2B5EF4-FFF2-40B4-BE49-F238E27FC236}">
                  <a16:creationId xmlns:a16="http://schemas.microsoft.com/office/drawing/2014/main" id="{B569230D-6E5F-4AB5-93C4-DD36796D107B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iconfont-11673-5560736">
              <a:extLst>
                <a:ext uri="{FF2B5EF4-FFF2-40B4-BE49-F238E27FC236}">
                  <a16:creationId xmlns:a16="http://schemas.microsoft.com/office/drawing/2014/main" id="{8AC6BEF1-E822-417F-BBB0-1DAA17B98420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83DC2F2F-C0FE-4526-87E9-DE6F68AB1991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140939E2-EB16-40B1-BAB7-FB65BEA39381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76B6C63A-C5C7-498F-B2C5-764F5DAE2943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cart_155395">
            <a:extLst>
              <a:ext uri="{FF2B5EF4-FFF2-40B4-BE49-F238E27FC236}">
                <a16:creationId xmlns:a16="http://schemas.microsoft.com/office/drawing/2014/main" id="{85868135-4973-4B4E-B0AF-BB5355198C1F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3" name="Picture 189">
            <a:extLst>
              <a:ext uri="{FF2B5EF4-FFF2-40B4-BE49-F238E27FC236}">
                <a16:creationId xmlns:a16="http://schemas.microsoft.com/office/drawing/2014/main" id="{1D5E73B3-21CC-4C18-A18C-CF5E3A3D371D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85" r="14885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sp>
        <p:nvSpPr>
          <p:cNvPr id="75" name="文本框 74">
            <a:extLst>
              <a:ext uri="{FF2B5EF4-FFF2-40B4-BE49-F238E27FC236}">
                <a16:creationId xmlns:a16="http://schemas.microsoft.com/office/drawing/2014/main" id="{056053EB-098F-48F2-90D8-1EF4175113E1}"/>
              </a:ext>
            </a:extLst>
          </p:cNvPr>
          <p:cNvSpPr txBox="1"/>
          <p:nvPr/>
        </p:nvSpPr>
        <p:spPr>
          <a:xfrm>
            <a:off x="641239" y="5131892"/>
            <a:ext cx="998991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s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84A518C9-1D0C-4719-B9C2-69776C7A7C4D}"/>
              </a:ext>
            </a:extLst>
          </p:cNvPr>
          <p:cNvSpPr txBox="1"/>
          <p:nvPr/>
        </p:nvSpPr>
        <p:spPr>
          <a:xfrm>
            <a:off x="641239" y="5662329"/>
            <a:ext cx="2529860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拍</a:t>
            </a:r>
            <a:r>
              <a:rPr lang="zh-CN" altLang="zh-CN"/>
              <a:t>间隔只有</a:t>
            </a:r>
            <a:r>
              <a:rPr lang="en-US" altLang="zh-CN"/>
              <a:t>20</a:t>
            </a:r>
            <a:r>
              <a:rPr lang="en-GB" altLang="zh-CN" dirty="0"/>
              <a:t>us</a:t>
            </a:r>
            <a:r>
              <a:rPr lang="zh-CN" altLang="zh-CN" dirty="0"/>
              <a:t>就能采集一</a:t>
            </a:r>
            <a:r>
              <a:rPr lang="zh-CN" altLang="zh-CN"/>
              <a:t>张图像</a:t>
            </a:r>
            <a:br>
              <a:rPr lang="en-US" altLang="zh-CN" dirty="0"/>
            </a:br>
            <a:r>
              <a:rPr lang="zh-CN" altLang="zh-CN" dirty="0"/>
              <a:t>多线程</a:t>
            </a:r>
            <a:r>
              <a:rPr lang="zh-CN" altLang="zh-CN"/>
              <a:t>队列处理</a:t>
            </a:r>
            <a:endParaRPr lang="en-US" altLang="zh-CN" dirty="0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4D3C9191-6B69-44FE-83F4-B346C374FFA4}"/>
              </a:ext>
            </a:extLst>
          </p:cNvPr>
          <p:cNvSpPr txBox="1"/>
          <p:nvPr/>
        </p:nvSpPr>
        <p:spPr>
          <a:xfrm>
            <a:off x="3765439" y="5131892"/>
            <a:ext cx="1838965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7.97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81137DE1-1DCC-4042-9615-347A8C92431E}"/>
              </a:ext>
            </a:extLst>
          </p:cNvPr>
          <p:cNvSpPr txBox="1"/>
          <p:nvPr/>
        </p:nvSpPr>
        <p:spPr>
          <a:xfrm>
            <a:off x="3765439" y="5662329"/>
            <a:ext cx="1332416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GB" altLang="zh-CN"/>
              <a:t>OCR</a:t>
            </a:r>
            <a:r>
              <a:rPr lang="zh-CN" altLang="zh-CN"/>
              <a:t>准确率</a:t>
            </a:r>
            <a:br>
              <a:rPr lang="en-US" altLang="zh-CN"/>
            </a:br>
            <a:r>
              <a:rPr lang="zh-CN" altLang="zh-CN"/>
              <a:t>达到</a:t>
            </a:r>
            <a:r>
              <a:rPr lang="en-US" altLang="zh-CN" dirty="0"/>
              <a:t>99.97%</a:t>
            </a:r>
            <a:r>
              <a:rPr lang="zh-CN" altLang="zh-CN" dirty="0"/>
              <a:t>以上</a:t>
            </a: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E3F64C2B-CD8C-4A71-BC42-9A0860559791}"/>
              </a:ext>
            </a:extLst>
          </p:cNvPr>
          <p:cNvSpPr txBox="1"/>
          <p:nvPr/>
        </p:nvSpPr>
        <p:spPr>
          <a:xfrm>
            <a:off x="6641989" y="5131892"/>
            <a:ext cx="168668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/h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95D17818-2BAB-4CDB-9D4B-58280205F16A}"/>
              </a:ext>
            </a:extLst>
          </p:cNvPr>
          <p:cNvSpPr txBox="1"/>
          <p:nvPr/>
        </p:nvSpPr>
        <p:spPr>
          <a:xfrm>
            <a:off x="6641989" y="5662329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GB" altLang="zh-CN" dirty="0" err="1"/>
              <a:t>Uph</a:t>
            </a:r>
            <a:r>
              <a:rPr lang="zh-CN" altLang="zh-CN" dirty="0"/>
              <a:t>检出速率</a:t>
            </a:r>
            <a:r>
              <a:rPr lang="zh-CN" altLang="zh-CN"/>
              <a:t>极高</a:t>
            </a:r>
            <a:br>
              <a:rPr lang="en-US" altLang="zh-CN" dirty="0"/>
            </a:br>
            <a:r>
              <a:rPr lang="zh-CN" altLang="zh-CN" dirty="0"/>
              <a:t>业内领先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E0BD70F-59C8-497C-88ED-B3F18B99288F}"/>
              </a:ext>
            </a:extLst>
          </p:cNvPr>
          <p:cNvPicPr/>
          <p:nvPr/>
        </p:nvPicPr>
        <p:blipFill rotWithShape="1">
          <a:blip r:embed="rId3"/>
          <a:srcRect t="16880" b="10595"/>
          <a:stretch/>
        </p:blipFill>
        <p:spPr>
          <a:xfrm>
            <a:off x="4695714" y="2095444"/>
            <a:ext cx="2368912" cy="81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4069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700C0A09-C00A-4F7D-B256-9B4D34DC60E2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D8C641F4-3FBC-41C9-8027-97353B9FF8E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半导体-华通-</a:t>
            </a:r>
            <a:r>
              <a:rPr lang="zh-CN" altLang="zh-CN" sz="3000" b="1" dirty="0">
                <a:solidFill>
                  <a:schemeClr val="tx1"/>
                </a:solidFill>
              </a:rPr>
              <a:t>PCB字符及二维码识别</a:t>
            </a: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61AFECB1-72BE-419B-A8CB-7DC693FEEE86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8243969C-57E0-4E2A-9294-D0486CFC0210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光线暗淡，取图质量差</a:t>
            </a:r>
          </a:p>
          <a:p>
            <a:r>
              <a:rPr lang="zh-CN" altLang="zh-CN" dirty="0"/>
              <a:t>字符样式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雕刻方式多种多样，字符的角度都不一样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D5DAA777-6297-46CC-A261-5696CF035A0F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C19D64C6-C307-4058-838B-ADB56412209B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A2062FAF-2727-4656-BE0C-D7C02369111B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  PCB字符及二维码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1686169-C04-9F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F066F865-5350-400B-91D2-34AF0178E34B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B4AD5216-867E-40E3-99E6-B32E2CAA2B3E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D28DE340-955C-4B6D-B918-8388CBE8CB59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DDA9177C-9A3F-4192-9455-CE525A91505F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66" name="矩形: 圆角 65">
              <a:extLst>
                <a:ext uri="{FF2B5EF4-FFF2-40B4-BE49-F238E27FC236}">
                  <a16:creationId xmlns:a16="http://schemas.microsoft.com/office/drawing/2014/main" id="{B8A77EF0-6E99-4BE5-B3A7-349FC3F6DE16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iconfont-11673-5560736">
              <a:extLst>
                <a:ext uri="{FF2B5EF4-FFF2-40B4-BE49-F238E27FC236}">
                  <a16:creationId xmlns:a16="http://schemas.microsoft.com/office/drawing/2014/main" id="{E73E1A45-9009-4298-B4A8-8C9AC4E39835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3B23BB74-3027-4B64-ACBE-78D626E6CABF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D5681BFB-9E7E-4D14-A4C6-76108A6A04D5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A4075991-3290-408C-9152-008F9DF00363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cart_155395">
            <a:extLst>
              <a:ext uri="{FF2B5EF4-FFF2-40B4-BE49-F238E27FC236}">
                <a16:creationId xmlns:a16="http://schemas.microsoft.com/office/drawing/2014/main" id="{6623D23C-996D-4000-ADFE-AD4C82A251AE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189">
            <a:extLst>
              <a:ext uri="{FF2B5EF4-FFF2-40B4-BE49-F238E27FC236}">
                <a16:creationId xmlns:a16="http://schemas.microsoft.com/office/drawing/2014/main" id="{1FB902C3-902D-4978-9EDA-8A318B9F2D15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1" r="14921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pic>
        <p:nvPicPr>
          <p:cNvPr id="39" name="图片 38">
            <a:extLst>
              <a:ext uri="{FF2B5EF4-FFF2-40B4-BE49-F238E27FC236}">
                <a16:creationId xmlns:a16="http://schemas.microsoft.com/office/drawing/2014/main" id="{B24A98B0-0A9D-40AB-9500-228C76C83F53}"/>
              </a:ext>
            </a:extLst>
          </p:cNvPr>
          <p:cNvPicPr/>
          <p:nvPr/>
        </p:nvPicPr>
        <p:blipFill rotWithShape="1">
          <a:blip r:embed="rId8"/>
          <a:srcRect l="5997" t="14889" r="38622" b="68999"/>
          <a:stretch/>
        </p:blipFill>
        <p:spPr>
          <a:xfrm>
            <a:off x="4695714" y="2103419"/>
            <a:ext cx="2417347" cy="502196"/>
          </a:xfrm>
          <a:prstGeom prst="rect">
            <a:avLst/>
          </a:prstGeom>
        </p:spPr>
      </p:pic>
      <p:pic>
        <p:nvPicPr>
          <p:cNvPr id="40" name="图片 39">
            <a:extLst>
              <a:ext uri="{FF2B5EF4-FFF2-40B4-BE49-F238E27FC236}">
                <a16:creationId xmlns:a16="http://schemas.microsoft.com/office/drawing/2014/main" id="{0B53DD1A-317D-41BB-926E-17AFDE225CDC}"/>
              </a:ext>
            </a:extLst>
          </p:cNvPr>
          <p:cNvPicPr/>
          <p:nvPr/>
        </p:nvPicPr>
        <p:blipFill rotWithShape="1">
          <a:blip r:embed="rId8"/>
          <a:srcRect l="68789" t="12977" r="4885" b="67635"/>
          <a:stretch/>
        </p:blipFill>
        <p:spPr>
          <a:xfrm>
            <a:off x="7219844" y="2103420"/>
            <a:ext cx="994449" cy="502196"/>
          </a:xfrm>
          <a:prstGeom prst="rect">
            <a:avLst/>
          </a:prstGeom>
        </p:spPr>
      </p:pic>
      <p:sp>
        <p:nvSpPr>
          <p:cNvPr id="45" name="矩形 19">
            <a:extLst>
              <a:ext uri="{FF2B5EF4-FFF2-40B4-BE49-F238E27FC236}">
                <a16:creationId xmlns:a16="http://schemas.microsoft.com/office/drawing/2014/main" id="{8A01FB30-6DCE-4B4A-B0D9-B055A6200DD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750499" y="2671376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料号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46" name="矩形 19">
            <a:extLst>
              <a:ext uri="{FF2B5EF4-FFF2-40B4-BE49-F238E27FC236}">
                <a16:creationId xmlns:a16="http://schemas.microsoft.com/office/drawing/2014/main" id="{62E45731-5FA1-446D-910B-F4C321E0F9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486236" y="2671376"/>
            <a:ext cx="4616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周期号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pic>
        <p:nvPicPr>
          <p:cNvPr id="42" name="图片 41">
            <a:extLst>
              <a:ext uri="{FF2B5EF4-FFF2-40B4-BE49-F238E27FC236}">
                <a16:creationId xmlns:a16="http://schemas.microsoft.com/office/drawing/2014/main" id="{93D13E08-AB6D-43C1-82B5-68CAEBCF53D6}"/>
              </a:ext>
            </a:extLst>
          </p:cNvPr>
          <p:cNvPicPr/>
          <p:nvPr/>
        </p:nvPicPr>
        <p:blipFill rotWithShape="1">
          <a:blip r:embed="rId8"/>
          <a:srcRect l="7711" t="54235" r="75049" b="21805"/>
          <a:stretch/>
        </p:blipFill>
        <p:spPr>
          <a:xfrm>
            <a:off x="4695714" y="3101340"/>
            <a:ext cx="938688" cy="931682"/>
          </a:xfrm>
          <a:prstGeom prst="rect">
            <a:avLst/>
          </a:prstGeom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id="{F6FB2975-8D32-47F7-B269-4764036442CD}"/>
              </a:ext>
            </a:extLst>
          </p:cNvPr>
          <p:cNvPicPr/>
          <p:nvPr/>
        </p:nvPicPr>
        <p:blipFill rotWithShape="1">
          <a:blip r:embed="rId8"/>
          <a:srcRect l="37044" t="56216" r="42500" b="21084"/>
          <a:stretch/>
        </p:blipFill>
        <p:spPr>
          <a:xfrm>
            <a:off x="5782474" y="3101340"/>
            <a:ext cx="1175693" cy="931682"/>
          </a:xfrm>
          <a:prstGeom prst="rect">
            <a:avLst/>
          </a:prstGeom>
        </p:spPr>
      </p:pic>
      <p:pic>
        <p:nvPicPr>
          <p:cNvPr id="44" name="图片 43">
            <a:extLst>
              <a:ext uri="{FF2B5EF4-FFF2-40B4-BE49-F238E27FC236}">
                <a16:creationId xmlns:a16="http://schemas.microsoft.com/office/drawing/2014/main" id="{BACB5845-9444-418A-B20B-1F507906D93A}"/>
              </a:ext>
            </a:extLst>
          </p:cNvPr>
          <p:cNvPicPr/>
          <p:nvPr/>
        </p:nvPicPr>
        <p:blipFill rotWithShape="1">
          <a:blip r:embed="rId8"/>
          <a:srcRect l="71266" t="54775" r="8922" b="21625"/>
          <a:stretch/>
        </p:blipFill>
        <p:spPr>
          <a:xfrm>
            <a:off x="7106239" y="3101340"/>
            <a:ext cx="1095260" cy="931682"/>
          </a:xfrm>
          <a:prstGeom prst="rect">
            <a:avLst/>
          </a:prstGeom>
        </p:spPr>
      </p:pic>
      <p:sp>
        <p:nvSpPr>
          <p:cNvPr id="47" name="矩形 19">
            <a:extLst>
              <a:ext uri="{FF2B5EF4-FFF2-40B4-BE49-F238E27FC236}">
                <a16:creationId xmlns:a16="http://schemas.microsoft.com/office/drawing/2014/main" id="{D08F820C-C0AB-4AB5-9103-92471C04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934227" y="4100172"/>
            <a:ext cx="4616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二维码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48" name="矩形 19">
            <a:extLst>
              <a:ext uri="{FF2B5EF4-FFF2-40B4-BE49-F238E27FC236}">
                <a16:creationId xmlns:a16="http://schemas.microsoft.com/office/drawing/2014/main" id="{A9896D1D-F880-46B4-B40B-B73394D267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216434" y="4100172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印章</a:t>
            </a:r>
            <a:endParaRPr lang="en-US" altLang="zh-CN" sz="12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  <a:sym typeface="+mn-ea"/>
            </a:endParaRPr>
          </a:p>
        </p:txBody>
      </p:sp>
      <p:sp>
        <p:nvSpPr>
          <p:cNvPr id="49" name="矩形 19">
            <a:extLst>
              <a:ext uri="{FF2B5EF4-FFF2-40B4-BE49-F238E27FC236}">
                <a16:creationId xmlns:a16="http://schemas.microsoft.com/office/drawing/2014/main" id="{66723ED3-6BEA-4B3F-A2C1-C6021FAEE90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7233" y="4100172"/>
            <a:ext cx="25327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划</a:t>
            </a:r>
            <a:r>
              <a: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rPr>
              <a:t>X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6026F5E3-EA17-4B8C-9DAF-936C0E1F2F4E}"/>
              </a:ext>
            </a:extLst>
          </p:cNvPr>
          <p:cNvSpPr txBox="1"/>
          <p:nvPr/>
        </p:nvSpPr>
        <p:spPr>
          <a:xfrm>
            <a:off x="641239" y="5233492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66638E6C-EAF7-4089-996D-E8050327FAB1}"/>
              </a:ext>
            </a:extLst>
          </p:cNvPr>
          <p:cNvSpPr txBox="1"/>
          <p:nvPr/>
        </p:nvSpPr>
        <p:spPr>
          <a:xfrm>
            <a:off x="641239" y="5763929"/>
            <a:ext cx="13276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OCR </a:t>
            </a:r>
            <a:r>
              <a:rPr lang="zh-CN" altLang="en-US" dirty="0"/>
              <a:t>检测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A9CBBCE2-D7BB-4966-ADD2-464F6CB776C8}"/>
              </a:ext>
            </a:extLst>
          </p:cNvPr>
          <p:cNvSpPr txBox="1"/>
          <p:nvPr/>
        </p:nvSpPr>
        <p:spPr>
          <a:xfrm>
            <a:off x="3379450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67702EBE-E9A4-4585-9AB0-C72EA7D88078}"/>
              </a:ext>
            </a:extLst>
          </p:cNvPr>
          <p:cNvSpPr txBox="1"/>
          <p:nvPr/>
        </p:nvSpPr>
        <p:spPr>
          <a:xfrm>
            <a:off x="3379450" y="5763929"/>
            <a:ext cx="264687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替换率，多条产线全自动化生产</a:t>
            </a:r>
            <a:endParaRPr lang="en-US" altLang="zh-CN" dirty="0"/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2FC502F5-D95C-4180-A06C-78B8E47141C4}"/>
              </a:ext>
            </a:extLst>
          </p:cNvPr>
          <p:cNvSpPr txBox="1"/>
          <p:nvPr/>
        </p:nvSpPr>
        <p:spPr>
          <a:xfrm>
            <a:off x="6641989" y="5233492"/>
            <a:ext cx="696024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A12B2887-2ABF-4275-AFC7-1FCFCC38AC51}"/>
              </a:ext>
            </a:extLst>
          </p:cNvPr>
          <p:cNvSpPr txBox="1"/>
          <p:nvPr/>
        </p:nvSpPr>
        <p:spPr>
          <a:xfrm>
            <a:off x="6641989" y="5763929"/>
            <a:ext cx="118013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漏检率低于</a:t>
            </a:r>
            <a:r>
              <a:rPr lang="zh-CN" altLang="zh-CN"/>
              <a:t>1%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56219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标题 1">
            <a:extLst>
              <a:ext uri="{FF2B5EF4-FFF2-40B4-BE49-F238E27FC236}">
                <a16:creationId xmlns:a16="http://schemas.microsoft.com/office/drawing/2014/main" id="{E9D6E83D-2244-4139-A95D-09A4E4DFF9D5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半导体-嘉兴天通-</a:t>
            </a:r>
            <a:r>
              <a:rPr lang="zh-CN" altLang="zh-CN" sz="3000" b="1" dirty="0">
                <a:solidFill>
                  <a:schemeClr val="tx1"/>
                </a:solidFill>
              </a:rPr>
              <a:t>硅片溯源</a:t>
            </a: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260C45BD-429F-45A6-983F-801244192765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699977BF-DB13-4E56-9D10-69C099B114A7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FDFA604-CCAF-4305-BB94-2BD903B7734E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光线暗淡，取图质量差</a:t>
            </a:r>
          </a:p>
          <a:p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具有一定角度的弯曲，需要做到精确的定位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B007B73-C17B-4AAB-92B7-D7D088D744A5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F07A455A-9217-4298-9D69-13454D646504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0365DC27-089A-4C18-AC06-4E9567C593F7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  硅片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TL302L769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757B8DB1-ED8A-435C-B3DB-EDFE1191E971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ACA87D4-9EC5-43E1-A0A6-B61ABF477E5B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0E4A2C90-D974-457B-9720-D683E37D112A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184C901E-129F-40B0-8C7C-1285AE7AEBF8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45" name="矩形: 圆角 44">
              <a:extLst>
                <a:ext uri="{FF2B5EF4-FFF2-40B4-BE49-F238E27FC236}">
                  <a16:creationId xmlns:a16="http://schemas.microsoft.com/office/drawing/2014/main" id="{262C043E-211A-44ED-8A10-EC5B4698A937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iconfont-11673-5560736">
              <a:extLst>
                <a:ext uri="{FF2B5EF4-FFF2-40B4-BE49-F238E27FC236}">
                  <a16:creationId xmlns:a16="http://schemas.microsoft.com/office/drawing/2014/main" id="{9B5A76B5-B074-4961-B359-706713B046E7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2864BA6F-64B1-482F-B5C7-D664200D4DBB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85F03476-B054-4418-8DFE-6321A6FF8362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F052B7AA-6817-4D62-A017-246CDA198D5A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cart_155395">
            <a:extLst>
              <a:ext uri="{FF2B5EF4-FFF2-40B4-BE49-F238E27FC236}">
                <a16:creationId xmlns:a16="http://schemas.microsoft.com/office/drawing/2014/main" id="{CFB8393D-1617-4DDC-8549-86BC6837711C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189">
            <a:extLst>
              <a:ext uri="{FF2B5EF4-FFF2-40B4-BE49-F238E27FC236}">
                <a16:creationId xmlns:a16="http://schemas.microsoft.com/office/drawing/2014/main" id="{D5C21D14-C470-4446-8BAA-42BF6F5334F7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85" r="14885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sp>
        <p:nvSpPr>
          <p:cNvPr id="74" name="文本框 73">
            <a:extLst>
              <a:ext uri="{FF2B5EF4-FFF2-40B4-BE49-F238E27FC236}">
                <a16:creationId xmlns:a16="http://schemas.microsoft.com/office/drawing/2014/main" id="{E18260DD-BA6B-4747-8561-DB83046D1CF8}"/>
              </a:ext>
            </a:extLst>
          </p:cNvPr>
          <p:cNvSpPr txBox="1"/>
          <p:nvPr/>
        </p:nvSpPr>
        <p:spPr>
          <a:xfrm>
            <a:off x="641239" y="5233492"/>
            <a:ext cx="1838965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828FA886-1112-425F-A993-835CEC0D4870}"/>
              </a:ext>
            </a:extLst>
          </p:cNvPr>
          <p:cNvSpPr txBox="1"/>
          <p:nvPr/>
        </p:nvSpPr>
        <p:spPr>
          <a:xfrm>
            <a:off x="641239" y="5763929"/>
            <a:ext cx="132760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OCR </a:t>
            </a:r>
            <a:r>
              <a:rPr lang="zh-CN" altLang="en-US" dirty="0"/>
              <a:t>检测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76FDC4F0-8ED6-4FE1-9CD2-4274CAC559FA}"/>
              </a:ext>
            </a:extLst>
          </p:cNvPr>
          <p:cNvSpPr txBox="1"/>
          <p:nvPr/>
        </p:nvSpPr>
        <p:spPr>
          <a:xfrm>
            <a:off x="3379450" y="5233492"/>
            <a:ext cx="1202573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B37A1867-99CB-41B7-8687-B5818B14A54F}"/>
              </a:ext>
            </a:extLst>
          </p:cNvPr>
          <p:cNvSpPr txBox="1"/>
          <p:nvPr/>
        </p:nvSpPr>
        <p:spPr>
          <a:xfrm>
            <a:off x="3379450" y="5763929"/>
            <a:ext cx="2646878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替换率，多条产线</a:t>
            </a:r>
            <a:r>
              <a:rPr lang="zh-CN" altLang="zh-CN"/>
              <a:t>全自动化生产</a:t>
            </a:r>
            <a:endParaRPr lang="en-US" altLang="zh-CN" dirty="0"/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F7F7F67F-A19C-45E1-825B-5CADE2272FEE}"/>
              </a:ext>
            </a:extLst>
          </p:cNvPr>
          <p:cNvSpPr txBox="1"/>
          <p:nvPr/>
        </p:nvSpPr>
        <p:spPr>
          <a:xfrm>
            <a:off x="6641989" y="5233492"/>
            <a:ext cx="696024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E448D2C3-49D6-4B98-B08B-348F42BB6127}"/>
              </a:ext>
            </a:extLst>
          </p:cNvPr>
          <p:cNvSpPr txBox="1"/>
          <p:nvPr/>
        </p:nvSpPr>
        <p:spPr>
          <a:xfrm>
            <a:off x="6641989" y="5763929"/>
            <a:ext cx="118013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漏检率低于</a:t>
            </a:r>
            <a:r>
              <a:rPr lang="zh-CN" altLang="zh-CN"/>
              <a:t>1%</a:t>
            </a:r>
            <a:endParaRPr lang="en-US" altLang="zh-CN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110FA347-A666-443C-AB92-5FBD400A8E72}"/>
              </a:ext>
            </a:extLst>
          </p:cNvPr>
          <p:cNvGrpSpPr/>
          <p:nvPr/>
        </p:nvGrpSpPr>
        <p:grpSpPr>
          <a:xfrm>
            <a:off x="4695714" y="2103419"/>
            <a:ext cx="3507537" cy="1969927"/>
            <a:chOff x="4474799" y="7711101"/>
            <a:chExt cx="3507537" cy="1969927"/>
          </a:xfrm>
        </p:grpSpPr>
        <p:pic>
          <p:nvPicPr>
            <p:cNvPr id="59" name="图片 58">
              <a:extLst>
                <a:ext uri="{FF2B5EF4-FFF2-40B4-BE49-F238E27FC236}">
                  <a16:creationId xmlns:a16="http://schemas.microsoft.com/office/drawing/2014/main" id="{B7A11540-6887-4FD3-89C3-9101D02230E7}"/>
                </a:ext>
              </a:extLst>
            </p:cNvPr>
            <p:cNvPicPr/>
            <p:nvPr/>
          </p:nvPicPr>
          <p:blipFill>
            <a:blip r:embed="rId5"/>
            <a:srcRect l="1306" t="3585" r="83029" b="4268"/>
            <a:stretch>
              <a:fillRect/>
            </a:stretch>
          </p:blipFill>
          <p:spPr>
            <a:xfrm>
              <a:off x="4474799" y="7711101"/>
              <a:ext cx="611551" cy="1969927"/>
            </a:xfrm>
            <a:custGeom>
              <a:avLst/>
              <a:gdLst>
                <a:gd name="connsiteX0" fmla="*/ 0 w 611551"/>
                <a:gd name="connsiteY0" fmla="*/ 0 h 1969927"/>
                <a:gd name="connsiteX1" fmla="*/ 611551 w 611551"/>
                <a:gd name="connsiteY1" fmla="*/ 0 h 1969927"/>
                <a:gd name="connsiteX2" fmla="*/ 611551 w 611551"/>
                <a:gd name="connsiteY2" fmla="*/ 1969927 h 1969927"/>
                <a:gd name="connsiteX3" fmla="*/ 0 w 611551"/>
                <a:gd name="connsiteY3" fmla="*/ 1969927 h 196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551" h="1969927">
                  <a:moveTo>
                    <a:pt x="0" y="0"/>
                  </a:moveTo>
                  <a:lnTo>
                    <a:pt x="611551" y="0"/>
                  </a:lnTo>
                  <a:lnTo>
                    <a:pt x="611551" y="1969927"/>
                  </a:lnTo>
                  <a:lnTo>
                    <a:pt x="0" y="1969927"/>
                  </a:lnTo>
                  <a:close/>
                </a:path>
              </a:pathLst>
            </a:custGeom>
          </p:spPr>
        </p:pic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id="{93F4179F-61B3-4FE2-80BF-F32301E92061}"/>
                </a:ext>
              </a:extLst>
            </p:cNvPr>
            <p:cNvPicPr/>
            <p:nvPr/>
          </p:nvPicPr>
          <p:blipFill>
            <a:blip r:embed="rId5"/>
            <a:srcRect l="37841" t="3585" r="46493" b="4268"/>
            <a:stretch>
              <a:fillRect/>
            </a:stretch>
          </p:blipFill>
          <p:spPr>
            <a:xfrm>
              <a:off x="5922792" y="7711101"/>
              <a:ext cx="611551" cy="1969927"/>
            </a:xfrm>
            <a:custGeom>
              <a:avLst/>
              <a:gdLst>
                <a:gd name="connsiteX0" fmla="*/ 0 w 611551"/>
                <a:gd name="connsiteY0" fmla="*/ 0 h 1969927"/>
                <a:gd name="connsiteX1" fmla="*/ 611551 w 611551"/>
                <a:gd name="connsiteY1" fmla="*/ 0 h 1969927"/>
                <a:gd name="connsiteX2" fmla="*/ 611551 w 611551"/>
                <a:gd name="connsiteY2" fmla="*/ 1969927 h 1969927"/>
                <a:gd name="connsiteX3" fmla="*/ 0 w 611551"/>
                <a:gd name="connsiteY3" fmla="*/ 1969927 h 196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551" h="1969927">
                  <a:moveTo>
                    <a:pt x="0" y="0"/>
                  </a:moveTo>
                  <a:lnTo>
                    <a:pt x="611551" y="0"/>
                  </a:lnTo>
                  <a:lnTo>
                    <a:pt x="611551" y="1969927"/>
                  </a:lnTo>
                  <a:lnTo>
                    <a:pt x="0" y="1969927"/>
                  </a:lnTo>
                  <a:close/>
                </a:path>
              </a:pathLst>
            </a:custGeom>
          </p:spPr>
        </p:pic>
        <p:pic>
          <p:nvPicPr>
            <p:cNvPr id="61" name="图片 60">
              <a:extLst>
                <a:ext uri="{FF2B5EF4-FFF2-40B4-BE49-F238E27FC236}">
                  <a16:creationId xmlns:a16="http://schemas.microsoft.com/office/drawing/2014/main" id="{E9090217-ACEE-4AB8-8ACC-AC2855F2348F}"/>
                </a:ext>
              </a:extLst>
            </p:cNvPr>
            <p:cNvPicPr/>
            <p:nvPr/>
          </p:nvPicPr>
          <p:blipFill>
            <a:blip r:embed="rId5"/>
            <a:srcRect l="74377" t="3585" r="9958" b="4268"/>
            <a:stretch>
              <a:fillRect/>
            </a:stretch>
          </p:blipFill>
          <p:spPr>
            <a:xfrm>
              <a:off x="7370785" y="7711101"/>
              <a:ext cx="611551" cy="1969927"/>
            </a:xfrm>
            <a:custGeom>
              <a:avLst/>
              <a:gdLst>
                <a:gd name="connsiteX0" fmla="*/ 0 w 611551"/>
                <a:gd name="connsiteY0" fmla="*/ 0 h 1969927"/>
                <a:gd name="connsiteX1" fmla="*/ 611551 w 611551"/>
                <a:gd name="connsiteY1" fmla="*/ 0 h 1969927"/>
                <a:gd name="connsiteX2" fmla="*/ 611551 w 611551"/>
                <a:gd name="connsiteY2" fmla="*/ 1969927 h 1969927"/>
                <a:gd name="connsiteX3" fmla="*/ 0 w 611551"/>
                <a:gd name="connsiteY3" fmla="*/ 1969927 h 196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551" h="1969927">
                  <a:moveTo>
                    <a:pt x="0" y="0"/>
                  </a:moveTo>
                  <a:lnTo>
                    <a:pt x="611551" y="0"/>
                  </a:lnTo>
                  <a:lnTo>
                    <a:pt x="611551" y="1969927"/>
                  </a:lnTo>
                  <a:lnTo>
                    <a:pt x="0" y="1969927"/>
                  </a:lnTo>
                  <a:close/>
                </a:path>
              </a:pathLst>
            </a:custGeom>
          </p:spPr>
        </p:pic>
        <p:sp>
          <p:nvSpPr>
            <p:cNvPr id="55" name="矩形 19">
              <a:extLst>
                <a:ext uri="{FF2B5EF4-FFF2-40B4-BE49-F238E27FC236}">
                  <a16:creationId xmlns:a16="http://schemas.microsoft.com/office/drawing/2014/main" id="{939CEECB-DADD-43E4-BBFF-7B5B6226C10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73738" y="8363052"/>
              <a:ext cx="461665" cy="6279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219200" fontAlgn="base">
                <a:lnSpc>
                  <a:spcPct val="150000"/>
                </a:lnSpc>
                <a:spcBef>
                  <a:spcPts val="800"/>
                </a:spcBef>
                <a:spcAft>
                  <a:spcPct val="0"/>
                </a:spcAft>
                <a:buSzPct val="100000"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itchFamily="34" charset="-128"/>
                </a:rPr>
                <a:t>原图</a:t>
              </a:r>
              <a:endPara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endParaRPr>
            </a:p>
            <a:p>
              <a:pPr algn="ctr" defTabSz="1219200" fontAlgn="base">
                <a:lnSpc>
                  <a:spcPct val="150000"/>
                </a:lnSpc>
                <a:spcBef>
                  <a:spcPts val="800"/>
                </a:spcBef>
                <a:spcAft>
                  <a:spcPct val="0"/>
                </a:spcAft>
                <a:buSzPct val="100000"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itchFamily="34" charset="-128"/>
                  <a:sym typeface="+mn-ea"/>
                </a:rPr>
                <a:t>预处理</a:t>
              </a:r>
              <a:endPara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endParaRPr>
            </a:p>
          </p:txBody>
        </p:sp>
        <p:sp>
          <p:nvSpPr>
            <p:cNvPr id="62" name="矩形 19">
              <a:extLst>
                <a:ext uri="{FF2B5EF4-FFF2-40B4-BE49-F238E27FC236}">
                  <a16:creationId xmlns:a16="http://schemas.microsoft.com/office/drawing/2014/main" id="{4AFC44A5-3DAC-4C5F-AAF6-5264EFC9B470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798676" y="8363052"/>
              <a:ext cx="307777" cy="6279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219200" fontAlgn="base">
                <a:lnSpc>
                  <a:spcPct val="150000"/>
                </a:lnSpc>
                <a:spcBef>
                  <a:spcPts val="800"/>
                </a:spcBef>
                <a:spcAft>
                  <a:spcPct val="0"/>
                </a:spcAft>
                <a:buSzPct val="100000"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itchFamily="34" charset="-128"/>
                </a:rPr>
                <a:t>识别</a:t>
              </a:r>
              <a:endPara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endParaRPr>
            </a:p>
            <a:p>
              <a:pPr algn="ctr" defTabSz="1219200" fontAlgn="base">
                <a:lnSpc>
                  <a:spcPct val="150000"/>
                </a:lnSpc>
                <a:spcBef>
                  <a:spcPts val="800"/>
                </a:spcBef>
                <a:spcAft>
                  <a:spcPct val="0"/>
                </a:spcAft>
                <a:buSzPct val="100000"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itchFamily="34" charset="-128"/>
                  <a:sym typeface="+mn-ea"/>
                </a:rPr>
                <a:t>结果</a:t>
              </a:r>
              <a:endParaRPr lang="en-US" altLang="zh-CN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  <a:sym typeface="+mn-ea"/>
              </a:endParaRPr>
            </a:p>
          </p:txBody>
        </p:sp>
        <p:sp>
          <p:nvSpPr>
            <p:cNvPr id="63" name="箭头: 右 62">
              <a:extLst>
                <a:ext uri="{FF2B5EF4-FFF2-40B4-BE49-F238E27FC236}">
                  <a16:creationId xmlns:a16="http://schemas.microsoft.com/office/drawing/2014/main" id="{E88420E3-6C76-4238-B64D-B0EFA251ED2B}"/>
                </a:ext>
              </a:extLst>
            </p:cNvPr>
            <p:cNvSpPr/>
            <p:nvPr/>
          </p:nvSpPr>
          <p:spPr>
            <a:xfrm>
              <a:off x="5160516" y="8619784"/>
              <a:ext cx="710593" cy="152560"/>
            </a:xfrm>
            <a:prstGeom prst="rightArrow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64" name="箭头: 右 63">
              <a:extLst>
                <a:ext uri="{FF2B5EF4-FFF2-40B4-BE49-F238E27FC236}">
                  <a16:creationId xmlns:a16="http://schemas.microsoft.com/office/drawing/2014/main" id="{0D480BFC-AC62-4E24-913A-E8A452EF4F8E}"/>
                </a:ext>
              </a:extLst>
            </p:cNvPr>
            <p:cNvSpPr/>
            <p:nvPr/>
          </p:nvSpPr>
          <p:spPr>
            <a:xfrm>
              <a:off x="6608509" y="8619784"/>
              <a:ext cx="710593" cy="152560"/>
            </a:xfrm>
            <a:prstGeom prst="rightArrow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76226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1">
            <a:extLst>
              <a:ext uri="{FF2B5EF4-FFF2-40B4-BE49-F238E27FC236}">
                <a16:creationId xmlns:a16="http://schemas.microsoft.com/office/drawing/2014/main" id="{44E9D004-F164-4319-9DBA-3646BAEA76E8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半导体-无锡捷普-</a:t>
            </a:r>
            <a:r>
              <a:rPr lang="zh-CN" altLang="zh-CN" sz="3000" b="1" dirty="0">
                <a:solidFill>
                  <a:schemeClr val="tx1"/>
                </a:solidFill>
              </a:rPr>
              <a:t>电路板元器件OCR识别分类</a:t>
            </a:r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6F545B45-F935-44C1-BA97-55CE0369CE33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56A4DFB7-4717-427F-A4F6-A06A21B0B0FF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2EB49A0C-30F2-4E2C-B894-26159759C333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实现分类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不同型号的主板上各种元器件，有的外形完全一样，只能通过字符来确定批次、进行分类</a:t>
            </a:r>
          </a:p>
          <a:p>
            <a:r>
              <a:rPr lang="zh-CN" altLang="zh-CN" dirty="0"/>
              <a:t>来料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面对多类型、来料复杂的情况，传统视觉很难做到实时、准确读取字符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892A26FF-6DA9-411F-9762-37724D454866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039B207C-EDDA-4876-A369-20F8669CA915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F89204E8-6900-4B03-82C9-D2AE74CF581D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  PCB板经过 AOI 检测的NG产品，需要回收上面的元器件，以节省生产成本。现在由人工读取元器件上的26位字符，对比数据库，将其分类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UNH1023068/02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C02BEAA7-F08F-4E51-8862-CD3E31825AC0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9161EB0F-B2A6-4520-B780-E21E3ADB62B5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FF396CBF-D9FE-427D-BDB8-B01F7735B6E5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DECAB90E-6861-4860-A21F-F34D347D2BCD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49" name="矩形: 圆角 48">
              <a:extLst>
                <a:ext uri="{FF2B5EF4-FFF2-40B4-BE49-F238E27FC236}">
                  <a16:creationId xmlns:a16="http://schemas.microsoft.com/office/drawing/2014/main" id="{E5842D16-32F6-470F-847A-B7281E83DDDF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iconfont-11673-5560736">
              <a:extLst>
                <a:ext uri="{FF2B5EF4-FFF2-40B4-BE49-F238E27FC236}">
                  <a16:creationId xmlns:a16="http://schemas.microsoft.com/office/drawing/2014/main" id="{16F49964-2826-4F35-A717-FBEA78F3B3D0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9A8AACBC-0396-45A1-9552-BA3222A3F829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BFF7BA3B-3175-48D0-B333-EC470DC2595C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2070ECBA-179A-4453-B94A-E71B472552FB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cart_155395">
            <a:extLst>
              <a:ext uri="{FF2B5EF4-FFF2-40B4-BE49-F238E27FC236}">
                <a16:creationId xmlns:a16="http://schemas.microsoft.com/office/drawing/2014/main" id="{6F70ABC0-8BD6-4CE7-BAAA-53A31FE01ED5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189">
            <a:extLst>
              <a:ext uri="{FF2B5EF4-FFF2-40B4-BE49-F238E27FC236}">
                <a16:creationId xmlns:a16="http://schemas.microsoft.com/office/drawing/2014/main" id="{F01087BC-94EE-4F5F-A4AB-9931A58CFBD2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90" t="14791" r="14990" b="6378"/>
          <a:stretch/>
        </p:blipFill>
        <p:spPr>
          <a:xfrm>
            <a:off x="8761443" y="1609045"/>
            <a:ext cx="3087658" cy="3086579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4B5EFFAB-8762-4964-BEFC-3A18CD2D825C}"/>
              </a:ext>
            </a:extLst>
          </p:cNvPr>
          <p:cNvGrpSpPr/>
          <p:nvPr/>
        </p:nvGrpSpPr>
        <p:grpSpPr>
          <a:xfrm>
            <a:off x="4695714" y="2103419"/>
            <a:ext cx="3086211" cy="2331877"/>
            <a:chOff x="4474799" y="7551445"/>
            <a:chExt cx="2781899" cy="2331877"/>
          </a:xfrm>
        </p:grpSpPr>
        <p:pic>
          <p:nvPicPr>
            <p:cNvPr id="56" name="图片 55">
              <a:extLst>
                <a:ext uri="{FF2B5EF4-FFF2-40B4-BE49-F238E27FC236}">
                  <a16:creationId xmlns:a16="http://schemas.microsoft.com/office/drawing/2014/main" id="{BAFE019A-FECF-4EA9-8F9D-19E36619A55F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474799" y="7551445"/>
              <a:ext cx="1363796" cy="1141498"/>
            </a:xfrm>
            <a:custGeom>
              <a:avLst/>
              <a:gdLst>
                <a:gd name="connsiteX0" fmla="*/ 0 w 1830988"/>
                <a:gd name="connsiteY0" fmla="*/ 0 h 1532538"/>
                <a:gd name="connsiteX1" fmla="*/ 1830988 w 1830988"/>
                <a:gd name="connsiteY1" fmla="*/ 0 h 1532538"/>
                <a:gd name="connsiteX2" fmla="*/ 1830988 w 1830988"/>
                <a:gd name="connsiteY2" fmla="*/ 1532538 h 1532538"/>
                <a:gd name="connsiteX3" fmla="*/ 0 w 1830988"/>
                <a:gd name="connsiteY3" fmla="*/ 1532538 h 1532538"/>
                <a:gd name="connsiteX4" fmla="*/ 0 w 1830988"/>
                <a:gd name="connsiteY4" fmla="*/ 0 h 153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988" h="1532538">
                  <a:moveTo>
                    <a:pt x="0" y="0"/>
                  </a:moveTo>
                  <a:lnTo>
                    <a:pt x="1830988" y="0"/>
                  </a:lnTo>
                  <a:lnTo>
                    <a:pt x="1830988" y="1532538"/>
                  </a:lnTo>
                  <a:lnTo>
                    <a:pt x="0" y="1532538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9DAE851D-D7BE-4212-A32C-407DE1A01BDE}"/>
                </a:ext>
              </a:extLst>
            </p:cNvPr>
            <p:cNvPicPr/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92902" y="7551445"/>
              <a:ext cx="1363796" cy="1141498"/>
            </a:xfrm>
            <a:custGeom>
              <a:avLst/>
              <a:gdLst>
                <a:gd name="connsiteX0" fmla="*/ 0 w 1830988"/>
                <a:gd name="connsiteY0" fmla="*/ 0 h 1532538"/>
                <a:gd name="connsiteX1" fmla="*/ 1830988 w 1830988"/>
                <a:gd name="connsiteY1" fmla="*/ 0 h 1532538"/>
                <a:gd name="connsiteX2" fmla="*/ 1830988 w 1830988"/>
                <a:gd name="connsiteY2" fmla="*/ 1532538 h 1532538"/>
                <a:gd name="connsiteX3" fmla="*/ 0 w 1830988"/>
                <a:gd name="connsiteY3" fmla="*/ 1532538 h 1532538"/>
                <a:gd name="connsiteX4" fmla="*/ 0 w 1830988"/>
                <a:gd name="connsiteY4" fmla="*/ 0 h 153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988" h="1532538">
                  <a:moveTo>
                    <a:pt x="0" y="0"/>
                  </a:moveTo>
                  <a:lnTo>
                    <a:pt x="1830988" y="0"/>
                  </a:lnTo>
                  <a:lnTo>
                    <a:pt x="1830988" y="1532538"/>
                  </a:lnTo>
                  <a:lnTo>
                    <a:pt x="0" y="1532538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pic>
          <p:nvPicPr>
            <p:cNvPr id="54" name="图片 53">
              <a:extLst>
                <a:ext uri="{FF2B5EF4-FFF2-40B4-BE49-F238E27FC236}">
                  <a16:creationId xmlns:a16="http://schemas.microsoft.com/office/drawing/2014/main" id="{35D27DB5-971D-40F1-9678-AEEBDECF9F40}"/>
                </a:ext>
              </a:extLst>
            </p:cNvPr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474799" y="8741824"/>
              <a:ext cx="1363796" cy="1141498"/>
            </a:xfrm>
            <a:custGeom>
              <a:avLst/>
              <a:gdLst>
                <a:gd name="connsiteX0" fmla="*/ 0 w 1830988"/>
                <a:gd name="connsiteY0" fmla="*/ 0 h 1532538"/>
                <a:gd name="connsiteX1" fmla="*/ 1830988 w 1830988"/>
                <a:gd name="connsiteY1" fmla="*/ 0 h 1532538"/>
                <a:gd name="connsiteX2" fmla="*/ 1830988 w 1830988"/>
                <a:gd name="connsiteY2" fmla="*/ 1532538 h 1532538"/>
                <a:gd name="connsiteX3" fmla="*/ 0 w 1830988"/>
                <a:gd name="connsiteY3" fmla="*/ 1532538 h 1532538"/>
                <a:gd name="connsiteX4" fmla="*/ 0 w 1830988"/>
                <a:gd name="connsiteY4" fmla="*/ 0 h 153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988" h="1532538">
                  <a:moveTo>
                    <a:pt x="0" y="0"/>
                  </a:moveTo>
                  <a:lnTo>
                    <a:pt x="1830988" y="0"/>
                  </a:lnTo>
                  <a:lnTo>
                    <a:pt x="1830988" y="1532538"/>
                  </a:lnTo>
                  <a:lnTo>
                    <a:pt x="0" y="1532538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pic>
          <p:nvPicPr>
            <p:cNvPr id="53" name="图片 52">
              <a:extLst>
                <a:ext uri="{FF2B5EF4-FFF2-40B4-BE49-F238E27FC236}">
                  <a16:creationId xmlns:a16="http://schemas.microsoft.com/office/drawing/2014/main" id="{AF15AF3F-35C3-42F4-9161-8F4D490F2227}"/>
                </a:ext>
              </a:extLst>
            </p:cNvPr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92902" y="8741824"/>
              <a:ext cx="1363796" cy="1141498"/>
            </a:xfrm>
            <a:custGeom>
              <a:avLst/>
              <a:gdLst>
                <a:gd name="connsiteX0" fmla="*/ 0 w 1830988"/>
                <a:gd name="connsiteY0" fmla="*/ 0 h 1532538"/>
                <a:gd name="connsiteX1" fmla="*/ 1830988 w 1830988"/>
                <a:gd name="connsiteY1" fmla="*/ 0 h 1532538"/>
                <a:gd name="connsiteX2" fmla="*/ 1830988 w 1830988"/>
                <a:gd name="connsiteY2" fmla="*/ 1532538 h 1532538"/>
                <a:gd name="connsiteX3" fmla="*/ 0 w 1830988"/>
                <a:gd name="connsiteY3" fmla="*/ 1532538 h 1532538"/>
                <a:gd name="connsiteX4" fmla="*/ 0 w 1830988"/>
                <a:gd name="connsiteY4" fmla="*/ 0 h 153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988" h="1532538">
                  <a:moveTo>
                    <a:pt x="0" y="0"/>
                  </a:moveTo>
                  <a:lnTo>
                    <a:pt x="1830988" y="0"/>
                  </a:lnTo>
                  <a:lnTo>
                    <a:pt x="1830988" y="1532538"/>
                  </a:lnTo>
                  <a:lnTo>
                    <a:pt x="0" y="1532538"/>
                  </a:lnTo>
                  <a:lnTo>
                    <a:pt x="0" y="0"/>
                  </a:lnTo>
                  <a:close/>
                </a:path>
              </a:pathLst>
            </a:custGeom>
          </p:spPr>
        </p:pic>
      </p:grpSp>
      <p:sp>
        <p:nvSpPr>
          <p:cNvPr id="80" name="文本框 79">
            <a:extLst>
              <a:ext uri="{FF2B5EF4-FFF2-40B4-BE49-F238E27FC236}">
                <a16:creationId xmlns:a16="http://schemas.microsoft.com/office/drawing/2014/main" id="{B5C6E164-1F34-4C27-AEE6-89DA1D23414E}"/>
              </a:ext>
            </a:extLst>
          </p:cNvPr>
          <p:cNvSpPr txBox="1"/>
          <p:nvPr/>
        </p:nvSpPr>
        <p:spPr>
          <a:xfrm>
            <a:off x="410073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产线</a:t>
            </a:r>
            <a:r>
              <a:rPr lang="zh-CN" altLang="en-US" dirty="0"/>
              <a:t>导入</a:t>
            </a:r>
            <a:endParaRPr lang="en-US" altLang="zh-CN" dirty="0"/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37EC0E68-8277-40BD-96CA-63EC7BFE6BE3}"/>
              </a:ext>
            </a:extLst>
          </p:cNvPr>
          <p:cNvSpPr txBox="1"/>
          <p:nvPr/>
        </p:nvSpPr>
        <p:spPr>
          <a:xfrm>
            <a:off x="410073" y="5512592"/>
            <a:ext cx="2031325" cy="646331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在客户现有的产线基础上</a:t>
            </a:r>
            <a:endParaRPr lang="en-US" altLang="zh-CN" dirty="0"/>
          </a:p>
          <a:p>
            <a:r>
              <a:rPr lang="zh-CN" altLang="zh-CN" dirty="0"/>
              <a:t>添加半自动化字符识别工位</a:t>
            </a:r>
            <a:endParaRPr lang="en-US" altLang="zh-CN" dirty="0"/>
          </a:p>
          <a:p>
            <a:r>
              <a:rPr lang="zh-CN" altLang="zh-CN" dirty="0"/>
              <a:t>不影响原有的生产流程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07D91738-8BE9-4328-BF96-D2DDDF545F48}"/>
              </a:ext>
            </a:extLst>
          </p:cNvPr>
          <p:cNvSpPr txBox="1"/>
          <p:nvPr/>
        </p:nvSpPr>
        <p:spPr>
          <a:xfrm>
            <a:off x="2847746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取代</a:t>
            </a:r>
            <a:endParaRPr lang="en-GB" altLang="zh-CN" dirty="0"/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709E0A64-63D5-4C05-8002-2B0001865E24}"/>
              </a:ext>
            </a:extLst>
          </p:cNvPr>
          <p:cNvSpPr txBox="1"/>
          <p:nvPr/>
        </p:nvSpPr>
        <p:spPr>
          <a:xfrm>
            <a:off x="2847746" y="5512592"/>
            <a:ext cx="2802370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原人工看字符，需要</a:t>
            </a:r>
            <a:r>
              <a:rPr lang="en-US" altLang="zh-CN" dirty="0"/>
              <a:t>6</a:t>
            </a:r>
            <a:r>
              <a:rPr lang="zh-CN" altLang="zh-CN" dirty="0"/>
              <a:t>人</a:t>
            </a:r>
            <a:r>
              <a:rPr lang="en-US" altLang="zh-CN" dirty="0"/>
              <a:t>/</a:t>
            </a:r>
            <a:r>
              <a:rPr lang="zh-CN" altLang="zh-CN" dirty="0"/>
              <a:t>班次</a:t>
            </a:r>
            <a:endParaRPr lang="en-US" altLang="zh-CN" dirty="0"/>
          </a:p>
          <a:p>
            <a:r>
              <a:rPr lang="zh-CN" altLang="zh-CN" dirty="0"/>
              <a:t>现采用半自动化读码，仅需要</a:t>
            </a:r>
            <a:r>
              <a:rPr lang="en-US" altLang="zh-CN" dirty="0"/>
              <a:t>1</a:t>
            </a:r>
            <a:r>
              <a:rPr lang="zh-CN" altLang="zh-CN" dirty="0"/>
              <a:t>人</a:t>
            </a:r>
            <a:r>
              <a:rPr lang="en-US" altLang="zh-CN" dirty="0"/>
              <a:t>/</a:t>
            </a:r>
            <a:r>
              <a:rPr lang="zh-CN" altLang="zh-CN" dirty="0"/>
              <a:t>班次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613196E6-F0D4-47DD-9FF5-F9A3D52EBCD4}"/>
              </a:ext>
            </a:extLst>
          </p:cNvPr>
          <p:cNvSpPr txBox="1"/>
          <p:nvPr/>
        </p:nvSpPr>
        <p:spPr>
          <a:xfrm>
            <a:off x="6056135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效率提高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B0E92D22-6836-4777-8D5E-8FF0D2157F55}"/>
              </a:ext>
            </a:extLst>
          </p:cNvPr>
          <p:cNvSpPr txBox="1"/>
          <p:nvPr/>
        </p:nvSpPr>
        <p:spPr>
          <a:xfrm>
            <a:off x="6056135" y="5512592"/>
            <a:ext cx="2747868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原人工读取，每天读取</a:t>
            </a:r>
            <a:r>
              <a:rPr lang="en-US" altLang="zh-CN" dirty="0"/>
              <a:t>8000+</a:t>
            </a:r>
            <a:r>
              <a:rPr lang="zh-CN" altLang="zh-CN" dirty="0"/>
              <a:t>片</a:t>
            </a:r>
            <a:endParaRPr lang="en-US" altLang="zh-CN" dirty="0"/>
          </a:p>
          <a:p>
            <a:r>
              <a:rPr lang="zh-CN" altLang="zh-CN" dirty="0"/>
              <a:t>现采用</a:t>
            </a:r>
            <a:r>
              <a:rPr lang="en-GB" altLang="zh-CN" dirty="0"/>
              <a:t>AI</a:t>
            </a:r>
            <a:r>
              <a:rPr lang="zh-CN" altLang="zh-CN" dirty="0"/>
              <a:t>读字符，每天可读</a:t>
            </a:r>
            <a:r>
              <a:rPr lang="en-US" altLang="zh-CN" dirty="0"/>
              <a:t>50000+</a:t>
            </a:r>
            <a:r>
              <a:rPr lang="zh-CN" altLang="zh-CN" dirty="0"/>
              <a:t>片</a:t>
            </a: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39B8F5BA-07B7-4362-B287-57EC06A7B67B}"/>
              </a:ext>
            </a:extLst>
          </p:cNvPr>
          <p:cNvSpPr txBox="1"/>
          <p:nvPr/>
        </p:nvSpPr>
        <p:spPr>
          <a:xfrm>
            <a:off x="9183762" y="5098661"/>
            <a:ext cx="1723549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准确率提高</a:t>
            </a:r>
            <a:endParaRPr lang="en-GB" altLang="zh-CN" dirty="0"/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FFA2EC9A-0FE7-45B0-A837-42254C18ADC5}"/>
              </a:ext>
            </a:extLst>
          </p:cNvPr>
          <p:cNvSpPr txBox="1"/>
          <p:nvPr/>
        </p:nvSpPr>
        <p:spPr>
          <a:xfrm>
            <a:off x="9183763" y="5512592"/>
            <a:ext cx="2747868" cy="830997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人工读取，存在工作疲劳，时间长了容易出现读错，正确率</a:t>
            </a:r>
            <a:r>
              <a:rPr lang="en-US" altLang="zh-CN" dirty="0"/>
              <a:t>95%</a:t>
            </a:r>
            <a:r>
              <a:rPr lang="zh-CN" altLang="en-US" dirty="0"/>
              <a:t>，为后续的生产带来非常大的隐患</a:t>
            </a:r>
            <a:br>
              <a:rPr lang="en-US" altLang="zh-CN" dirty="0"/>
            </a:br>
            <a:r>
              <a:rPr lang="en-GB" altLang="zh-CN" dirty="0"/>
              <a:t>AI</a:t>
            </a:r>
            <a:r>
              <a:rPr lang="zh-CN" altLang="en-US" dirty="0"/>
              <a:t>读取的正确率传达到</a:t>
            </a:r>
            <a:r>
              <a:rPr lang="en-US" altLang="zh-CN" dirty="0"/>
              <a:t>99.9%</a:t>
            </a:r>
            <a:r>
              <a:rPr lang="zh-CN" altLang="en-US" dirty="0"/>
              <a:t>以上</a:t>
            </a:r>
          </a:p>
        </p:txBody>
      </p:sp>
    </p:spTree>
    <p:extLst>
      <p:ext uri="{BB962C8B-B14F-4D97-AF65-F5344CB8AC3E}">
        <p14:creationId xmlns:p14="http://schemas.microsoft.com/office/powerpoint/2010/main" val="48266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091C12E6-B2D3-4A64-ACAD-1871F177BB51}"/>
              </a:ext>
            </a:extLst>
          </p:cNvPr>
          <p:cNvSpPr/>
          <p:nvPr/>
        </p:nvSpPr>
        <p:spPr>
          <a:xfrm>
            <a:off x="0" y="4905828"/>
            <a:ext cx="12192000" cy="1952171"/>
          </a:xfrm>
          <a:prstGeom prst="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913A404B-732E-4FB6-BADB-672A3C5831F5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n-ea"/>
                <a:cs typeface="+mj-cs"/>
              </a:defRPr>
            </a:lvl1pPr>
          </a:lstStyle>
          <a:p>
            <a:r>
              <a:rPr lang="zh-CN" altLang="en-US" dirty="0"/>
              <a:t>工业 </a:t>
            </a:r>
            <a:r>
              <a:rPr lang="en-US" altLang="zh-CN" dirty="0"/>
              <a:t>OCR </a:t>
            </a:r>
            <a:r>
              <a:rPr lang="zh-CN" altLang="en-US" dirty="0"/>
              <a:t>字符识别挑战</a:t>
            </a:r>
          </a:p>
        </p:txBody>
      </p:sp>
      <p:pic>
        <p:nvPicPr>
          <p:cNvPr id="25" name="图片 24" descr="图片包含 人, 室内, 病房, 男人&#10;&#10;描述已自动生成">
            <a:extLst>
              <a:ext uri="{FF2B5EF4-FFF2-40B4-BE49-F238E27FC236}">
                <a16:creationId xmlns:a16="http://schemas.microsoft.com/office/drawing/2014/main" id="{B5691483-1926-4C18-9B3F-610D2AD97B92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70" t="479" r="8737" b="-1"/>
          <a:stretch/>
        </p:blipFill>
        <p:spPr>
          <a:xfrm flipH="1">
            <a:off x="6634939" y="1442356"/>
            <a:ext cx="4128311" cy="4823626"/>
          </a:xfrm>
          <a:prstGeom prst="roundRect">
            <a:avLst>
              <a:gd name="adj" fmla="val 246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28" name="图片 27" descr="图片包含 集装箱, 游戏机, 电路, 绿色&#10;&#10;描述已自动生成">
            <a:extLst>
              <a:ext uri="{FF2B5EF4-FFF2-40B4-BE49-F238E27FC236}">
                <a16:creationId xmlns:a16="http://schemas.microsoft.com/office/drawing/2014/main" id="{6ACB4DA2-92B9-4ABD-A15B-E65DF5250C8A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7" t="15562" r="42325"/>
          <a:stretch/>
        </p:blipFill>
        <p:spPr>
          <a:xfrm>
            <a:off x="1428750" y="1442356"/>
            <a:ext cx="4128311" cy="4823626"/>
          </a:xfrm>
          <a:prstGeom prst="roundRect">
            <a:avLst>
              <a:gd name="adj" fmla="val 246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40C308DC-7558-4C43-98B6-B63B142160D9}"/>
              </a:ext>
            </a:extLst>
          </p:cNvPr>
          <p:cNvSpPr/>
          <p:nvPr/>
        </p:nvSpPr>
        <p:spPr>
          <a:xfrm>
            <a:off x="1428750" y="1442356"/>
            <a:ext cx="4128311" cy="4823626"/>
          </a:xfrm>
          <a:prstGeom prst="roundRect">
            <a:avLst>
              <a:gd name="adj" fmla="val 2364"/>
            </a:avLst>
          </a:prstGeom>
          <a:solidFill>
            <a:schemeClr val="accent1">
              <a:alpha val="94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37811612-8FEA-43ED-A454-EC1C3CBD6204}"/>
              </a:ext>
            </a:extLst>
          </p:cNvPr>
          <p:cNvSpPr/>
          <p:nvPr/>
        </p:nvSpPr>
        <p:spPr>
          <a:xfrm>
            <a:off x="6634939" y="1442356"/>
            <a:ext cx="4128311" cy="4823626"/>
          </a:xfrm>
          <a:prstGeom prst="roundRect">
            <a:avLst>
              <a:gd name="adj" fmla="val 2364"/>
            </a:avLst>
          </a:prstGeom>
          <a:solidFill>
            <a:schemeClr val="accent2">
              <a:alpha val="94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E5272A22-EF38-4154-9F24-7806745D56DB}"/>
              </a:ext>
            </a:extLst>
          </p:cNvPr>
          <p:cNvSpPr/>
          <p:nvPr/>
        </p:nvSpPr>
        <p:spPr>
          <a:xfrm>
            <a:off x="2723464" y="2559607"/>
            <a:ext cx="1538883" cy="70737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defTabSz="825500" hangingPunct="0">
              <a:lnSpc>
                <a:spcPct val="120000"/>
              </a:lnSpc>
            </a:pPr>
            <a:r>
              <a:rPr lang="zh-CN" altLang="en-US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极限场景</a:t>
            </a:r>
            <a:br>
              <a:rPr lang="en-US" altLang="zh-CN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</a:br>
            <a:r>
              <a:rPr lang="zh-CN" altLang="en-US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人工无法检测</a:t>
            </a:r>
            <a:endParaRPr lang="en-US" altLang="zh-CN" sz="2000" b="1" dirty="0">
              <a:solidFill>
                <a:schemeClr val="bg1"/>
              </a:solidFill>
              <a:effectLst>
                <a:outerShdw blurRad="25400" dist="254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EB4D4D1C-CC3C-437F-B9FF-6CFB9F744FAA}"/>
              </a:ext>
            </a:extLst>
          </p:cNvPr>
          <p:cNvSpPr/>
          <p:nvPr/>
        </p:nvSpPr>
        <p:spPr>
          <a:xfrm>
            <a:off x="1428750" y="3863983"/>
            <a:ext cx="4128311" cy="160620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825500" hangingPunct="0">
              <a:lnSpc>
                <a:spcPct val="120000"/>
              </a:lnSpc>
              <a:spcBef>
                <a:spcPts val="12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检测目标过大</a:t>
            </a:r>
            <a:r>
              <a:rPr lang="en-US" altLang="zh-CN" sz="1600" dirty="0">
                <a:solidFill>
                  <a:schemeClr val="bg1"/>
                </a:solidFill>
                <a:latin typeface="+mn-ea"/>
              </a:rPr>
              <a:t>/</a:t>
            </a: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过小</a:t>
            </a:r>
            <a:br>
              <a:rPr lang="en-US" altLang="zh-CN" sz="1600" dirty="0">
                <a:solidFill>
                  <a:schemeClr val="bg1"/>
                </a:solidFill>
                <a:latin typeface="+mn-ea"/>
              </a:rPr>
            </a:b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人工无法检测</a:t>
            </a:r>
            <a:endParaRPr lang="en-US" altLang="zh-CN" sz="1600" dirty="0">
              <a:solidFill>
                <a:schemeClr val="bg1"/>
              </a:solidFill>
              <a:latin typeface="+mn-ea"/>
            </a:endParaRPr>
          </a:p>
          <a:p>
            <a:pPr algn="ctr" defTabSz="825500" hangingPunct="0">
              <a:lnSpc>
                <a:spcPct val="120000"/>
              </a:lnSpc>
              <a:spcBef>
                <a:spcPts val="12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产量大附加值低产品</a:t>
            </a:r>
            <a:br>
              <a:rPr lang="en-US" altLang="zh-CN" sz="1600" dirty="0">
                <a:solidFill>
                  <a:schemeClr val="bg1"/>
                </a:solidFill>
                <a:latin typeface="+mn-ea"/>
              </a:rPr>
            </a:b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人工检测成本大</a:t>
            </a:r>
            <a:br>
              <a:rPr lang="en-US" altLang="zh-CN" sz="1600" dirty="0">
                <a:solidFill>
                  <a:schemeClr val="bg1"/>
                </a:solidFill>
                <a:latin typeface="+mn-ea"/>
              </a:rPr>
            </a:br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导致不检测</a:t>
            </a:r>
            <a:endParaRPr lang="en-US" sz="160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1E1ABC20-9136-47BD-9070-C92FDA45E1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511135"/>
            <a:ext cx="1277457" cy="130965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EDD526EC-3041-453E-AEB5-73B2FA03667F}"/>
              </a:ext>
            </a:extLst>
          </p:cNvPr>
          <p:cNvSpPr txBox="1"/>
          <p:nvPr/>
        </p:nvSpPr>
        <p:spPr>
          <a:xfrm>
            <a:off x="11596154" y="6452595"/>
            <a:ext cx="3642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27F0D3D-B955-42F4-8740-8DDE262D89C6}" type="slidenum">
              <a:rPr lang="zh-CN" altLang="en-US" sz="105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fld>
            <a:endParaRPr lang="zh-CN" altLang="en-US" sz="105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24">
            <a:extLst>
              <a:ext uri="{FF2B5EF4-FFF2-40B4-BE49-F238E27FC236}">
                <a16:creationId xmlns:a16="http://schemas.microsoft.com/office/drawing/2014/main" id="{7F9C9736-AD62-4D47-9CE0-8D578D49D225}"/>
              </a:ext>
            </a:extLst>
          </p:cNvPr>
          <p:cNvSpPr/>
          <p:nvPr/>
        </p:nvSpPr>
        <p:spPr>
          <a:xfrm>
            <a:off x="7929653" y="2559607"/>
            <a:ext cx="1538883" cy="70737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defTabSz="825500" hangingPunct="0">
              <a:lnSpc>
                <a:spcPct val="120000"/>
              </a:lnSpc>
            </a:pPr>
            <a:r>
              <a:rPr lang="zh-CN" altLang="en-US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sym typeface="Helvetica Neue Medium"/>
              </a:rPr>
              <a:t>人工检测</a:t>
            </a:r>
            <a:br>
              <a:rPr lang="en-US" altLang="zh-CN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sym typeface="Helvetica Neue Medium"/>
              </a:rPr>
            </a:br>
            <a:r>
              <a:rPr lang="zh-CN" altLang="en-US" sz="2000" b="1" dirty="0">
                <a:solidFill>
                  <a:schemeClr val="bg1"/>
                </a:solidFill>
                <a:effectLst>
                  <a:outerShdw blurRad="25400" dist="254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sym typeface="Helvetica Neue Medium"/>
              </a:rPr>
              <a:t>高投入低产出</a:t>
            </a:r>
            <a:endParaRPr lang="en-US" altLang="zh-CN" sz="2000" b="1" dirty="0">
              <a:solidFill>
                <a:schemeClr val="bg1"/>
              </a:solidFill>
              <a:effectLst>
                <a:outerShdw blurRad="25400" dist="25400" dir="2700000" algn="tl">
                  <a:srgbClr val="000000">
                    <a:alpha val="43137"/>
                  </a:srgbClr>
                </a:outerShdw>
              </a:effectLst>
              <a:latin typeface="+mn-ea"/>
              <a:sym typeface="Helvetica Neue Medium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33FC4AB8-6959-4A91-ACEC-749F8A90EC13}"/>
              </a:ext>
            </a:extLst>
          </p:cNvPr>
          <p:cNvSpPr/>
          <p:nvPr/>
        </p:nvSpPr>
        <p:spPr>
          <a:xfrm>
            <a:off x="6634939" y="3863983"/>
            <a:ext cx="4128311" cy="11691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825500" hangingPunct="0">
              <a:lnSpc>
                <a:spcPct val="120000"/>
              </a:lnSpc>
              <a:spcBef>
                <a:spcPts val="12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+mn-ea"/>
                <a:sym typeface="Helvetica Neue Medium"/>
              </a:rPr>
              <a:t>人力成本高，招人困难</a:t>
            </a:r>
            <a:endParaRPr lang="en-US" altLang="zh-CN" sz="1600" dirty="0">
              <a:solidFill>
                <a:schemeClr val="bg1"/>
              </a:solidFill>
              <a:latin typeface="+mn-ea"/>
              <a:sym typeface="Helvetica Neue Medium"/>
            </a:endParaRPr>
          </a:p>
          <a:p>
            <a:pPr algn="ctr" defTabSz="825500" hangingPunct="0">
              <a:lnSpc>
                <a:spcPct val="120000"/>
              </a:lnSpc>
              <a:spcBef>
                <a:spcPts val="12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+mn-ea"/>
                <a:sym typeface="Helvetica Neue Medium"/>
              </a:rPr>
              <a:t>人工效率低，无法 </a:t>
            </a:r>
            <a:r>
              <a:rPr lang="en-US" altLang="zh-CN" sz="1600" dirty="0">
                <a:solidFill>
                  <a:schemeClr val="bg1"/>
                </a:solidFill>
                <a:latin typeface="+mn-ea"/>
                <a:sym typeface="Helvetica Neue Medium"/>
              </a:rPr>
              <a:t>7*24 </a:t>
            </a:r>
            <a:r>
              <a:rPr lang="zh-CN" altLang="en-US" sz="1600" dirty="0">
                <a:solidFill>
                  <a:schemeClr val="bg1"/>
                </a:solidFill>
                <a:latin typeface="+mn-ea"/>
                <a:sym typeface="Helvetica Neue Medium"/>
              </a:rPr>
              <a:t>满负高效工作</a:t>
            </a:r>
            <a:endParaRPr lang="en-US" altLang="zh-CN" sz="1600" dirty="0">
              <a:solidFill>
                <a:schemeClr val="bg1"/>
              </a:solidFill>
              <a:latin typeface="+mn-ea"/>
              <a:sym typeface="Helvetica Neue Medium"/>
            </a:endParaRPr>
          </a:p>
          <a:p>
            <a:pPr algn="ctr" defTabSz="825500" hangingPunct="0">
              <a:lnSpc>
                <a:spcPct val="120000"/>
              </a:lnSpc>
              <a:spcBef>
                <a:spcPts val="12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+mn-ea"/>
                <a:sym typeface="Helvetica Neue Medium"/>
              </a:rPr>
              <a:t>检测物复杂，导致人工识别准确率低</a:t>
            </a: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CBB72F0-9F06-4007-842F-9C3391647ABA}"/>
              </a:ext>
            </a:extLst>
          </p:cNvPr>
          <p:cNvCxnSpPr>
            <a:cxnSpLocks/>
          </p:cNvCxnSpPr>
          <p:nvPr/>
        </p:nvCxnSpPr>
        <p:spPr>
          <a:xfrm>
            <a:off x="3042905" y="3454854"/>
            <a:ext cx="900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EF0E26F0-CC77-4AD7-97E3-DBAAF874DC33}"/>
              </a:ext>
            </a:extLst>
          </p:cNvPr>
          <p:cNvCxnSpPr>
            <a:cxnSpLocks/>
          </p:cNvCxnSpPr>
          <p:nvPr/>
        </p:nvCxnSpPr>
        <p:spPr>
          <a:xfrm>
            <a:off x="8249094" y="3454854"/>
            <a:ext cx="900000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>
            <a:extLst>
              <a:ext uri="{FF2B5EF4-FFF2-40B4-BE49-F238E27FC236}">
                <a16:creationId xmlns:a16="http://schemas.microsoft.com/office/drawing/2014/main" id="{EA98665A-151D-4641-BAE2-1ED27FC6AD7C}"/>
              </a:ext>
            </a:extLst>
          </p:cNvPr>
          <p:cNvGrpSpPr/>
          <p:nvPr/>
        </p:nvGrpSpPr>
        <p:grpSpPr>
          <a:xfrm>
            <a:off x="3269068" y="1846263"/>
            <a:ext cx="447674" cy="447674"/>
            <a:chOff x="3235730" y="1790700"/>
            <a:chExt cx="514350" cy="514350"/>
          </a:xfrm>
        </p:grpSpPr>
        <p:sp>
          <p:nvSpPr>
            <p:cNvPr id="22" name="container_155398">
              <a:extLst>
                <a:ext uri="{FF2B5EF4-FFF2-40B4-BE49-F238E27FC236}">
                  <a16:creationId xmlns:a16="http://schemas.microsoft.com/office/drawing/2014/main" id="{950DC498-6B08-4EB3-9EC0-3A10558B7B9C}"/>
                </a:ext>
              </a:extLst>
            </p:cNvPr>
            <p:cNvSpPr/>
            <p:nvPr/>
          </p:nvSpPr>
          <p:spPr>
            <a:xfrm>
              <a:off x="3361752" y="1916906"/>
              <a:ext cx="262306" cy="261938"/>
            </a:xfrm>
            <a:custGeom>
              <a:avLst/>
              <a:gdLst>
                <a:gd name="connsiteX0" fmla="*/ 496009 w 607614"/>
                <a:gd name="connsiteY0" fmla="*/ 505878 h 606761"/>
                <a:gd name="connsiteX1" fmla="*/ 516478 w 607614"/>
                <a:gd name="connsiteY1" fmla="*/ 505878 h 606761"/>
                <a:gd name="connsiteX2" fmla="*/ 516478 w 607614"/>
                <a:gd name="connsiteY2" fmla="*/ 525616 h 606761"/>
                <a:gd name="connsiteX3" fmla="*/ 496009 w 607614"/>
                <a:gd name="connsiteY3" fmla="*/ 525616 h 606761"/>
                <a:gd name="connsiteX4" fmla="*/ 455680 w 607614"/>
                <a:gd name="connsiteY4" fmla="*/ 505878 h 606761"/>
                <a:gd name="connsiteX5" fmla="*/ 476271 w 607614"/>
                <a:gd name="connsiteY5" fmla="*/ 505878 h 606761"/>
                <a:gd name="connsiteX6" fmla="*/ 476271 w 607614"/>
                <a:gd name="connsiteY6" fmla="*/ 525616 h 606761"/>
                <a:gd name="connsiteX7" fmla="*/ 455680 w 607614"/>
                <a:gd name="connsiteY7" fmla="*/ 525616 h 606761"/>
                <a:gd name="connsiteX8" fmla="*/ 415473 w 607614"/>
                <a:gd name="connsiteY8" fmla="*/ 505878 h 606761"/>
                <a:gd name="connsiteX9" fmla="*/ 435211 w 607614"/>
                <a:gd name="connsiteY9" fmla="*/ 505878 h 606761"/>
                <a:gd name="connsiteX10" fmla="*/ 435211 w 607614"/>
                <a:gd name="connsiteY10" fmla="*/ 525616 h 606761"/>
                <a:gd name="connsiteX11" fmla="*/ 415473 w 607614"/>
                <a:gd name="connsiteY11" fmla="*/ 525616 h 606761"/>
                <a:gd name="connsiteX12" fmla="*/ 374413 w 607614"/>
                <a:gd name="connsiteY12" fmla="*/ 505878 h 606761"/>
                <a:gd name="connsiteX13" fmla="*/ 395004 w 607614"/>
                <a:gd name="connsiteY13" fmla="*/ 505878 h 606761"/>
                <a:gd name="connsiteX14" fmla="*/ 395004 w 607614"/>
                <a:gd name="connsiteY14" fmla="*/ 525616 h 606761"/>
                <a:gd name="connsiteX15" fmla="*/ 374413 w 607614"/>
                <a:gd name="connsiteY15" fmla="*/ 525616 h 606761"/>
                <a:gd name="connsiteX16" fmla="*/ 334206 w 607614"/>
                <a:gd name="connsiteY16" fmla="*/ 505878 h 606761"/>
                <a:gd name="connsiteX17" fmla="*/ 354675 w 607614"/>
                <a:gd name="connsiteY17" fmla="*/ 505878 h 606761"/>
                <a:gd name="connsiteX18" fmla="*/ 354675 w 607614"/>
                <a:gd name="connsiteY18" fmla="*/ 525616 h 606761"/>
                <a:gd name="connsiteX19" fmla="*/ 334206 w 607614"/>
                <a:gd name="connsiteY19" fmla="*/ 525616 h 606761"/>
                <a:gd name="connsiteX20" fmla="*/ 293999 w 607614"/>
                <a:gd name="connsiteY20" fmla="*/ 505878 h 606761"/>
                <a:gd name="connsiteX21" fmla="*/ 313737 w 607614"/>
                <a:gd name="connsiteY21" fmla="*/ 505878 h 606761"/>
                <a:gd name="connsiteX22" fmla="*/ 313737 w 607614"/>
                <a:gd name="connsiteY22" fmla="*/ 525616 h 606761"/>
                <a:gd name="connsiteX23" fmla="*/ 293999 w 607614"/>
                <a:gd name="connsiteY23" fmla="*/ 525616 h 606761"/>
                <a:gd name="connsiteX24" fmla="*/ 496009 w 607614"/>
                <a:gd name="connsiteY24" fmla="*/ 464940 h 606761"/>
                <a:gd name="connsiteX25" fmla="*/ 516478 w 607614"/>
                <a:gd name="connsiteY25" fmla="*/ 464940 h 606761"/>
                <a:gd name="connsiteX26" fmla="*/ 516478 w 607614"/>
                <a:gd name="connsiteY26" fmla="*/ 485409 h 606761"/>
                <a:gd name="connsiteX27" fmla="*/ 496009 w 607614"/>
                <a:gd name="connsiteY27" fmla="*/ 485409 h 606761"/>
                <a:gd name="connsiteX28" fmla="*/ 455680 w 607614"/>
                <a:gd name="connsiteY28" fmla="*/ 464940 h 606761"/>
                <a:gd name="connsiteX29" fmla="*/ 476271 w 607614"/>
                <a:gd name="connsiteY29" fmla="*/ 464940 h 606761"/>
                <a:gd name="connsiteX30" fmla="*/ 476271 w 607614"/>
                <a:gd name="connsiteY30" fmla="*/ 485409 h 606761"/>
                <a:gd name="connsiteX31" fmla="*/ 455680 w 607614"/>
                <a:gd name="connsiteY31" fmla="*/ 485409 h 606761"/>
                <a:gd name="connsiteX32" fmla="*/ 415473 w 607614"/>
                <a:gd name="connsiteY32" fmla="*/ 464940 h 606761"/>
                <a:gd name="connsiteX33" fmla="*/ 435211 w 607614"/>
                <a:gd name="connsiteY33" fmla="*/ 464940 h 606761"/>
                <a:gd name="connsiteX34" fmla="*/ 435211 w 607614"/>
                <a:gd name="connsiteY34" fmla="*/ 485409 h 606761"/>
                <a:gd name="connsiteX35" fmla="*/ 415473 w 607614"/>
                <a:gd name="connsiteY35" fmla="*/ 485409 h 606761"/>
                <a:gd name="connsiteX36" fmla="*/ 374413 w 607614"/>
                <a:gd name="connsiteY36" fmla="*/ 464940 h 606761"/>
                <a:gd name="connsiteX37" fmla="*/ 395004 w 607614"/>
                <a:gd name="connsiteY37" fmla="*/ 464940 h 606761"/>
                <a:gd name="connsiteX38" fmla="*/ 395004 w 607614"/>
                <a:gd name="connsiteY38" fmla="*/ 485409 h 606761"/>
                <a:gd name="connsiteX39" fmla="*/ 374413 w 607614"/>
                <a:gd name="connsiteY39" fmla="*/ 485409 h 606761"/>
                <a:gd name="connsiteX40" fmla="*/ 334206 w 607614"/>
                <a:gd name="connsiteY40" fmla="*/ 464940 h 606761"/>
                <a:gd name="connsiteX41" fmla="*/ 354675 w 607614"/>
                <a:gd name="connsiteY41" fmla="*/ 464940 h 606761"/>
                <a:gd name="connsiteX42" fmla="*/ 354675 w 607614"/>
                <a:gd name="connsiteY42" fmla="*/ 485409 h 606761"/>
                <a:gd name="connsiteX43" fmla="*/ 334206 w 607614"/>
                <a:gd name="connsiteY43" fmla="*/ 485409 h 606761"/>
                <a:gd name="connsiteX44" fmla="*/ 293999 w 607614"/>
                <a:gd name="connsiteY44" fmla="*/ 464940 h 606761"/>
                <a:gd name="connsiteX45" fmla="*/ 313737 w 607614"/>
                <a:gd name="connsiteY45" fmla="*/ 464940 h 606761"/>
                <a:gd name="connsiteX46" fmla="*/ 313737 w 607614"/>
                <a:gd name="connsiteY46" fmla="*/ 485409 h 606761"/>
                <a:gd name="connsiteX47" fmla="*/ 293999 w 607614"/>
                <a:gd name="connsiteY47" fmla="*/ 485409 h 606761"/>
                <a:gd name="connsiteX48" fmla="*/ 212665 w 607614"/>
                <a:gd name="connsiteY48" fmla="*/ 364057 h 606761"/>
                <a:gd name="connsiteX49" fmla="*/ 212665 w 607614"/>
                <a:gd name="connsiteY49" fmla="*/ 586283 h 606761"/>
                <a:gd name="connsiteX50" fmla="*/ 293933 w 607614"/>
                <a:gd name="connsiteY50" fmla="*/ 586283 h 606761"/>
                <a:gd name="connsiteX51" fmla="*/ 293933 w 607614"/>
                <a:gd name="connsiteY51" fmla="*/ 546085 h 606761"/>
                <a:gd name="connsiteX52" fmla="*/ 313681 w 607614"/>
                <a:gd name="connsiteY52" fmla="*/ 546085 h 606761"/>
                <a:gd name="connsiteX53" fmla="*/ 313681 w 607614"/>
                <a:gd name="connsiteY53" fmla="*/ 586283 h 606761"/>
                <a:gd name="connsiteX54" fmla="*/ 394949 w 607614"/>
                <a:gd name="connsiteY54" fmla="*/ 586283 h 606761"/>
                <a:gd name="connsiteX55" fmla="*/ 394949 w 607614"/>
                <a:gd name="connsiteY55" fmla="*/ 546085 h 606761"/>
                <a:gd name="connsiteX56" fmla="*/ 415456 w 607614"/>
                <a:gd name="connsiteY56" fmla="*/ 546085 h 606761"/>
                <a:gd name="connsiteX57" fmla="*/ 415456 w 607614"/>
                <a:gd name="connsiteY57" fmla="*/ 586283 h 606761"/>
                <a:gd name="connsiteX58" fmla="*/ 495965 w 607614"/>
                <a:gd name="connsiteY58" fmla="*/ 586283 h 606761"/>
                <a:gd name="connsiteX59" fmla="*/ 495965 w 607614"/>
                <a:gd name="connsiteY59" fmla="*/ 546085 h 606761"/>
                <a:gd name="connsiteX60" fmla="*/ 516472 w 607614"/>
                <a:gd name="connsiteY60" fmla="*/ 546085 h 606761"/>
                <a:gd name="connsiteX61" fmla="*/ 516472 w 607614"/>
                <a:gd name="connsiteY61" fmla="*/ 586283 h 606761"/>
                <a:gd name="connsiteX62" fmla="*/ 587107 w 607614"/>
                <a:gd name="connsiteY62" fmla="*/ 586283 h 606761"/>
                <a:gd name="connsiteX63" fmla="*/ 587107 w 607614"/>
                <a:gd name="connsiteY63" fmla="*/ 364057 h 606761"/>
                <a:gd name="connsiteX64" fmla="*/ 516472 w 607614"/>
                <a:gd name="connsiteY64" fmla="*/ 364057 h 606761"/>
                <a:gd name="connsiteX65" fmla="*/ 516472 w 607614"/>
                <a:gd name="connsiteY65" fmla="*/ 445211 h 606761"/>
                <a:gd name="connsiteX66" fmla="*/ 495965 w 607614"/>
                <a:gd name="connsiteY66" fmla="*/ 445211 h 606761"/>
                <a:gd name="connsiteX67" fmla="*/ 495965 w 607614"/>
                <a:gd name="connsiteY67" fmla="*/ 364057 h 606761"/>
                <a:gd name="connsiteX68" fmla="*/ 415456 w 607614"/>
                <a:gd name="connsiteY68" fmla="*/ 364057 h 606761"/>
                <a:gd name="connsiteX69" fmla="*/ 415456 w 607614"/>
                <a:gd name="connsiteY69" fmla="*/ 445211 h 606761"/>
                <a:gd name="connsiteX70" fmla="*/ 394949 w 607614"/>
                <a:gd name="connsiteY70" fmla="*/ 445211 h 606761"/>
                <a:gd name="connsiteX71" fmla="*/ 394949 w 607614"/>
                <a:gd name="connsiteY71" fmla="*/ 364057 h 606761"/>
                <a:gd name="connsiteX72" fmla="*/ 313681 w 607614"/>
                <a:gd name="connsiteY72" fmla="*/ 364057 h 606761"/>
                <a:gd name="connsiteX73" fmla="*/ 313681 w 607614"/>
                <a:gd name="connsiteY73" fmla="*/ 445211 h 606761"/>
                <a:gd name="connsiteX74" fmla="*/ 293933 w 607614"/>
                <a:gd name="connsiteY74" fmla="*/ 445211 h 606761"/>
                <a:gd name="connsiteX75" fmla="*/ 293933 w 607614"/>
                <a:gd name="connsiteY75" fmla="*/ 364057 h 606761"/>
                <a:gd name="connsiteX76" fmla="*/ 111649 w 607614"/>
                <a:gd name="connsiteY76" fmla="*/ 364057 h 606761"/>
                <a:gd name="connsiteX77" fmla="*/ 111649 w 607614"/>
                <a:gd name="connsiteY77" fmla="*/ 586283 h 606761"/>
                <a:gd name="connsiteX78" fmla="*/ 192158 w 607614"/>
                <a:gd name="connsiteY78" fmla="*/ 586283 h 606761"/>
                <a:gd name="connsiteX79" fmla="*/ 192158 w 607614"/>
                <a:gd name="connsiteY79" fmla="*/ 364057 h 606761"/>
                <a:gd name="connsiteX80" fmla="*/ 20507 w 607614"/>
                <a:gd name="connsiteY80" fmla="*/ 364057 h 606761"/>
                <a:gd name="connsiteX81" fmla="*/ 20507 w 607614"/>
                <a:gd name="connsiteY81" fmla="*/ 586283 h 606761"/>
                <a:gd name="connsiteX82" fmla="*/ 91142 w 607614"/>
                <a:gd name="connsiteY82" fmla="*/ 586283 h 606761"/>
                <a:gd name="connsiteX83" fmla="*/ 91142 w 607614"/>
                <a:gd name="connsiteY83" fmla="*/ 364057 h 606761"/>
                <a:gd name="connsiteX84" fmla="*/ 20507 w 607614"/>
                <a:gd name="connsiteY84" fmla="*/ 313240 h 606761"/>
                <a:gd name="connsiteX85" fmla="*/ 20507 w 607614"/>
                <a:gd name="connsiteY85" fmla="*/ 343578 h 606761"/>
                <a:gd name="connsiteX86" fmla="*/ 587107 w 607614"/>
                <a:gd name="connsiteY86" fmla="*/ 343578 h 606761"/>
                <a:gd name="connsiteX87" fmla="*/ 587107 w 607614"/>
                <a:gd name="connsiteY87" fmla="*/ 313240 h 606761"/>
                <a:gd name="connsiteX88" fmla="*/ 395004 w 607614"/>
                <a:gd name="connsiteY88" fmla="*/ 202497 h 606761"/>
                <a:gd name="connsiteX89" fmla="*/ 415473 w 607614"/>
                <a:gd name="connsiteY89" fmla="*/ 202497 h 606761"/>
                <a:gd name="connsiteX90" fmla="*/ 415473 w 607614"/>
                <a:gd name="connsiteY90" fmla="*/ 222235 h 606761"/>
                <a:gd name="connsiteX91" fmla="*/ 395004 w 607614"/>
                <a:gd name="connsiteY91" fmla="*/ 222235 h 606761"/>
                <a:gd name="connsiteX92" fmla="*/ 354675 w 607614"/>
                <a:gd name="connsiteY92" fmla="*/ 202497 h 606761"/>
                <a:gd name="connsiteX93" fmla="*/ 374413 w 607614"/>
                <a:gd name="connsiteY93" fmla="*/ 202497 h 606761"/>
                <a:gd name="connsiteX94" fmla="*/ 374413 w 607614"/>
                <a:gd name="connsiteY94" fmla="*/ 222235 h 606761"/>
                <a:gd name="connsiteX95" fmla="*/ 354675 w 607614"/>
                <a:gd name="connsiteY95" fmla="*/ 222235 h 606761"/>
                <a:gd name="connsiteX96" fmla="*/ 313737 w 607614"/>
                <a:gd name="connsiteY96" fmla="*/ 202497 h 606761"/>
                <a:gd name="connsiteX97" fmla="*/ 334206 w 607614"/>
                <a:gd name="connsiteY97" fmla="*/ 202497 h 606761"/>
                <a:gd name="connsiteX98" fmla="*/ 334206 w 607614"/>
                <a:gd name="connsiteY98" fmla="*/ 222235 h 606761"/>
                <a:gd name="connsiteX99" fmla="*/ 313737 w 607614"/>
                <a:gd name="connsiteY99" fmla="*/ 222235 h 606761"/>
                <a:gd name="connsiteX100" fmla="*/ 273408 w 607614"/>
                <a:gd name="connsiteY100" fmla="*/ 202497 h 606761"/>
                <a:gd name="connsiteX101" fmla="*/ 293999 w 607614"/>
                <a:gd name="connsiteY101" fmla="*/ 202497 h 606761"/>
                <a:gd name="connsiteX102" fmla="*/ 293999 w 607614"/>
                <a:gd name="connsiteY102" fmla="*/ 222235 h 606761"/>
                <a:gd name="connsiteX103" fmla="*/ 273408 w 607614"/>
                <a:gd name="connsiteY103" fmla="*/ 222235 h 606761"/>
                <a:gd name="connsiteX104" fmla="*/ 233201 w 607614"/>
                <a:gd name="connsiteY104" fmla="*/ 202497 h 606761"/>
                <a:gd name="connsiteX105" fmla="*/ 252939 w 607614"/>
                <a:gd name="connsiteY105" fmla="*/ 202497 h 606761"/>
                <a:gd name="connsiteX106" fmla="*/ 252939 w 607614"/>
                <a:gd name="connsiteY106" fmla="*/ 222235 h 606761"/>
                <a:gd name="connsiteX107" fmla="*/ 233201 w 607614"/>
                <a:gd name="connsiteY107" fmla="*/ 222235 h 606761"/>
                <a:gd name="connsiteX108" fmla="*/ 192141 w 607614"/>
                <a:gd name="connsiteY108" fmla="*/ 202497 h 606761"/>
                <a:gd name="connsiteX109" fmla="*/ 212732 w 607614"/>
                <a:gd name="connsiteY109" fmla="*/ 202497 h 606761"/>
                <a:gd name="connsiteX110" fmla="*/ 212732 w 607614"/>
                <a:gd name="connsiteY110" fmla="*/ 222235 h 606761"/>
                <a:gd name="connsiteX111" fmla="*/ 192141 w 607614"/>
                <a:gd name="connsiteY111" fmla="*/ 222235 h 606761"/>
                <a:gd name="connsiteX112" fmla="*/ 395004 w 607614"/>
                <a:gd name="connsiteY112" fmla="*/ 161559 h 606761"/>
                <a:gd name="connsiteX113" fmla="*/ 415473 w 607614"/>
                <a:gd name="connsiteY113" fmla="*/ 161559 h 606761"/>
                <a:gd name="connsiteX114" fmla="*/ 415473 w 607614"/>
                <a:gd name="connsiteY114" fmla="*/ 182028 h 606761"/>
                <a:gd name="connsiteX115" fmla="*/ 395004 w 607614"/>
                <a:gd name="connsiteY115" fmla="*/ 182028 h 606761"/>
                <a:gd name="connsiteX116" fmla="*/ 354675 w 607614"/>
                <a:gd name="connsiteY116" fmla="*/ 161559 h 606761"/>
                <a:gd name="connsiteX117" fmla="*/ 374413 w 607614"/>
                <a:gd name="connsiteY117" fmla="*/ 161559 h 606761"/>
                <a:gd name="connsiteX118" fmla="*/ 374413 w 607614"/>
                <a:gd name="connsiteY118" fmla="*/ 182028 h 606761"/>
                <a:gd name="connsiteX119" fmla="*/ 354675 w 607614"/>
                <a:gd name="connsiteY119" fmla="*/ 182028 h 606761"/>
                <a:gd name="connsiteX120" fmla="*/ 313737 w 607614"/>
                <a:gd name="connsiteY120" fmla="*/ 161559 h 606761"/>
                <a:gd name="connsiteX121" fmla="*/ 334206 w 607614"/>
                <a:gd name="connsiteY121" fmla="*/ 161559 h 606761"/>
                <a:gd name="connsiteX122" fmla="*/ 334206 w 607614"/>
                <a:gd name="connsiteY122" fmla="*/ 182028 h 606761"/>
                <a:gd name="connsiteX123" fmla="*/ 313737 w 607614"/>
                <a:gd name="connsiteY123" fmla="*/ 182028 h 606761"/>
                <a:gd name="connsiteX124" fmla="*/ 273408 w 607614"/>
                <a:gd name="connsiteY124" fmla="*/ 161559 h 606761"/>
                <a:gd name="connsiteX125" fmla="*/ 293999 w 607614"/>
                <a:gd name="connsiteY125" fmla="*/ 161559 h 606761"/>
                <a:gd name="connsiteX126" fmla="*/ 293999 w 607614"/>
                <a:gd name="connsiteY126" fmla="*/ 182028 h 606761"/>
                <a:gd name="connsiteX127" fmla="*/ 273408 w 607614"/>
                <a:gd name="connsiteY127" fmla="*/ 182028 h 606761"/>
                <a:gd name="connsiteX128" fmla="*/ 233201 w 607614"/>
                <a:gd name="connsiteY128" fmla="*/ 161559 h 606761"/>
                <a:gd name="connsiteX129" fmla="*/ 252939 w 607614"/>
                <a:gd name="connsiteY129" fmla="*/ 161559 h 606761"/>
                <a:gd name="connsiteX130" fmla="*/ 252939 w 607614"/>
                <a:gd name="connsiteY130" fmla="*/ 182028 h 606761"/>
                <a:gd name="connsiteX131" fmla="*/ 233201 w 607614"/>
                <a:gd name="connsiteY131" fmla="*/ 182028 h 606761"/>
                <a:gd name="connsiteX132" fmla="*/ 192141 w 607614"/>
                <a:gd name="connsiteY132" fmla="*/ 161559 h 606761"/>
                <a:gd name="connsiteX133" fmla="*/ 212732 w 607614"/>
                <a:gd name="connsiteY133" fmla="*/ 161559 h 606761"/>
                <a:gd name="connsiteX134" fmla="*/ 212732 w 607614"/>
                <a:gd name="connsiteY134" fmla="*/ 182028 h 606761"/>
                <a:gd name="connsiteX135" fmla="*/ 192141 w 607614"/>
                <a:gd name="connsiteY135" fmla="*/ 182028 h 606761"/>
                <a:gd name="connsiteX136" fmla="*/ 516472 w 607614"/>
                <a:gd name="connsiteY136" fmla="*/ 70536 h 606761"/>
                <a:gd name="connsiteX137" fmla="*/ 516472 w 607614"/>
                <a:gd name="connsiteY137" fmla="*/ 293521 h 606761"/>
                <a:gd name="connsiteX138" fmla="*/ 587107 w 607614"/>
                <a:gd name="connsiteY138" fmla="*/ 293521 h 606761"/>
                <a:gd name="connsiteX139" fmla="*/ 587107 w 607614"/>
                <a:gd name="connsiteY139" fmla="*/ 70536 h 606761"/>
                <a:gd name="connsiteX140" fmla="*/ 111649 w 607614"/>
                <a:gd name="connsiteY140" fmla="*/ 70536 h 606761"/>
                <a:gd name="connsiteX141" fmla="*/ 111649 w 607614"/>
                <a:gd name="connsiteY141" fmla="*/ 293521 h 606761"/>
                <a:gd name="connsiteX142" fmla="*/ 192158 w 607614"/>
                <a:gd name="connsiteY142" fmla="*/ 293521 h 606761"/>
                <a:gd name="connsiteX143" fmla="*/ 192158 w 607614"/>
                <a:gd name="connsiteY143" fmla="*/ 242704 h 606761"/>
                <a:gd name="connsiteX144" fmla="*/ 212665 w 607614"/>
                <a:gd name="connsiteY144" fmla="*/ 242704 h 606761"/>
                <a:gd name="connsiteX145" fmla="*/ 212665 w 607614"/>
                <a:gd name="connsiteY145" fmla="*/ 293521 h 606761"/>
                <a:gd name="connsiteX146" fmla="*/ 293933 w 607614"/>
                <a:gd name="connsiteY146" fmla="*/ 293521 h 606761"/>
                <a:gd name="connsiteX147" fmla="*/ 293933 w 607614"/>
                <a:gd name="connsiteY147" fmla="*/ 242704 h 606761"/>
                <a:gd name="connsiteX148" fmla="*/ 313681 w 607614"/>
                <a:gd name="connsiteY148" fmla="*/ 242704 h 606761"/>
                <a:gd name="connsiteX149" fmla="*/ 313681 w 607614"/>
                <a:gd name="connsiteY149" fmla="*/ 293521 h 606761"/>
                <a:gd name="connsiteX150" fmla="*/ 394949 w 607614"/>
                <a:gd name="connsiteY150" fmla="*/ 293521 h 606761"/>
                <a:gd name="connsiteX151" fmla="*/ 394949 w 607614"/>
                <a:gd name="connsiteY151" fmla="*/ 242704 h 606761"/>
                <a:gd name="connsiteX152" fmla="*/ 415456 w 607614"/>
                <a:gd name="connsiteY152" fmla="*/ 242704 h 606761"/>
                <a:gd name="connsiteX153" fmla="*/ 415456 w 607614"/>
                <a:gd name="connsiteY153" fmla="*/ 293521 h 606761"/>
                <a:gd name="connsiteX154" fmla="*/ 495965 w 607614"/>
                <a:gd name="connsiteY154" fmla="*/ 293521 h 606761"/>
                <a:gd name="connsiteX155" fmla="*/ 495965 w 607614"/>
                <a:gd name="connsiteY155" fmla="*/ 70536 h 606761"/>
                <a:gd name="connsiteX156" fmla="*/ 415456 w 607614"/>
                <a:gd name="connsiteY156" fmla="*/ 70536 h 606761"/>
                <a:gd name="connsiteX157" fmla="*/ 415456 w 607614"/>
                <a:gd name="connsiteY157" fmla="*/ 141830 h 606761"/>
                <a:gd name="connsiteX158" fmla="*/ 394949 w 607614"/>
                <a:gd name="connsiteY158" fmla="*/ 141830 h 606761"/>
                <a:gd name="connsiteX159" fmla="*/ 394949 w 607614"/>
                <a:gd name="connsiteY159" fmla="*/ 70536 h 606761"/>
                <a:gd name="connsiteX160" fmla="*/ 313681 w 607614"/>
                <a:gd name="connsiteY160" fmla="*/ 70536 h 606761"/>
                <a:gd name="connsiteX161" fmla="*/ 313681 w 607614"/>
                <a:gd name="connsiteY161" fmla="*/ 141830 h 606761"/>
                <a:gd name="connsiteX162" fmla="*/ 293933 w 607614"/>
                <a:gd name="connsiteY162" fmla="*/ 141830 h 606761"/>
                <a:gd name="connsiteX163" fmla="*/ 293933 w 607614"/>
                <a:gd name="connsiteY163" fmla="*/ 70536 h 606761"/>
                <a:gd name="connsiteX164" fmla="*/ 212665 w 607614"/>
                <a:gd name="connsiteY164" fmla="*/ 70536 h 606761"/>
                <a:gd name="connsiteX165" fmla="*/ 212665 w 607614"/>
                <a:gd name="connsiteY165" fmla="*/ 141830 h 606761"/>
                <a:gd name="connsiteX166" fmla="*/ 192158 w 607614"/>
                <a:gd name="connsiteY166" fmla="*/ 141830 h 606761"/>
                <a:gd name="connsiteX167" fmla="*/ 192158 w 607614"/>
                <a:gd name="connsiteY167" fmla="*/ 70536 h 606761"/>
                <a:gd name="connsiteX168" fmla="*/ 20507 w 607614"/>
                <a:gd name="connsiteY168" fmla="*/ 70536 h 606761"/>
                <a:gd name="connsiteX169" fmla="*/ 20507 w 607614"/>
                <a:gd name="connsiteY169" fmla="*/ 293521 h 606761"/>
                <a:gd name="connsiteX170" fmla="*/ 91142 w 607614"/>
                <a:gd name="connsiteY170" fmla="*/ 293521 h 606761"/>
                <a:gd name="connsiteX171" fmla="*/ 91142 w 607614"/>
                <a:gd name="connsiteY171" fmla="*/ 70536 h 606761"/>
                <a:gd name="connsiteX172" fmla="*/ 20507 w 607614"/>
                <a:gd name="connsiteY172" fmla="*/ 20478 h 606761"/>
                <a:gd name="connsiteX173" fmla="*/ 20507 w 607614"/>
                <a:gd name="connsiteY173" fmla="*/ 50816 h 606761"/>
                <a:gd name="connsiteX174" fmla="*/ 587107 w 607614"/>
                <a:gd name="connsiteY174" fmla="*/ 50816 h 606761"/>
                <a:gd name="connsiteX175" fmla="*/ 587107 w 607614"/>
                <a:gd name="connsiteY175" fmla="*/ 20478 h 606761"/>
                <a:gd name="connsiteX176" fmla="*/ 9874 w 607614"/>
                <a:gd name="connsiteY176" fmla="*/ 0 h 606761"/>
                <a:gd name="connsiteX177" fmla="*/ 597740 w 607614"/>
                <a:gd name="connsiteY177" fmla="*/ 0 h 606761"/>
                <a:gd name="connsiteX178" fmla="*/ 607614 w 607614"/>
                <a:gd name="connsiteY178" fmla="*/ 9860 h 606761"/>
                <a:gd name="connsiteX179" fmla="*/ 607614 w 607614"/>
                <a:gd name="connsiteY179" fmla="*/ 60676 h 606761"/>
                <a:gd name="connsiteX180" fmla="*/ 607614 w 607614"/>
                <a:gd name="connsiteY180" fmla="*/ 303380 h 606761"/>
                <a:gd name="connsiteX181" fmla="*/ 607614 w 607614"/>
                <a:gd name="connsiteY181" fmla="*/ 354197 h 606761"/>
                <a:gd name="connsiteX182" fmla="*/ 607614 w 607614"/>
                <a:gd name="connsiteY182" fmla="*/ 596901 h 606761"/>
                <a:gd name="connsiteX183" fmla="*/ 597740 w 607614"/>
                <a:gd name="connsiteY183" fmla="*/ 606761 h 606761"/>
                <a:gd name="connsiteX184" fmla="*/ 9874 w 607614"/>
                <a:gd name="connsiteY184" fmla="*/ 606761 h 606761"/>
                <a:gd name="connsiteX185" fmla="*/ 0 w 607614"/>
                <a:gd name="connsiteY185" fmla="*/ 596901 h 606761"/>
                <a:gd name="connsiteX186" fmla="*/ 0 w 607614"/>
                <a:gd name="connsiteY186" fmla="*/ 354197 h 606761"/>
                <a:gd name="connsiteX187" fmla="*/ 0 w 607614"/>
                <a:gd name="connsiteY187" fmla="*/ 303380 h 606761"/>
                <a:gd name="connsiteX188" fmla="*/ 0 w 607614"/>
                <a:gd name="connsiteY188" fmla="*/ 60676 h 606761"/>
                <a:gd name="connsiteX189" fmla="*/ 0 w 607614"/>
                <a:gd name="connsiteY189" fmla="*/ 9860 h 606761"/>
                <a:gd name="connsiteX190" fmla="*/ 9874 w 607614"/>
                <a:gd name="connsiteY190" fmla="*/ 0 h 606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607614" h="606761">
                  <a:moveTo>
                    <a:pt x="496009" y="505878"/>
                  </a:moveTo>
                  <a:lnTo>
                    <a:pt x="516478" y="505878"/>
                  </a:lnTo>
                  <a:lnTo>
                    <a:pt x="516478" y="525616"/>
                  </a:lnTo>
                  <a:lnTo>
                    <a:pt x="496009" y="525616"/>
                  </a:lnTo>
                  <a:close/>
                  <a:moveTo>
                    <a:pt x="455680" y="505878"/>
                  </a:moveTo>
                  <a:lnTo>
                    <a:pt x="476271" y="505878"/>
                  </a:lnTo>
                  <a:lnTo>
                    <a:pt x="476271" y="525616"/>
                  </a:lnTo>
                  <a:lnTo>
                    <a:pt x="455680" y="525616"/>
                  </a:lnTo>
                  <a:close/>
                  <a:moveTo>
                    <a:pt x="415473" y="505878"/>
                  </a:moveTo>
                  <a:lnTo>
                    <a:pt x="435211" y="505878"/>
                  </a:lnTo>
                  <a:lnTo>
                    <a:pt x="435211" y="525616"/>
                  </a:lnTo>
                  <a:lnTo>
                    <a:pt x="415473" y="525616"/>
                  </a:lnTo>
                  <a:close/>
                  <a:moveTo>
                    <a:pt x="374413" y="505878"/>
                  </a:moveTo>
                  <a:lnTo>
                    <a:pt x="395004" y="505878"/>
                  </a:lnTo>
                  <a:lnTo>
                    <a:pt x="395004" y="525616"/>
                  </a:lnTo>
                  <a:lnTo>
                    <a:pt x="374413" y="525616"/>
                  </a:lnTo>
                  <a:close/>
                  <a:moveTo>
                    <a:pt x="334206" y="505878"/>
                  </a:moveTo>
                  <a:lnTo>
                    <a:pt x="354675" y="505878"/>
                  </a:lnTo>
                  <a:lnTo>
                    <a:pt x="354675" y="525616"/>
                  </a:lnTo>
                  <a:lnTo>
                    <a:pt x="334206" y="525616"/>
                  </a:lnTo>
                  <a:close/>
                  <a:moveTo>
                    <a:pt x="293999" y="505878"/>
                  </a:moveTo>
                  <a:lnTo>
                    <a:pt x="313737" y="505878"/>
                  </a:lnTo>
                  <a:lnTo>
                    <a:pt x="313737" y="525616"/>
                  </a:lnTo>
                  <a:lnTo>
                    <a:pt x="293999" y="525616"/>
                  </a:lnTo>
                  <a:close/>
                  <a:moveTo>
                    <a:pt x="496009" y="464940"/>
                  </a:moveTo>
                  <a:lnTo>
                    <a:pt x="516478" y="464940"/>
                  </a:lnTo>
                  <a:lnTo>
                    <a:pt x="516478" y="485409"/>
                  </a:lnTo>
                  <a:lnTo>
                    <a:pt x="496009" y="485409"/>
                  </a:lnTo>
                  <a:close/>
                  <a:moveTo>
                    <a:pt x="455680" y="464940"/>
                  </a:moveTo>
                  <a:lnTo>
                    <a:pt x="476271" y="464940"/>
                  </a:lnTo>
                  <a:lnTo>
                    <a:pt x="476271" y="485409"/>
                  </a:lnTo>
                  <a:lnTo>
                    <a:pt x="455680" y="485409"/>
                  </a:lnTo>
                  <a:close/>
                  <a:moveTo>
                    <a:pt x="415473" y="464940"/>
                  </a:moveTo>
                  <a:lnTo>
                    <a:pt x="435211" y="464940"/>
                  </a:lnTo>
                  <a:lnTo>
                    <a:pt x="435211" y="485409"/>
                  </a:lnTo>
                  <a:lnTo>
                    <a:pt x="415473" y="485409"/>
                  </a:lnTo>
                  <a:close/>
                  <a:moveTo>
                    <a:pt x="374413" y="464940"/>
                  </a:moveTo>
                  <a:lnTo>
                    <a:pt x="395004" y="464940"/>
                  </a:lnTo>
                  <a:lnTo>
                    <a:pt x="395004" y="485409"/>
                  </a:lnTo>
                  <a:lnTo>
                    <a:pt x="374413" y="485409"/>
                  </a:lnTo>
                  <a:close/>
                  <a:moveTo>
                    <a:pt x="334206" y="464940"/>
                  </a:moveTo>
                  <a:lnTo>
                    <a:pt x="354675" y="464940"/>
                  </a:lnTo>
                  <a:lnTo>
                    <a:pt x="354675" y="485409"/>
                  </a:lnTo>
                  <a:lnTo>
                    <a:pt x="334206" y="485409"/>
                  </a:lnTo>
                  <a:close/>
                  <a:moveTo>
                    <a:pt x="293999" y="464940"/>
                  </a:moveTo>
                  <a:lnTo>
                    <a:pt x="313737" y="464940"/>
                  </a:lnTo>
                  <a:lnTo>
                    <a:pt x="313737" y="485409"/>
                  </a:lnTo>
                  <a:lnTo>
                    <a:pt x="293999" y="485409"/>
                  </a:lnTo>
                  <a:close/>
                  <a:moveTo>
                    <a:pt x="212665" y="364057"/>
                  </a:moveTo>
                  <a:lnTo>
                    <a:pt x="212665" y="586283"/>
                  </a:lnTo>
                  <a:lnTo>
                    <a:pt x="293933" y="586283"/>
                  </a:lnTo>
                  <a:lnTo>
                    <a:pt x="293933" y="546085"/>
                  </a:lnTo>
                  <a:lnTo>
                    <a:pt x="313681" y="546085"/>
                  </a:lnTo>
                  <a:lnTo>
                    <a:pt x="313681" y="586283"/>
                  </a:lnTo>
                  <a:lnTo>
                    <a:pt x="394949" y="586283"/>
                  </a:lnTo>
                  <a:lnTo>
                    <a:pt x="394949" y="546085"/>
                  </a:lnTo>
                  <a:lnTo>
                    <a:pt x="415456" y="546085"/>
                  </a:lnTo>
                  <a:lnTo>
                    <a:pt x="415456" y="586283"/>
                  </a:lnTo>
                  <a:lnTo>
                    <a:pt x="495965" y="586283"/>
                  </a:lnTo>
                  <a:lnTo>
                    <a:pt x="495965" y="546085"/>
                  </a:lnTo>
                  <a:lnTo>
                    <a:pt x="516472" y="546085"/>
                  </a:lnTo>
                  <a:lnTo>
                    <a:pt x="516472" y="586283"/>
                  </a:lnTo>
                  <a:lnTo>
                    <a:pt x="587107" y="586283"/>
                  </a:lnTo>
                  <a:lnTo>
                    <a:pt x="587107" y="364057"/>
                  </a:lnTo>
                  <a:lnTo>
                    <a:pt x="516472" y="364057"/>
                  </a:lnTo>
                  <a:lnTo>
                    <a:pt x="516472" y="445211"/>
                  </a:lnTo>
                  <a:lnTo>
                    <a:pt x="495965" y="445211"/>
                  </a:lnTo>
                  <a:lnTo>
                    <a:pt x="495965" y="364057"/>
                  </a:lnTo>
                  <a:lnTo>
                    <a:pt x="415456" y="364057"/>
                  </a:lnTo>
                  <a:lnTo>
                    <a:pt x="415456" y="445211"/>
                  </a:lnTo>
                  <a:lnTo>
                    <a:pt x="394949" y="445211"/>
                  </a:lnTo>
                  <a:lnTo>
                    <a:pt x="394949" y="364057"/>
                  </a:lnTo>
                  <a:lnTo>
                    <a:pt x="313681" y="364057"/>
                  </a:lnTo>
                  <a:lnTo>
                    <a:pt x="313681" y="445211"/>
                  </a:lnTo>
                  <a:lnTo>
                    <a:pt x="293933" y="445211"/>
                  </a:lnTo>
                  <a:lnTo>
                    <a:pt x="293933" y="364057"/>
                  </a:lnTo>
                  <a:close/>
                  <a:moveTo>
                    <a:pt x="111649" y="364057"/>
                  </a:moveTo>
                  <a:lnTo>
                    <a:pt x="111649" y="586283"/>
                  </a:lnTo>
                  <a:lnTo>
                    <a:pt x="192158" y="586283"/>
                  </a:lnTo>
                  <a:lnTo>
                    <a:pt x="192158" y="364057"/>
                  </a:lnTo>
                  <a:close/>
                  <a:moveTo>
                    <a:pt x="20507" y="364057"/>
                  </a:moveTo>
                  <a:lnTo>
                    <a:pt x="20507" y="586283"/>
                  </a:lnTo>
                  <a:lnTo>
                    <a:pt x="91142" y="586283"/>
                  </a:lnTo>
                  <a:lnTo>
                    <a:pt x="91142" y="364057"/>
                  </a:lnTo>
                  <a:close/>
                  <a:moveTo>
                    <a:pt x="20507" y="313240"/>
                  </a:moveTo>
                  <a:lnTo>
                    <a:pt x="20507" y="343578"/>
                  </a:lnTo>
                  <a:lnTo>
                    <a:pt x="587107" y="343578"/>
                  </a:lnTo>
                  <a:lnTo>
                    <a:pt x="587107" y="313240"/>
                  </a:lnTo>
                  <a:close/>
                  <a:moveTo>
                    <a:pt x="395004" y="202497"/>
                  </a:moveTo>
                  <a:lnTo>
                    <a:pt x="415473" y="202497"/>
                  </a:lnTo>
                  <a:lnTo>
                    <a:pt x="415473" y="222235"/>
                  </a:lnTo>
                  <a:lnTo>
                    <a:pt x="395004" y="222235"/>
                  </a:lnTo>
                  <a:close/>
                  <a:moveTo>
                    <a:pt x="354675" y="202497"/>
                  </a:moveTo>
                  <a:lnTo>
                    <a:pt x="374413" y="202497"/>
                  </a:lnTo>
                  <a:lnTo>
                    <a:pt x="374413" y="222235"/>
                  </a:lnTo>
                  <a:lnTo>
                    <a:pt x="354675" y="222235"/>
                  </a:lnTo>
                  <a:close/>
                  <a:moveTo>
                    <a:pt x="313737" y="202497"/>
                  </a:moveTo>
                  <a:lnTo>
                    <a:pt x="334206" y="202497"/>
                  </a:lnTo>
                  <a:lnTo>
                    <a:pt x="334206" y="222235"/>
                  </a:lnTo>
                  <a:lnTo>
                    <a:pt x="313737" y="222235"/>
                  </a:lnTo>
                  <a:close/>
                  <a:moveTo>
                    <a:pt x="273408" y="202497"/>
                  </a:moveTo>
                  <a:lnTo>
                    <a:pt x="293999" y="202497"/>
                  </a:lnTo>
                  <a:lnTo>
                    <a:pt x="293999" y="222235"/>
                  </a:lnTo>
                  <a:lnTo>
                    <a:pt x="273408" y="222235"/>
                  </a:lnTo>
                  <a:close/>
                  <a:moveTo>
                    <a:pt x="233201" y="202497"/>
                  </a:moveTo>
                  <a:lnTo>
                    <a:pt x="252939" y="202497"/>
                  </a:lnTo>
                  <a:lnTo>
                    <a:pt x="252939" y="222235"/>
                  </a:lnTo>
                  <a:lnTo>
                    <a:pt x="233201" y="222235"/>
                  </a:lnTo>
                  <a:close/>
                  <a:moveTo>
                    <a:pt x="192141" y="202497"/>
                  </a:moveTo>
                  <a:lnTo>
                    <a:pt x="212732" y="202497"/>
                  </a:lnTo>
                  <a:lnTo>
                    <a:pt x="212732" y="222235"/>
                  </a:lnTo>
                  <a:lnTo>
                    <a:pt x="192141" y="222235"/>
                  </a:lnTo>
                  <a:close/>
                  <a:moveTo>
                    <a:pt x="395004" y="161559"/>
                  </a:moveTo>
                  <a:lnTo>
                    <a:pt x="415473" y="161559"/>
                  </a:lnTo>
                  <a:lnTo>
                    <a:pt x="415473" y="182028"/>
                  </a:lnTo>
                  <a:lnTo>
                    <a:pt x="395004" y="182028"/>
                  </a:lnTo>
                  <a:close/>
                  <a:moveTo>
                    <a:pt x="354675" y="161559"/>
                  </a:moveTo>
                  <a:lnTo>
                    <a:pt x="374413" y="161559"/>
                  </a:lnTo>
                  <a:lnTo>
                    <a:pt x="374413" y="182028"/>
                  </a:lnTo>
                  <a:lnTo>
                    <a:pt x="354675" y="182028"/>
                  </a:lnTo>
                  <a:close/>
                  <a:moveTo>
                    <a:pt x="313737" y="161559"/>
                  </a:moveTo>
                  <a:lnTo>
                    <a:pt x="334206" y="161559"/>
                  </a:lnTo>
                  <a:lnTo>
                    <a:pt x="334206" y="182028"/>
                  </a:lnTo>
                  <a:lnTo>
                    <a:pt x="313737" y="182028"/>
                  </a:lnTo>
                  <a:close/>
                  <a:moveTo>
                    <a:pt x="273408" y="161559"/>
                  </a:moveTo>
                  <a:lnTo>
                    <a:pt x="293999" y="161559"/>
                  </a:lnTo>
                  <a:lnTo>
                    <a:pt x="293999" y="182028"/>
                  </a:lnTo>
                  <a:lnTo>
                    <a:pt x="273408" y="182028"/>
                  </a:lnTo>
                  <a:close/>
                  <a:moveTo>
                    <a:pt x="233201" y="161559"/>
                  </a:moveTo>
                  <a:lnTo>
                    <a:pt x="252939" y="161559"/>
                  </a:lnTo>
                  <a:lnTo>
                    <a:pt x="252939" y="182028"/>
                  </a:lnTo>
                  <a:lnTo>
                    <a:pt x="233201" y="182028"/>
                  </a:lnTo>
                  <a:close/>
                  <a:moveTo>
                    <a:pt x="192141" y="161559"/>
                  </a:moveTo>
                  <a:lnTo>
                    <a:pt x="212732" y="161559"/>
                  </a:lnTo>
                  <a:lnTo>
                    <a:pt x="212732" y="182028"/>
                  </a:lnTo>
                  <a:lnTo>
                    <a:pt x="192141" y="182028"/>
                  </a:lnTo>
                  <a:close/>
                  <a:moveTo>
                    <a:pt x="516472" y="70536"/>
                  </a:moveTo>
                  <a:lnTo>
                    <a:pt x="516472" y="293521"/>
                  </a:lnTo>
                  <a:lnTo>
                    <a:pt x="587107" y="293521"/>
                  </a:lnTo>
                  <a:lnTo>
                    <a:pt x="587107" y="70536"/>
                  </a:lnTo>
                  <a:close/>
                  <a:moveTo>
                    <a:pt x="111649" y="70536"/>
                  </a:moveTo>
                  <a:lnTo>
                    <a:pt x="111649" y="293521"/>
                  </a:lnTo>
                  <a:lnTo>
                    <a:pt x="192158" y="293521"/>
                  </a:lnTo>
                  <a:lnTo>
                    <a:pt x="192158" y="242704"/>
                  </a:lnTo>
                  <a:lnTo>
                    <a:pt x="212665" y="242704"/>
                  </a:lnTo>
                  <a:lnTo>
                    <a:pt x="212665" y="293521"/>
                  </a:lnTo>
                  <a:lnTo>
                    <a:pt x="293933" y="293521"/>
                  </a:lnTo>
                  <a:lnTo>
                    <a:pt x="293933" y="242704"/>
                  </a:lnTo>
                  <a:lnTo>
                    <a:pt x="313681" y="242704"/>
                  </a:lnTo>
                  <a:lnTo>
                    <a:pt x="313681" y="293521"/>
                  </a:lnTo>
                  <a:lnTo>
                    <a:pt x="394949" y="293521"/>
                  </a:lnTo>
                  <a:lnTo>
                    <a:pt x="394949" y="242704"/>
                  </a:lnTo>
                  <a:lnTo>
                    <a:pt x="415456" y="242704"/>
                  </a:lnTo>
                  <a:lnTo>
                    <a:pt x="415456" y="293521"/>
                  </a:lnTo>
                  <a:lnTo>
                    <a:pt x="495965" y="293521"/>
                  </a:lnTo>
                  <a:lnTo>
                    <a:pt x="495965" y="70536"/>
                  </a:lnTo>
                  <a:lnTo>
                    <a:pt x="415456" y="70536"/>
                  </a:lnTo>
                  <a:lnTo>
                    <a:pt x="415456" y="141830"/>
                  </a:lnTo>
                  <a:lnTo>
                    <a:pt x="394949" y="141830"/>
                  </a:lnTo>
                  <a:lnTo>
                    <a:pt x="394949" y="70536"/>
                  </a:lnTo>
                  <a:lnTo>
                    <a:pt x="313681" y="70536"/>
                  </a:lnTo>
                  <a:lnTo>
                    <a:pt x="313681" y="141830"/>
                  </a:lnTo>
                  <a:lnTo>
                    <a:pt x="293933" y="141830"/>
                  </a:lnTo>
                  <a:lnTo>
                    <a:pt x="293933" y="70536"/>
                  </a:lnTo>
                  <a:lnTo>
                    <a:pt x="212665" y="70536"/>
                  </a:lnTo>
                  <a:lnTo>
                    <a:pt x="212665" y="141830"/>
                  </a:lnTo>
                  <a:lnTo>
                    <a:pt x="192158" y="141830"/>
                  </a:lnTo>
                  <a:lnTo>
                    <a:pt x="192158" y="70536"/>
                  </a:lnTo>
                  <a:close/>
                  <a:moveTo>
                    <a:pt x="20507" y="70536"/>
                  </a:moveTo>
                  <a:lnTo>
                    <a:pt x="20507" y="293521"/>
                  </a:lnTo>
                  <a:lnTo>
                    <a:pt x="91142" y="293521"/>
                  </a:lnTo>
                  <a:lnTo>
                    <a:pt x="91142" y="70536"/>
                  </a:lnTo>
                  <a:close/>
                  <a:moveTo>
                    <a:pt x="20507" y="20478"/>
                  </a:moveTo>
                  <a:lnTo>
                    <a:pt x="20507" y="50816"/>
                  </a:lnTo>
                  <a:lnTo>
                    <a:pt x="587107" y="50816"/>
                  </a:lnTo>
                  <a:lnTo>
                    <a:pt x="587107" y="20478"/>
                  </a:lnTo>
                  <a:close/>
                  <a:moveTo>
                    <a:pt x="9874" y="0"/>
                  </a:moveTo>
                  <a:lnTo>
                    <a:pt x="597740" y="0"/>
                  </a:lnTo>
                  <a:cubicBezTo>
                    <a:pt x="603816" y="0"/>
                    <a:pt x="607614" y="3792"/>
                    <a:pt x="607614" y="9860"/>
                  </a:cubicBezTo>
                  <a:lnTo>
                    <a:pt x="607614" y="60676"/>
                  </a:lnTo>
                  <a:lnTo>
                    <a:pt x="607614" y="303380"/>
                  </a:lnTo>
                  <a:lnTo>
                    <a:pt x="607614" y="354197"/>
                  </a:lnTo>
                  <a:lnTo>
                    <a:pt x="607614" y="596901"/>
                  </a:lnTo>
                  <a:cubicBezTo>
                    <a:pt x="607614" y="602969"/>
                    <a:pt x="603816" y="606761"/>
                    <a:pt x="597740" y="606761"/>
                  </a:cubicBezTo>
                  <a:lnTo>
                    <a:pt x="9874" y="606761"/>
                  </a:lnTo>
                  <a:cubicBezTo>
                    <a:pt x="3798" y="606761"/>
                    <a:pt x="0" y="602969"/>
                    <a:pt x="0" y="596901"/>
                  </a:cubicBezTo>
                  <a:lnTo>
                    <a:pt x="0" y="354197"/>
                  </a:lnTo>
                  <a:lnTo>
                    <a:pt x="0" y="303380"/>
                  </a:lnTo>
                  <a:lnTo>
                    <a:pt x="0" y="60676"/>
                  </a:lnTo>
                  <a:lnTo>
                    <a:pt x="0" y="9860"/>
                  </a:lnTo>
                  <a:cubicBezTo>
                    <a:pt x="0" y="3792"/>
                    <a:pt x="3798" y="0"/>
                    <a:pt x="987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61AD1463-2A65-422F-8717-0170E0D3F9C8}"/>
                </a:ext>
              </a:extLst>
            </p:cNvPr>
            <p:cNvSpPr/>
            <p:nvPr/>
          </p:nvSpPr>
          <p:spPr>
            <a:xfrm>
              <a:off x="3235730" y="1790700"/>
              <a:ext cx="514350" cy="51435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293392EE-6A15-42C7-B4BF-B9320DE95755}"/>
              </a:ext>
            </a:extLst>
          </p:cNvPr>
          <p:cNvGrpSpPr/>
          <p:nvPr/>
        </p:nvGrpSpPr>
        <p:grpSpPr>
          <a:xfrm>
            <a:off x="8475257" y="1846263"/>
            <a:ext cx="447674" cy="447674"/>
            <a:chOff x="8441919" y="1790700"/>
            <a:chExt cx="514350" cy="514350"/>
          </a:xfrm>
        </p:grpSpPr>
        <p:sp>
          <p:nvSpPr>
            <p:cNvPr id="31" name="assembly-line_157631">
              <a:extLst>
                <a:ext uri="{FF2B5EF4-FFF2-40B4-BE49-F238E27FC236}">
                  <a16:creationId xmlns:a16="http://schemas.microsoft.com/office/drawing/2014/main" id="{98FEBF30-FB6A-4281-8B1F-685A0633C14F}"/>
                </a:ext>
              </a:extLst>
            </p:cNvPr>
            <p:cNvSpPr/>
            <p:nvPr/>
          </p:nvSpPr>
          <p:spPr>
            <a:xfrm>
              <a:off x="8524527" y="1913818"/>
              <a:ext cx="349135" cy="246231"/>
            </a:xfrm>
            <a:custGeom>
              <a:avLst/>
              <a:gdLst>
                <a:gd name="connsiteX0" fmla="*/ 556268 w 608133"/>
                <a:gd name="connsiteY0" fmla="*/ 358048 h 428896"/>
                <a:gd name="connsiteX1" fmla="*/ 575321 w 608133"/>
                <a:gd name="connsiteY1" fmla="*/ 377030 h 428896"/>
                <a:gd name="connsiteX2" fmla="*/ 556268 w 608133"/>
                <a:gd name="connsiteY2" fmla="*/ 396012 h 428896"/>
                <a:gd name="connsiteX3" fmla="*/ 537215 w 608133"/>
                <a:gd name="connsiteY3" fmla="*/ 377030 h 428896"/>
                <a:gd name="connsiteX4" fmla="*/ 556268 w 608133"/>
                <a:gd name="connsiteY4" fmla="*/ 358048 h 428896"/>
                <a:gd name="connsiteX5" fmla="*/ 493217 w 608133"/>
                <a:gd name="connsiteY5" fmla="*/ 358048 h 428896"/>
                <a:gd name="connsiteX6" fmla="*/ 512305 w 608133"/>
                <a:gd name="connsiteY6" fmla="*/ 377030 h 428896"/>
                <a:gd name="connsiteX7" fmla="*/ 493217 w 608133"/>
                <a:gd name="connsiteY7" fmla="*/ 396012 h 428896"/>
                <a:gd name="connsiteX8" fmla="*/ 474129 w 608133"/>
                <a:gd name="connsiteY8" fmla="*/ 377030 h 428896"/>
                <a:gd name="connsiteX9" fmla="*/ 493217 w 608133"/>
                <a:gd name="connsiteY9" fmla="*/ 358048 h 428896"/>
                <a:gd name="connsiteX10" fmla="*/ 430167 w 608133"/>
                <a:gd name="connsiteY10" fmla="*/ 358048 h 428896"/>
                <a:gd name="connsiteX11" fmla="*/ 449220 w 608133"/>
                <a:gd name="connsiteY11" fmla="*/ 377030 h 428896"/>
                <a:gd name="connsiteX12" fmla="*/ 430167 w 608133"/>
                <a:gd name="connsiteY12" fmla="*/ 396012 h 428896"/>
                <a:gd name="connsiteX13" fmla="*/ 411114 w 608133"/>
                <a:gd name="connsiteY13" fmla="*/ 377030 h 428896"/>
                <a:gd name="connsiteX14" fmla="*/ 430167 w 608133"/>
                <a:gd name="connsiteY14" fmla="*/ 358048 h 428896"/>
                <a:gd name="connsiteX15" fmla="*/ 367117 w 608133"/>
                <a:gd name="connsiteY15" fmla="*/ 358048 h 428896"/>
                <a:gd name="connsiteX16" fmla="*/ 386205 w 608133"/>
                <a:gd name="connsiteY16" fmla="*/ 377030 h 428896"/>
                <a:gd name="connsiteX17" fmla="*/ 367117 w 608133"/>
                <a:gd name="connsiteY17" fmla="*/ 396012 h 428896"/>
                <a:gd name="connsiteX18" fmla="*/ 348029 w 608133"/>
                <a:gd name="connsiteY18" fmla="*/ 377030 h 428896"/>
                <a:gd name="connsiteX19" fmla="*/ 367117 w 608133"/>
                <a:gd name="connsiteY19" fmla="*/ 358048 h 428896"/>
                <a:gd name="connsiteX20" fmla="*/ 304067 w 608133"/>
                <a:gd name="connsiteY20" fmla="*/ 358048 h 428896"/>
                <a:gd name="connsiteX21" fmla="*/ 323120 w 608133"/>
                <a:gd name="connsiteY21" fmla="*/ 377030 h 428896"/>
                <a:gd name="connsiteX22" fmla="*/ 304067 w 608133"/>
                <a:gd name="connsiteY22" fmla="*/ 396012 h 428896"/>
                <a:gd name="connsiteX23" fmla="*/ 285014 w 608133"/>
                <a:gd name="connsiteY23" fmla="*/ 377030 h 428896"/>
                <a:gd name="connsiteX24" fmla="*/ 304067 w 608133"/>
                <a:gd name="connsiteY24" fmla="*/ 358048 h 428896"/>
                <a:gd name="connsiteX25" fmla="*/ 241016 w 608133"/>
                <a:gd name="connsiteY25" fmla="*/ 358048 h 428896"/>
                <a:gd name="connsiteX26" fmla="*/ 260104 w 608133"/>
                <a:gd name="connsiteY26" fmla="*/ 377030 h 428896"/>
                <a:gd name="connsiteX27" fmla="*/ 241016 w 608133"/>
                <a:gd name="connsiteY27" fmla="*/ 396012 h 428896"/>
                <a:gd name="connsiteX28" fmla="*/ 221928 w 608133"/>
                <a:gd name="connsiteY28" fmla="*/ 377030 h 428896"/>
                <a:gd name="connsiteX29" fmla="*/ 241016 w 608133"/>
                <a:gd name="connsiteY29" fmla="*/ 358048 h 428896"/>
                <a:gd name="connsiteX30" fmla="*/ 177966 w 608133"/>
                <a:gd name="connsiteY30" fmla="*/ 358048 h 428896"/>
                <a:gd name="connsiteX31" fmla="*/ 197019 w 608133"/>
                <a:gd name="connsiteY31" fmla="*/ 377030 h 428896"/>
                <a:gd name="connsiteX32" fmla="*/ 177966 w 608133"/>
                <a:gd name="connsiteY32" fmla="*/ 396012 h 428896"/>
                <a:gd name="connsiteX33" fmla="*/ 158913 w 608133"/>
                <a:gd name="connsiteY33" fmla="*/ 377030 h 428896"/>
                <a:gd name="connsiteX34" fmla="*/ 177966 w 608133"/>
                <a:gd name="connsiteY34" fmla="*/ 358048 h 428896"/>
                <a:gd name="connsiteX35" fmla="*/ 114916 w 608133"/>
                <a:gd name="connsiteY35" fmla="*/ 358048 h 428896"/>
                <a:gd name="connsiteX36" fmla="*/ 134004 w 608133"/>
                <a:gd name="connsiteY36" fmla="*/ 377030 h 428896"/>
                <a:gd name="connsiteX37" fmla="*/ 114916 w 608133"/>
                <a:gd name="connsiteY37" fmla="*/ 396012 h 428896"/>
                <a:gd name="connsiteX38" fmla="*/ 95828 w 608133"/>
                <a:gd name="connsiteY38" fmla="*/ 377030 h 428896"/>
                <a:gd name="connsiteX39" fmla="*/ 114916 w 608133"/>
                <a:gd name="connsiteY39" fmla="*/ 358048 h 428896"/>
                <a:gd name="connsiteX40" fmla="*/ 51866 w 608133"/>
                <a:gd name="connsiteY40" fmla="*/ 358048 h 428896"/>
                <a:gd name="connsiteX41" fmla="*/ 70919 w 608133"/>
                <a:gd name="connsiteY41" fmla="*/ 377030 h 428896"/>
                <a:gd name="connsiteX42" fmla="*/ 51866 w 608133"/>
                <a:gd name="connsiteY42" fmla="*/ 396012 h 428896"/>
                <a:gd name="connsiteX43" fmla="*/ 32813 w 608133"/>
                <a:gd name="connsiteY43" fmla="*/ 377030 h 428896"/>
                <a:gd name="connsiteX44" fmla="*/ 51866 w 608133"/>
                <a:gd name="connsiteY44" fmla="*/ 358048 h 428896"/>
                <a:gd name="connsiteX45" fmla="*/ 51917 w 608133"/>
                <a:gd name="connsiteY45" fmla="*/ 344887 h 428896"/>
                <a:gd name="connsiteX46" fmla="*/ 19703 w 608133"/>
                <a:gd name="connsiteY46" fmla="*/ 377055 h 428896"/>
                <a:gd name="connsiteX47" fmla="*/ 51917 w 608133"/>
                <a:gd name="connsiteY47" fmla="*/ 409222 h 428896"/>
                <a:gd name="connsiteX48" fmla="*/ 556314 w 608133"/>
                <a:gd name="connsiteY48" fmla="*/ 409222 h 428896"/>
                <a:gd name="connsiteX49" fmla="*/ 588430 w 608133"/>
                <a:gd name="connsiteY49" fmla="*/ 377055 h 428896"/>
                <a:gd name="connsiteX50" fmla="*/ 556314 w 608133"/>
                <a:gd name="connsiteY50" fmla="*/ 344887 h 428896"/>
                <a:gd name="connsiteX51" fmla="*/ 429525 w 608133"/>
                <a:gd name="connsiteY51" fmla="*/ 302982 h 428896"/>
                <a:gd name="connsiteX52" fmla="*/ 429525 w 608133"/>
                <a:gd name="connsiteY52" fmla="*/ 325213 h 428896"/>
                <a:gd name="connsiteX53" fmla="*/ 535922 w 608133"/>
                <a:gd name="connsiteY53" fmla="*/ 325213 h 428896"/>
                <a:gd name="connsiteX54" fmla="*/ 535922 w 608133"/>
                <a:gd name="connsiteY54" fmla="*/ 302982 h 428896"/>
                <a:gd name="connsiteX55" fmla="*/ 187868 w 608133"/>
                <a:gd name="connsiteY55" fmla="*/ 281930 h 428896"/>
                <a:gd name="connsiteX56" fmla="*/ 187868 w 608133"/>
                <a:gd name="connsiteY56" fmla="*/ 325213 h 428896"/>
                <a:gd name="connsiteX57" fmla="*/ 294264 w 608133"/>
                <a:gd name="connsiteY57" fmla="*/ 325213 h 428896"/>
                <a:gd name="connsiteX58" fmla="*/ 294264 w 608133"/>
                <a:gd name="connsiteY58" fmla="*/ 281930 h 428896"/>
                <a:gd name="connsiteX59" fmla="*/ 388149 w 608133"/>
                <a:gd name="connsiteY59" fmla="*/ 229499 h 428896"/>
                <a:gd name="connsiteX60" fmla="*/ 387459 w 608133"/>
                <a:gd name="connsiteY60" fmla="*/ 230187 h 428896"/>
                <a:gd name="connsiteX61" fmla="*/ 387459 w 608133"/>
                <a:gd name="connsiteY61" fmla="*/ 325213 h 428896"/>
                <a:gd name="connsiteX62" fmla="*/ 409822 w 608133"/>
                <a:gd name="connsiteY62" fmla="*/ 325213 h 428896"/>
                <a:gd name="connsiteX63" fmla="*/ 409822 w 608133"/>
                <a:gd name="connsiteY63" fmla="*/ 293144 h 428896"/>
                <a:gd name="connsiteX64" fmla="*/ 419674 w 608133"/>
                <a:gd name="connsiteY64" fmla="*/ 283307 h 428896"/>
                <a:gd name="connsiteX65" fmla="*/ 472872 w 608133"/>
                <a:gd name="connsiteY65" fmla="*/ 283307 h 428896"/>
                <a:gd name="connsiteX66" fmla="*/ 472872 w 608133"/>
                <a:gd name="connsiteY66" fmla="*/ 230187 h 428896"/>
                <a:gd name="connsiteX67" fmla="*/ 472182 w 608133"/>
                <a:gd name="connsiteY67" fmla="*/ 229499 h 428896"/>
                <a:gd name="connsiteX68" fmla="*/ 135951 w 608133"/>
                <a:gd name="connsiteY68" fmla="*/ 229499 h 428896"/>
                <a:gd name="connsiteX69" fmla="*/ 135261 w 608133"/>
                <a:gd name="connsiteY69" fmla="*/ 230187 h 428896"/>
                <a:gd name="connsiteX70" fmla="*/ 135261 w 608133"/>
                <a:gd name="connsiteY70" fmla="*/ 325213 h 428896"/>
                <a:gd name="connsiteX71" fmla="*/ 168165 w 608133"/>
                <a:gd name="connsiteY71" fmla="*/ 325213 h 428896"/>
                <a:gd name="connsiteX72" fmla="*/ 168165 w 608133"/>
                <a:gd name="connsiteY72" fmla="*/ 272093 h 428896"/>
                <a:gd name="connsiteX73" fmla="*/ 178017 w 608133"/>
                <a:gd name="connsiteY73" fmla="*/ 262256 h 428896"/>
                <a:gd name="connsiteX74" fmla="*/ 220674 w 608133"/>
                <a:gd name="connsiteY74" fmla="*/ 262256 h 428896"/>
                <a:gd name="connsiteX75" fmla="*/ 220674 w 608133"/>
                <a:gd name="connsiteY75" fmla="*/ 230187 h 428896"/>
                <a:gd name="connsiteX76" fmla="*/ 219984 w 608133"/>
                <a:gd name="connsiteY76" fmla="*/ 229499 h 428896"/>
                <a:gd name="connsiteX77" fmla="*/ 398001 w 608133"/>
                <a:gd name="connsiteY77" fmla="*/ 189855 h 428896"/>
                <a:gd name="connsiteX78" fmla="*/ 398001 w 608133"/>
                <a:gd name="connsiteY78" fmla="*/ 209825 h 428896"/>
                <a:gd name="connsiteX79" fmla="*/ 462331 w 608133"/>
                <a:gd name="connsiteY79" fmla="*/ 209825 h 428896"/>
                <a:gd name="connsiteX80" fmla="*/ 462331 w 608133"/>
                <a:gd name="connsiteY80" fmla="*/ 189855 h 428896"/>
                <a:gd name="connsiteX81" fmla="*/ 430215 w 608133"/>
                <a:gd name="connsiteY81" fmla="*/ 198020 h 428896"/>
                <a:gd name="connsiteX82" fmla="*/ 398001 w 608133"/>
                <a:gd name="connsiteY82" fmla="*/ 189855 h 428896"/>
                <a:gd name="connsiteX83" fmla="*/ 145802 w 608133"/>
                <a:gd name="connsiteY83" fmla="*/ 189855 h 428896"/>
                <a:gd name="connsiteX84" fmla="*/ 145802 w 608133"/>
                <a:gd name="connsiteY84" fmla="*/ 209825 h 428896"/>
                <a:gd name="connsiteX85" fmla="*/ 210132 w 608133"/>
                <a:gd name="connsiteY85" fmla="*/ 209825 h 428896"/>
                <a:gd name="connsiteX86" fmla="*/ 210132 w 608133"/>
                <a:gd name="connsiteY86" fmla="*/ 189855 h 428896"/>
                <a:gd name="connsiteX87" fmla="*/ 178017 w 608133"/>
                <a:gd name="connsiteY87" fmla="*/ 198020 h 428896"/>
                <a:gd name="connsiteX88" fmla="*/ 145802 w 608133"/>
                <a:gd name="connsiteY88" fmla="*/ 189855 h 428896"/>
                <a:gd name="connsiteX89" fmla="*/ 482034 w 608133"/>
                <a:gd name="connsiteY89" fmla="*/ 186216 h 428896"/>
                <a:gd name="connsiteX90" fmla="*/ 482034 w 608133"/>
                <a:gd name="connsiteY90" fmla="*/ 212382 h 428896"/>
                <a:gd name="connsiteX91" fmla="*/ 492575 w 608133"/>
                <a:gd name="connsiteY91" fmla="*/ 230187 h 428896"/>
                <a:gd name="connsiteX92" fmla="*/ 492575 w 608133"/>
                <a:gd name="connsiteY92" fmla="*/ 283307 h 428896"/>
                <a:gd name="connsiteX93" fmla="*/ 514938 w 608133"/>
                <a:gd name="connsiteY93" fmla="*/ 283307 h 428896"/>
                <a:gd name="connsiteX94" fmla="*/ 514938 w 608133"/>
                <a:gd name="connsiteY94" fmla="*/ 211890 h 428896"/>
                <a:gd name="connsiteX95" fmla="*/ 499175 w 608133"/>
                <a:gd name="connsiteY95" fmla="*/ 191134 h 428896"/>
                <a:gd name="connsiteX96" fmla="*/ 378298 w 608133"/>
                <a:gd name="connsiteY96" fmla="*/ 186216 h 428896"/>
                <a:gd name="connsiteX97" fmla="*/ 361156 w 608133"/>
                <a:gd name="connsiteY97" fmla="*/ 191134 h 428896"/>
                <a:gd name="connsiteX98" fmla="*/ 345492 w 608133"/>
                <a:gd name="connsiteY98" fmla="*/ 211890 h 428896"/>
                <a:gd name="connsiteX99" fmla="*/ 345492 w 608133"/>
                <a:gd name="connsiteY99" fmla="*/ 325213 h 428896"/>
                <a:gd name="connsiteX100" fmla="*/ 367756 w 608133"/>
                <a:gd name="connsiteY100" fmla="*/ 325213 h 428896"/>
                <a:gd name="connsiteX101" fmla="*/ 367756 w 608133"/>
                <a:gd name="connsiteY101" fmla="*/ 230187 h 428896"/>
                <a:gd name="connsiteX102" fmla="*/ 378298 w 608133"/>
                <a:gd name="connsiteY102" fmla="*/ 212382 h 428896"/>
                <a:gd name="connsiteX103" fmla="*/ 229835 w 608133"/>
                <a:gd name="connsiteY103" fmla="*/ 186216 h 428896"/>
                <a:gd name="connsiteX104" fmla="*/ 229835 w 608133"/>
                <a:gd name="connsiteY104" fmla="*/ 212382 h 428896"/>
                <a:gd name="connsiteX105" fmla="*/ 240377 w 608133"/>
                <a:gd name="connsiteY105" fmla="*/ 230187 h 428896"/>
                <a:gd name="connsiteX106" fmla="*/ 240377 w 608133"/>
                <a:gd name="connsiteY106" fmla="*/ 262256 h 428896"/>
                <a:gd name="connsiteX107" fmla="*/ 262739 w 608133"/>
                <a:gd name="connsiteY107" fmla="*/ 262256 h 428896"/>
                <a:gd name="connsiteX108" fmla="*/ 262739 w 608133"/>
                <a:gd name="connsiteY108" fmla="*/ 211890 h 428896"/>
                <a:gd name="connsiteX109" fmla="*/ 246977 w 608133"/>
                <a:gd name="connsiteY109" fmla="*/ 191134 h 428896"/>
                <a:gd name="connsiteX110" fmla="*/ 126099 w 608133"/>
                <a:gd name="connsiteY110" fmla="*/ 186216 h 428896"/>
                <a:gd name="connsiteX111" fmla="*/ 108958 w 608133"/>
                <a:gd name="connsiteY111" fmla="*/ 191134 h 428896"/>
                <a:gd name="connsiteX112" fmla="*/ 93294 w 608133"/>
                <a:gd name="connsiteY112" fmla="*/ 211890 h 428896"/>
                <a:gd name="connsiteX113" fmla="*/ 93294 w 608133"/>
                <a:gd name="connsiteY113" fmla="*/ 325213 h 428896"/>
                <a:gd name="connsiteX114" fmla="*/ 115558 w 608133"/>
                <a:gd name="connsiteY114" fmla="*/ 325213 h 428896"/>
                <a:gd name="connsiteX115" fmla="*/ 115558 w 608133"/>
                <a:gd name="connsiteY115" fmla="*/ 230187 h 428896"/>
                <a:gd name="connsiteX116" fmla="*/ 126099 w 608133"/>
                <a:gd name="connsiteY116" fmla="*/ 212382 h 428896"/>
                <a:gd name="connsiteX117" fmla="*/ 408542 w 608133"/>
                <a:gd name="connsiteY117" fmla="*/ 161131 h 428896"/>
                <a:gd name="connsiteX118" fmla="*/ 408542 w 608133"/>
                <a:gd name="connsiteY118" fmla="*/ 173132 h 428896"/>
                <a:gd name="connsiteX119" fmla="*/ 430215 w 608133"/>
                <a:gd name="connsiteY119" fmla="*/ 178346 h 428896"/>
                <a:gd name="connsiteX120" fmla="*/ 451888 w 608133"/>
                <a:gd name="connsiteY120" fmla="*/ 173132 h 428896"/>
                <a:gd name="connsiteX121" fmla="*/ 451888 w 608133"/>
                <a:gd name="connsiteY121" fmla="*/ 170476 h 428896"/>
                <a:gd name="connsiteX122" fmla="*/ 451888 w 608133"/>
                <a:gd name="connsiteY122" fmla="*/ 170181 h 428896"/>
                <a:gd name="connsiteX123" fmla="*/ 451888 w 608133"/>
                <a:gd name="connsiteY123" fmla="*/ 161131 h 428896"/>
                <a:gd name="connsiteX124" fmla="*/ 451494 w 608133"/>
                <a:gd name="connsiteY124" fmla="*/ 161328 h 428896"/>
                <a:gd name="connsiteX125" fmla="*/ 434353 w 608133"/>
                <a:gd name="connsiteY125" fmla="*/ 166541 h 428896"/>
                <a:gd name="connsiteX126" fmla="*/ 426077 w 608133"/>
                <a:gd name="connsiteY126" fmla="*/ 166541 h 428896"/>
                <a:gd name="connsiteX127" fmla="*/ 408936 w 608133"/>
                <a:gd name="connsiteY127" fmla="*/ 161328 h 428896"/>
                <a:gd name="connsiteX128" fmla="*/ 156343 w 608133"/>
                <a:gd name="connsiteY128" fmla="*/ 161131 h 428896"/>
                <a:gd name="connsiteX129" fmla="*/ 156343 w 608133"/>
                <a:gd name="connsiteY129" fmla="*/ 173132 h 428896"/>
                <a:gd name="connsiteX130" fmla="*/ 178017 w 608133"/>
                <a:gd name="connsiteY130" fmla="*/ 178346 h 428896"/>
                <a:gd name="connsiteX131" fmla="*/ 199690 w 608133"/>
                <a:gd name="connsiteY131" fmla="*/ 173132 h 428896"/>
                <a:gd name="connsiteX132" fmla="*/ 199690 w 608133"/>
                <a:gd name="connsiteY132" fmla="*/ 170476 h 428896"/>
                <a:gd name="connsiteX133" fmla="*/ 199690 w 608133"/>
                <a:gd name="connsiteY133" fmla="*/ 170181 h 428896"/>
                <a:gd name="connsiteX134" fmla="*/ 199690 w 608133"/>
                <a:gd name="connsiteY134" fmla="*/ 161131 h 428896"/>
                <a:gd name="connsiteX135" fmla="*/ 199296 w 608133"/>
                <a:gd name="connsiteY135" fmla="*/ 161328 h 428896"/>
                <a:gd name="connsiteX136" fmla="*/ 182154 w 608133"/>
                <a:gd name="connsiteY136" fmla="*/ 166541 h 428896"/>
                <a:gd name="connsiteX137" fmla="*/ 173879 w 608133"/>
                <a:gd name="connsiteY137" fmla="*/ 166541 h 428896"/>
                <a:gd name="connsiteX138" fmla="*/ 156737 w 608133"/>
                <a:gd name="connsiteY138" fmla="*/ 161328 h 428896"/>
                <a:gd name="connsiteX139" fmla="*/ 398001 w 608133"/>
                <a:gd name="connsiteY139" fmla="*/ 93059 h 428896"/>
                <a:gd name="connsiteX140" fmla="*/ 398001 w 608133"/>
                <a:gd name="connsiteY140" fmla="*/ 124537 h 428896"/>
                <a:gd name="connsiteX141" fmla="*/ 402926 w 608133"/>
                <a:gd name="connsiteY141" fmla="*/ 133784 h 428896"/>
                <a:gd name="connsiteX142" fmla="*/ 419871 w 608133"/>
                <a:gd name="connsiteY142" fmla="*/ 144998 h 428896"/>
                <a:gd name="connsiteX143" fmla="*/ 426077 w 608133"/>
                <a:gd name="connsiteY143" fmla="*/ 146867 h 428896"/>
                <a:gd name="connsiteX144" fmla="*/ 434353 w 608133"/>
                <a:gd name="connsiteY144" fmla="*/ 146867 h 428896"/>
                <a:gd name="connsiteX145" fmla="*/ 440559 w 608133"/>
                <a:gd name="connsiteY145" fmla="*/ 144998 h 428896"/>
                <a:gd name="connsiteX146" fmla="*/ 457405 w 608133"/>
                <a:gd name="connsiteY146" fmla="*/ 133784 h 428896"/>
                <a:gd name="connsiteX147" fmla="*/ 462331 w 608133"/>
                <a:gd name="connsiteY147" fmla="*/ 124537 h 428896"/>
                <a:gd name="connsiteX148" fmla="*/ 462331 w 608133"/>
                <a:gd name="connsiteY148" fmla="*/ 93059 h 428896"/>
                <a:gd name="connsiteX149" fmla="*/ 145802 w 608133"/>
                <a:gd name="connsiteY149" fmla="*/ 93059 h 428896"/>
                <a:gd name="connsiteX150" fmla="*/ 145802 w 608133"/>
                <a:gd name="connsiteY150" fmla="*/ 124537 h 428896"/>
                <a:gd name="connsiteX151" fmla="*/ 150728 w 608133"/>
                <a:gd name="connsiteY151" fmla="*/ 133784 h 428896"/>
                <a:gd name="connsiteX152" fmla="*/ 167672 w 608133"/>
                <a:gd name="connsiteY152" fmla="*/ 144998 h 428896"/>
                <a:gd name="connsiteX153" fmla="*/ 173879 w 608133"/>
                <a:gd name="connsiteY153" fmla="*/ 146867 h 428896"/>
                <a:gd name="connsiteX154" fmla="*/ 182154 w 608133"/>
                <a:gd name="connsiteY154" fmla="*/ 146867 h 428896"/>
                <a:gd name="connsiteX155" fmla="*/ 188361 w 608133"/>
                <a:gd name="connsiteY155" fmla="*/ 144998 h 428896"/>
                <a:gd name="connsiteX156" fmla="*/ 205207 w 608133"/>
                <a:gd name="connsiteY156" fmla="*/ 133784 h 428896"/>
                <a:gd name="connsiteX157" fmla="*/ 210132 w 608133"/>
                <a:gd name="connsiteY157" fmla="*/ 124537 h 428896"/>
                <a:gd name="connsiteX158" fmla="*/ 210132 w 608133"/>
                <a:gd name="connsiteY158" fmla="*/ 93059 h 428896"/>
                <a:gd name="connsiteX159" fmla="*/ 440066 w 608133"/>
                <a:gd name="connsiteY159" fmla="*/ 31282 h 428896"/>
                <a:gd name="connsiteX160" fmla="*/ 440066 w 608133"/>
                <a:gd name="connsiteY160" fmla="*/ 73384 h 428896"/>
                <a:gd name="connsiteX161" fmla="*/ 472182 w 608133"/>
                <a:gd name="connsiteY161" fmla="*/ 73384 h 428896"/>
                <a:gd name="connsiteX162" fmla="*/ 472872 w 608133"/>
                <a:gd name="connsiteY162" fmla="*/ 73384 h 428896"/>
                <a:gd name="connsiteX163" fmla="*/ 472872 w 608133"/>
                <a:gd name="connsiteY163" fmla="*/ 72794 h 428896"/>
                <a:gd name="connsiteX164" fmla="*/ 440066 w 608133"/>
                <a:gd name="connsiteY164" fmla="*/ 31282 h 428896"/>
                <a:gd name="connsiteX165" fmla="*/ 420363 w 608133"/>
                <a:gd name="connsiteY165" fmla="*/ 31282 h 428896"/>
                <a:gd name="connsiteX166" fmla="*/ 387459 w 608133"/>
                <a:gd name="connsiteY166" fmla="*/ 72794 h 428896"/>
                <a:gd name="connsiteX167" fmla="*/ 387459 w 608133"/>
                <a:gd name="connsiteY167" fmla="*/ 73384 h 428896"/>
                <a:gd name="connsiteX168" fmla="*/ 388149 w 608133"/>
                <a:gd name="connsiteY168" fmla="*/ 73384 h 428896"/>
                <a:gd name="connsiteX169" fmla="*/ 420363 w 608133"/>
                <a:gd name="connsiteY169" fmla="*/ 73384 h 428896"/>
                <a:gd name="connsiteX170" fmla="*/ 187868 w 608133"/>
                <a:gd name="connsiteY170" fmla="*/ 31282 h 428896"/>
                <a:gd name="connsiteX171" fmla="*/ 187868 w 608133"/>
                <a:gd name="connsiteY171" fmla="*/ 73384 h 428896"/>
                <a:gd name="connsiteX172" fmla="*/ 219984 w 608133"/>
                <a:gd name="connsiteY172" fmla="*/ 73384 h 428896"/>
                <a:gd name="connsiteX173" fmla="*/ 220674 w 608133"/>
                <a:gd name="connsiteY173" fmla="*/ 73384 h 428896"/>
                <a:gd name="connsiteX174" fmla="*/ 220674 w 608133"/>
                <a:gd name="connsiteY174" fmla="*/ 72794 h 428896"/>
                <a:gd name="connsiteX175" fmla="*/ 187868 w 608133"/>
                <a:gd name="connsiteY175" fmla="*/ 31282 h 428896"/>
                <a:gd name="connsiteX176" fmla="*/ 168165 w 608133"/>
                <a:gd name="connsiteY176" fmla="*/ 31282 h 428896"/>
                <a:gd name="connsiteX177" fmla="*/ 135261 w 608133"/>
                <a:gd name="connsiteY177" fmla="*/ 72794 h 428896"/>
                <a:gd name="connsiteX178" fmla="*/ 135261 w 608133"/>
                <a:gd name="connsiteY178" fmla="*/ 73384 h 428896"/>
                <a:gd name="connsiteX179" fmla="*/ 135951 w 608133"/>
                <a:gd name="connsiteY179" fmla="*/ 73384 h 428896"/>
                <a:gd name="connsiteX180" fmla="*/ 168165 w 608133"/>
                <a:gd name="connsiteY180" fmla="*/ 73384 h 428896"/>
                <a:gd name="connsiteX181" fmla="*/ 178017 w 608133"/>
                <a:gd name="connsiteY181" fmla="*/ 0 h 428896"/>
                <a:gd name="connsiteX182" fmla="*/ 187868 w 608133"/>
                <a:gd name="connsiteY182" fmla="*/ 9837 h 428896"/>
                <a:gd name="connsiteX183" fmla="*/ 187868 w 608133"/>
                <a:gd name="connsiteY183" fmla="*/ 11214 h 428896"/>
                <a:gd name="connsiteX184" fmla="*/ 240377 w 608133"/>
                <a:gd name="connsiteY184" fmla="*/ 72794 h 428896"/>
                <a:gd name="connsiteX185" fmla="*/ 240377 w 608133"/>
                <a:gd name="connsiteY185" fmla="*/ 73384 h 428896"/>
                <a:gd name="connsiteX186" fmla="*/ 241066 w 608133"/>
                <a:gd name="connsiteY186" fmla="*/ 73384 h 428896"/>
                <a:gd name="connsiteX187" fmla="*/ 250918 w 608133"/>
                <a:gd name="connsiteY187" fmla="*/ 83222 h 428896"/>
                <a:gd name="connsiteX188" fmla="*/ 241066 w 608133"/>
                <a:gd name="connsiteY188" fmla="*/ 93059 h 428896"/>
                <a:gd name="connsiteX189" fmla="*/ 229835 w 608133"/>
                <a:gd name="connsiteY189" fmla="*/ 93059 h 428896"/>
                <a:gd name="connsiteX190" fmla="*/ 229835 w 608133"/>
                <a:gd name="connsiteY190" fmla="*/ 124537 h 428896"/>
                <a:gd name="connsiteX191" fmla="*/ 219393 w 608133"/>
                <a:gd name="connsiteY191" fmla="*/ 147654 h 428896"/>
                <a:gd name="connsiteX192" fmla="*/ 219393 w 608133"/>
                <a:gd name="connsiteY192" fmla="*/ 162803 h 428896"/>
                <a:gd name="connsiteX193" fmla="*/ 252395 w 608133"/>
                <a:gd name="connsiteY193" fmla="*/ 172247 h 428896"/>
                <a:gd name="connsiteX194" fmla="*/ 282442 w 608133"/>
                <a:gd name="connsiteY194" fmla="*/ 211890 h 428896"/>
                <a:gd name="connsiteX195" fmla="*/ 282442 w 608133"/>
                <a:gd name="connsiteY195" fmla="*/ 262256 h 428896"/>
                <a:gd name="connsiteX196" fmla="*/ 304116 w 608133"/>
                <a:gd name="connsiteY196" fmla="*/ 262256 h 428896"/>
                <a:gd name="connsiteX197" fmla="*/ 313967 w 608133"/>
                <a:gd name="connsiteY197" fmla="*/ 272093 h 428896"/>
                <a:gd name="connsiteX198" fmla="*/ 313967 w 608133"/>
                <a:gd name="connsiteY198" fmla="*/ 325213 h 428896"/>
                <a:gd name="connsiteX199" fmla="*/ 325789 w 608133"/>
                <a:gd name="connsiteY199" fmla="*/ 325213 h 428896"/>
                <a:gd name="connsiteX200" fmla="*/ 325789 w 608133"/>
                <a:gd name="connsiteY200" fmla="*/ 211890 h 428896"/>
                <a:gd name="connsiteX201" fmla="*/ 355738 w 608133"/>
                <a:gd name="connsiteY201" fmla="*/ 172247 h 428896"/>
                <a:gd name="connsiteX202" fmla="*/ 388839 w 608133"/>
                <a:gd name="connsiteY202" fmla="*/ 162803 h 428896"/>
                <a:gd name="connsiteX203" fmla="*/ 388839 w 608133"/>
                <a:gd name="connsiteY203" fmla="*/ 147654 h 428896"/>
                <a:gd name="connsiteX204" fmla="*/ 378298 w 608133"/>
                <a:gd name="connsiteY204" fmla="*/ 124439 h 428896"/>
                <a:gd name="connsiteX205" fmla="*/ 378298 w 608133"/>
                <a:gd name="connsiteY205" fmla="*/ 93059 h 428896"/>
                <a:gd name="connsiteX206" fmla="*/ 367165 w 608133"/>
                <a:gd name="connsiteY206" fmla="*/ 93059 h 428896"/>
                <a:gd name="connsiteX207" fmla="*/ 357314 w 608133"/>
                <a:gd name="connsiteY207" fmla="*/ 83222 h 428896"/>
                <a:gd name="connsiteX208" fmla="*/ 367165 w 608133"/>
                <a:gd name="connsiteY208" fmla="*/ 73384 h 428896"/>
                <a:gd name="connsiteX209" fmla="*/ 367756 w 608133"/>
                <a:gd name="connsiteY209" fmla="*/ 73384 h 428896"/>
                <a:gd name="connsiteX210" fmla="*/ 367756 w 608133"/>
                <a:gd name="connsiteY210" fmla="*/ 72794 h 428896"/>
                <a:gd name="connsiteX211" fmla="*/ 420363 w 608133"/>
                <a:gd name="connsiteY211" fmla="*/ 11214 h 428896"/>
                <a:gd name="connsiteX212" fmla="*/ 420363 w 608133"/>
                <a:gd name="connsiteY212" fmla="*/ 9837 h 428896"/>
                <a:gd name="connsiteX213" fmla="*/ 430215 w 608133"/>
                <a:gd name="connsiteY213" fmla="*/ 0 h 428896"/>
                <a:gd name="connsiteX214" fmla="*/ 440066 w 608133"/>
                <a:gd name="connsiteY214" fmla="*/ 9837 h 428896"/>
                <a:gd name="connsiteX215" fmla="*/ 440066 w 608133"/>
                <a:gd name="connsiteY215" fmla="*/ 11214 h 428896"/>
                <a:gd name="connsiteX216" fmla="*/ 492575 w 608133"/>
                <a:gd name="connsiteY216" fmla="*/ 72794 h 428896"/>
                <a:gd name="connsiteX217" fmla="*/ 492575 w 608133"/>
                <a:gd name="connsiteY217" fmla="*/ 73384 h 428896"/>
                <a:gd name="connsiteX218" fmla="*/ 493265 w 608133"/>
                <a:gd name="connsiteY218" fmla="*/ 73384 h 428896"/>
                <a:gd name="connsiteX219" fmla="*/ 503116 w 608133"/>
                <a:gd name="connsiteY219" fmla="*/ 83222 h 428896"/>
                <a:gd name="connsiteX220" fmla="*/ 493265 w 608133"/>
                <a:gd name="connsiteY220" fmla="*/ 93059 h 428896"/>
                <a:gd name="connsiteX221" fmla="*/ 482034 w 608133"/>
                <a:gd name="connsiteY221" fmla="*/ 93059 h 428896"/>
                <a:gd name="connsiteX222" fmla="*/ 482034 w 608133"/>
                <a:gd name="connsiteY222" fmla="*/ 124537 h 428896"/>
                <a:gd name="connsiteX223" fmla="*/ 471591 w 608133"/>
                <a:gd name="connsiteY223" fmla="*/ 147654 h 428896"/>
                <a:gd name="connsiteX224" fmla="*/ 471591 w 608133"/>
                <a:gd name="connsiteY224" fmla="*/ 162803 h 428896"/>
                <a:gd name="connsiteX225" fmla="*/ 504594 w 608133"/>
                <a:gd name="connsiteY225" fmla="*/ 172247 h 428896"/>
                <a:gd name="connsiteX226" fmla="*/ 534641 w 608133"/>
                <a:gd name="connsiteY226" fmla="*/ 211890 h 428896"/>
                <a:gd name="connsiteX227" fmla="*/ 534641 w 608133"/>
                <a:gd name="connsiteY227" fmla="*/ 283307 h 428896"/>
                <a:gd name="connsiteX228" fmla="*/ 545773 w 608133"/>
                <a:gd name="connsiteY228" fmla="*/ 283307 h 428896"/>
                <a:gd name="connsiteX229" fmla="*/ 555624 w 608133"/>
                <a:gd name="connsiteY229" fmla="*/ 293144 h 428896"/>
                <a:gd name="connsiteX230" fmla="*/ 555624 w 608133"/>
                <a:gd name="connsiteY230" fmla="*/ 325213 h 428896"/>
                <a:gd name="connsiteX231" fmla="*/ 556314 w 608133"/>
                <a:gd name="connsiteY231" fmla="*/ 325213 h 428896"/>
                <a:gd name="connsiteX232" fmla="*/ 608133 w 608133"/>
                <a:gd name="connsiteY232" fmla="*/ 377055 h 428896"/>
                <a:gd name="connsiteX233" fmla="*/ 556314 w 608133"/>
                <a:gd name="connsiteY233" fmla="*/ 428896 h 428896"/>
                <a:gd name="connsiteX234" fmla="*/ 51917 w 608133"/>
                <a:gd name="connsiteY234" fmla="*/ 428896 h 428896"/>
                <a:gd name="connsiteX235" fmla="*/ 0 w 608133"/>
                <a:gd name="connsiteY235" fmla="*/ 377055 h 428896"/>
                <a:gd name="connsiteX236" fmla="*/ 51917 w 608133"/>
                <a:gd name="connsiteY236" fmla="*/ 325213 h 428896"/>
                <a:gd name="connsiteX237" fmla="*/ 73591 w 608133"/>
                <a:gd name="connsiteY237" fmla="*/ 325213 h 428896"/>
                <a:gd name="connsiteX238" fmla="*/ 73591 w 608133"/>
                <a:gd name="connsiteY238" fmla="*/ 211890 h 428896"/>
                <a:gd name="connsiteX239" fmla="*/ 103539 w 608133"/>
                <a:gd name="connsiteY239" fmla="*/ 172247 h 428896"/>
                <a:gd name="connsiteX240" fmla="*/ 136640 w 608133"/>
                <a:gd name="connsiteY240" fmla="*/ 162803 h 428896"/>
                <a:gd name="connsiteX241" fmla="*/ 136640 w 608133"/>
                <a:gd name="connsiteY241" fmla="*/ 147654 h 428896"/>
                <a:gd name="connsiteX242" fmla="*/ 126099 w 608133"/>
                <a:gd name="connsiteY242" fmla="*/ 124439 h 428896"/>
                <a:gd name="connsiteX243" fmla="*/ 126099 w 608133"/>
                <a:gd name="connsiteY243" fmla="*/ 93059 h 428896"/>
                <a:gd name="connsiteX244" fmla="*/ 114967 w 608133"/>
                <a:gd name="connsiteY244" fmla="*/ 93059 h 428896"/>
                <a:gd name="connsiteX245" fmla="*/ 105115 w 608133"/>
                <a:gd name="connsiteY245" fmla="*/ 83222 h 428896"/>
                <a:gd name="connsiteX246" fmla="*/ 114967 w 608133"/>
                <a:gd name="connsiteY246" fmla="*/ 73384 h 428896"/>
                <a:gd name="connsiteX247" fmla="*/ 115558 w 608133"/>
                <a:gd name="connsiteY247" fmla="*/ 73384 h 428896"/>
                <a:gd name="connsiteX248" fmla="*/ 115558 w 608133"/>
                <a:gd name="connsiteY248" fmla="*/ 72794 h 428896"/>
                <a:gd name="connsiteX249" fmla="*/ 168165 w 608133"/>
                <a:gd name="connsiteY249" fmla="*/ 11214 h 428896"/>
                <a:gd name="connsiteX250" fmla="*/ 168165 w 608133"/>
                <a:gd name="connsiteY250" fmla="*/ 9837 h 428896"/>
                <a:gd name="connsiteX251" fmla="*/ 178017 w 608133"/>
                <a:gd name="connsiteY251" fmla="*/ 0 h 428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</a:cxnLst>
              <a:rect l="l" t="t" r="r" b="b"/>
              <a:pathLst>
                <a:path w="608133" h="428896">
                  <a:moveTo>
                    <a:pt x="556268" y="358048"/>
                  </a:moveTo>
                  <a:cubicBezTo>
                    <a:pt x="566791" y="358048"/>
                    <a:pt x="575321" y="366547"/>
                    <a:pt x="575321" y="377030"/>
                  </a:cubicBezTo>
                  <a:cubicBezTo>
                    <a:pt x="575321" y="387513"/>
                    <a:pt x="566791" y="396012"/>
                    <a:pt x="556268" y="396012"/>
                  </a:cubicBezTo>
                  <a:cubicBezTo>
                    <a:pt x="545745" y="396012"/>
                    <a:pt x="537215" y="387513"/>
                    <a:pt x="537215" y="377030"/>
                  </a:cubicBezTo>
                  <a:cubicBezTo>
                    <a:pt x="537215" y="366547"/>
                    <a:pt x="545745" y="358048"/>
                    <a:pt x="556268" y="358048"/>
                  </a:cubicBezTo>
                  <a:close/>
                  <a:moveTo>
                    <a:pt x="493217" y="358048"/>
                  </a:moveTo>
                  <a:cubicBezTo>
                    <a:pt x="503759" y="358048"/>
                    <a:pt x="512305" y="366547"/>
                    <a:pt x="512305" y="377030"/>
                  </a:cubicBezTo>
                  <a:cubicBezTo>
                    <a:pt x="512305" y="387513"/>
                    <a:pt x="503759" y="396012"/>
                    <a:pt x="493217" y="396012"/>
                  </a:cubicBezTo>
                  <a:cubicBezTo>
                    <a:pt x="482675" y="396012"/>
                    <a:pt x="474129" y="387513"/>
                    <a:pt x="474129" y="377030"/>
                  </a:cubicBezTo>
                  <a:cubicBezTo>
                    <a:pt x="474129" y="366547"/>
                    <a:pt x="482675" y="358048"/>
                    <a:pt x="493217" y="358048"/>
                  </a:cubicBezTo>
                  <a:close/>
                  <a:moveTo>
                    <a:pt x="430167" y="358048"/>
                  </a:moveTo>
                  <a:cubicBezTo>
                    <a:pt x="440690" y="358048"/>
                    <a:pt x="449220" y="366547"/>
                    <a:pt x="449220" y="377030"/>
                  </a:cubicBezTo>
                  <a:cubicBezTo>
                    <a:pt x="449220" y="387513"/>
                    <a:pt x="440690" y="396012"/>
                    <a:pt x="430167" y="396012"/>
                  </a:cubicBezTo>
                  <a:cubicBezTo>
                    <a:pt x="419644" y="396012"/>
                    <a:pt x="411114" y="387513"/>
                    <a:pt x="411114" y="377030"/>
                  </a:cubicBezTo>
                  <a:cubicBezTo>
                    <a:pt x="411114" y="366547"/>
                    <a:pt x="419644" y="358048"/>
                    <a:pt x="430167" y="358048"/>
                  </a:cubicBezTo>
                  <a:close/>
                  <a:moveTo>
                    <a:pt x="367117" y="358048"/>
                  </a:moveTo>
                  <a:cubicBezTo>
                    <a:pt x="377659" y="358048"/>
                    <a:pt x="386205" y="366547"/>
                    <a:pt x="386205" y="377030"/>
                  </a:cubicBezTo>
                  <a:cubicBezTo>
                    <a:pt x="386205" y="387513"/>
                    <a:pt x="377659" y="396012"/>
                    <a:pt x="367117" y="396012"/>
                  </a:cubicBezTo>
                  <a:cubicBezTo>
                    <a:pt x="356575" y="396012"/>
                    <a:pt x="348029" y="387513"/>
                    <a:pt x="348029" y="377030"/>
                  </a:cubicBezTo>
                  <a:cubicBezTo>
                    <a:pt x="348029" y="366547"/>
                    <a:pt x="356575" y="358048"/>
                    <a:pt x="367117" y="358048"/>
                  </a:cubicBezTo>
                  <a:close/>
                  <a:moveTo>
                    <a:pt x="304067" y="358048"/>
                  </a:moveTo>
                  <a:cubicBezTo>
                    <a:pt x="314590" y="358048"/>
                    <a:pt x="323120" y="366547"/>
                    <a:pt x="323120" y="377030"/>
                  </a:cubicBezTo>
                  <a:cubicBezTo>
                    <a:pt x="323120" y="387513"/>
                    <a:pt x="314590" y="396012"/>
                    <a:pt x="304067" y="396012"/>
                  </a:cubicBezTo>
                  <a:cubicBezTo>
                    <a:pt x="293544" y="396012"/>
                    <a:pt x="285014" y="387513"/>
                    <a:pt x="285014" y="377030"/>
                  </a:cubicBezTo>
                  <a:cubicBezTo>
                    <a:pt x="285014" y="366547"/>
                    <a:pt x="293544" y="358048"/>
                    <a:pt x="304067" y="358048"/>
                  </a:cubicBezTo>
                  <a:close/>
                  <a:moveTo>
                    <a:pt x="241016" y="358048"/>
                  </a:moveTo>
                  <a:cubicBezTo>
                    <a:pt x="251558" y="358048"/>
                    <a:pt x="260104" y="366547"/>
                    <a:pt x="260104" y="377030"/>
                  </a:cubicBezTo>
                  <a:cubicBezTo>
                    <a:pt x="260104" y="387513"/>
                    <a:pt x="251558" y="396012"/>
                    <a:pt x="241016" y="396012"/>
                  </a:cubicBezTo>
                  <a:cubicBezTo>
                    <a:pt x="230474" y="396012"/>
                    <a:pt x="221928" y="387513"/>
                    <a:pt x="221928" y="377030"/>
                  </a:cubicBezTo>
                  <a:cubicBezTo>
                    <a:pt x="221928" y="366547"/>
                    <a:pt x="230474" y="358048"/>
                    <a:pt x="241016" y="358048"/>
                  </a:cubicBezTo>
                  <a:close/>
                  <a:moveTo>
                    <a:pt x="177966" y="358048"/>
                  </a:moveTo>
                  <a:cubicBezTo>
                    <a:pt x="188489" y="358048"/>
                    <a:pt x="197019" y="366547"/>
                    <a:pt x="197019" y="377030"/>
                  </a:cubicBezTo>
                  <a:cubicBezTo>
                    <a:pt x="197019" y="387513"/>
                    <a:pt x="188489" y="396012"/>
                    <a:pt x="177966" y="396012"/>
                  </a:cubicBezTo>
                  <a:cubicBezTo>
                    <a:pt x="167443" y="396012"/>
                    <a:pt x="158913" y="387513"/>
                    <a:pt x="158913" y="377030"/>
                  </a:cubicBezTo>
                  <a:cubicBezTo>
                    <a:pt x="158913" y="366547"/>
                    <a:pt x="167443" y="358048"/>
                    <a:pt x="177966" y="358048"/>
                  </a:cubicBezTo>
                  <a:close/>
                  <a:moveTo>
                    <a:pt x="114916" y="358048"/>
                  </a:moveTo>
                  <a:cubicBezTo>
                    <a:pt x="125458" y="358048"/>
                    <a:pt x="134004" y="366547"/>
                    <a:pt x="134004" y="377030"/>
                  </a:cubicBezTo>
                  <a:cubicBezTo>
                    <a:pt x="134004" y="387513"/>
                    <a:pt x="125458" y="396012"/>
                    <a:pt x="114916" y="396012"/>
                  </a:cubicBezTo>
                  <a:cubicBezTo>
                    <a:pt x="104374" y="396012"/>
                    <a:pt x="95828" y="387513"/>
                    <a:pt x="95828" y="377030"/>
                  </a:cubicBezTo>
                  <a:cubicBezTo>
                    <a:pt x="95828" y="366547"/>
                    <a:pt x="104374" y="358048"/>
                    <a:pt x="114916" y="358048"/>
                  </a:cubicBezTo>
                  <a:close/>
                  <a:moveTo>
                    <a:pt x="51866" y="358048"/>
                  </a:moveTo>
                  <a:cubicBezTo>
                    <a:pt x="62389" y="358048"/>
                    <a:pt x="70919" y="366547"/>
                    <a:pt x="70919" y="377030"/>
                  </a:cubicBezTo>
                  <a:cubicBezTo>
                    <a:pt x="70919" y="387513"/>
                    <a:pt x="62389" y="396012"/>
                    <a:pt x="51866" y="396012"/>
                  </a:cubicBezTo>
                  <a:cubicBezTo>
                    <a:pt x="41343" y="396012"/>
                    <a:pt x="32813" y="387513"/>
                    <a:pt x="32813" y="377030"/>
                  </a:cubicBezTo>
                  <a:cubicBezTo>
                    <a:pt x="32813" y="366547"/>
                    <a:pt x="41343" y="358048"/>
                    <a:pt x="51866" y="358048"/>
                  </a:cubicBezTo>
                  <a:close/>
                  <a:moveTo>
                    <a:pt x="51917" y="344887"/>
                  </a:moveTo>
                  <a:cubicBezTo>
                    <a:pt x="34185" y="344887"/>
                    <a:pt x="19703" y="359348"/>
                    <a:pt x="19703" y="377055"/>
                  </a:cubicBezTo>
                  <a:cubicBezTo>
                    <a:pt x="19703" y="394761"/>
                    <a:pt x="34185" y="409222"/>
                    <a:pt x="51917" y="409222"/>
                  </a:cubicBezTo>
                  <a:lnTo>
                    <a:pt x="556314" y="409222"/>
                  </a:lnTo>
                  <a:cubicBezTo>
                    <a:pt x="574047" y="409222"/>
                    <a:pt x="588430" y="394761"/>
                    <a:pt x="588430" y="377055"/>
                  </a:cubicBezTo>
                  <a:cubicBezTo>
                    <a:pt x="588430" y="359348"/>
                    <a:pt x="574047" y="344887"/>
                    <a:pt x="556314" y="344887"/>
                  </a:cubicBezTo>
                  <a:close/>
                  <a:moveTo>
                    <a:pt x="429525" y="302982"/>
                  </a:moveTo>
                  <a:lnTo>
                    <a:pt x="429525" y="325213"/>
                  </a:lnTo>
                  <a:lnTo>
                    <a:pt x="535922" y="325213"/>
                  </a:lnTo>
                  <a:lnTo>
                    <a:pt x="535922" y="302982"/>
                  </a:lnTo>
                  <a:close/>
                  <a:moveTo>
                    <a:pt x="187868" y="281930"/>
                  </a:moveTo>
                  <a:lnTo>
                    <a:pt x="187868" y="325213"/>
                  </a:lnTo>
                  <a:lnTo>
                    <a:pt x="294264" y="325213"/>
                  </a:lnTo>
                  <a:lnTo>
                    <a:pt x="294264" y="281930"/>
                  </a:lnTo>
                  <a:close/>
                  <a:moveTo>
                    <a:pt x="388149" y="229499"/>
                  </a:moveTo>
                  <a:cubicBezTo>
                    <a:pt x="387755" y="229499"/>
                    <a:pt x="387459" y="229794"/>
                    <a:pt x="387459" y="230187"/>
                  </a:cubicBezTo>
                  <a:lnTo>
                    <a:pt x="387459" y="325213"/>
                  </a:lnTo>
                  <a:lnTo>
                    <a:pt x="409822" y="325213"/>
                  </a:lnTo>
                  <a:lnTo>
                    <a:pt x="409822" y="293144"/>
                  </a:lnTo>
                  <a:cubicBezTo>
                    <a:pt x="409822" y="287636"/>
                    <a:pt x="414256" y="283307"/>
                    <a:pt x="419674" y="283307"/>
                  </a:cubicBezTo>
                  <a:lnTo>
                    <a:pt x="472872" y="283307"/>
                  </a:lnTo>
                  <a:lnTo>
                    <a:pt x="472872" y="230187"/>
                  </a:lnTo>
                  <a:cubicBezTo>
                    <a:pt x="472872" y="229794"/>
                    <a:pt x="472576" y="229499"/>
                    <a:pt x="472182" y="229499"/>
                  </a:cubicBezTo>
                  <a:close/>
                  <a:moveTo>
                    <a:pt x="135951" y="229499"/>
                  </a:moveTo>
                  <a:cubicBezTo>
                    <a:pt x="135557" y="229499"/>
                    <a:pt x="135261" y="229794"/>
                    <a:pt x="135261" y="230187"/>
                  </a:cubicBezTo>
                  <a:lnTo>
                    <a:pt x="135261" y="325213"/>
                  </a:lnTo>
                  <a:lnTo>
                    <a:pt x="168165" y="325213"/>
                  </a:lnTo>
                  <a:lnTo>
                    <a:pt x="168165" y="272093"/>
                  </a:lnTo>
                  <a:cubicBezTo>
                    <a:pt x="168165" y="266683"/>
                    <a:pt x="172500" y="262256"/>
                    <a:pt x="178017" y="262256"/>
                  </a:cubicBezTo>
                  <a:lnTo>
                    <a:pt x="220674" y="262256"/>
                  </a:lnTo>
                  <a:lnTo>
                    <a:pt x="220674" y="230187"/>
                  </a:lnTo>
                  <a:cubicBezTo>
                    <a:pt x="220674" y="229794"/>
                    <a:pt x="220378" y="229499"/>
                    <a:pt x="219984" y="229499"/>
                  </a:cubicBezTo>
                  <a:close/>
                  <a:moveTo>
                    <a:pt x="398001" y="189855"/>
                  </a:moveTo>
                  <a:lnTo>
                    <a:pt x="398001" y="209825"/>
                  </a:lnTo>
                  <a:lnTo>
                    <a:pt x="462331" y="209825"/>
                  </a:lnTo>
                  <a:lnTo>
                    <a:pt x="462331" y="189855"/>
                  </a:lnTo>
                  <a:cubicBezTo>
                    <a:pt x="455041" y="194971"/>
                    <a:pt x="443712" y="198020"/>
                    <a:pt x="430215" y="198020"/>
                  </a:cubicBezTo>
                  <a:cubicBezTo>
                    <a:pt x="416620" y="198020"/>
                    <a:pt x="405389" y="194971"/>
                    <a:pt x="398001" y="189855"/>
                  </a:cubicBezTo>
                  <a:close/>
                  <a:moveTo>
                    <a:pt x="145802" y="189855"/>
                  </a:moveTo>
                  <a:lnTo>
                    <a:pt x="145802" y="209825"/>
                  </a:lnTo>
                  <a:lnTo>
                    <a:pt x="210132" y="209825"/>
                  </a:lnTo>
                  <a:lnTo>
                    <a:pt x="210132" y="189855"/>
                  </a:lnTo>
                  <a:cubicBezTo>
                    <a:pt x="202842" y="194971"/>
                    <a:pt x="191513" y="198020"/>
                    <a:pt x="178017" y="198020"/>
                  </a:cubicBezTo>
                  <a:cubicBezTo>
                    <a:pt x="164422" y="198020"/>
                    <a:pt x="153191" y="194971"/>
                    <a:pt x="145802" y="189855"/>
                  </a:cubicBezTo>
                  <a:close/>
                  <a:moveTo>
                    <a:pt x="482034" y="186216"/>
                  </a:moveTo>
                  <a:lnTo>
                    <a:pt x="482034" y="212382"/>
                  </a:lnTo>
                  <a:cubicBezTo>
                    <a:pt x="488339" y="215825"/>
                    <a:pt x="492575" y="222514"/>
                    <a:pt x="492575" y="230187"/>
                  </a:cubicBezTo>
                  <a:lnTo>
                    <a:pt x="492575" y="283307"/>
                  </a:lnTo>
                  <a:lnTo>
                    <a:pt x="514938" y="283307"/>
                  </a:lnTo>
                  <a:lnTo>
                    <a:pt x="514938" y="211890"/>
                  </a:lnTo>
                  <a:cubicBezTo>
                    <a:pt x="514938" y="202348"/>
                    <a:pt x="508436" y="193790"/>
                    <a:pt x="499175" y="191134"/>
                  </a:cubicBezTo>
                  <a:close/>
                  <a:moveTo>
                    <a:pt x="378298" y="186216"/>
                  </a:moveTo>
                  <a:lnTo>
                    <a:pt x="361156" y="191134"/>
                  </a:lnTo>
                  <a:cubicBezTo>
                    <a:pt x="351896" y="193790"/>
                    <a:pt x="345492" y="202348"/>
                    <a:pt x="345492" y="211890"/>
                  </a:cubicBezTo>
                  <a:lnTo>
                    <a:pt x="345492" y="325213"/>
                  </a:lnTo>
                  <a:lnTo>
                    <a:pt x="367756" y="325213"/>
                  </a:lnTo>
                  <a:lnTo>
                    <a:pt x="367756" y="230187"/>
                  </a:lnTo>
                  <a:cubicBezTo>
                    <a:pt x="367756" y="222514"/>
                    <a:pt x="371993" y="215825"/>
                    <a:pt x="378298" y="212382"/>
                  </a:cubicBezTo>
                  <a:close/>
                  <a:moveTo>
                    <a:pt x="229835" y="186216"/>
                  </a:moveTo>
                  <a:lnTo>
                    <a:pt x="229835" y="212382"/>
                  </a:lnTo>
                  <a:cubicBezTo>
                    <a:pt x="236140" y="215825"/>
                    <a:pt x="240377" y="222514"/>
                    <a:pt x="240377" y="230187"/>
                  </a:cubicBezTo>
                  <a:lnTo>
                    <a:pt x="240377" y="262256"/>
                  </a:lnTo>
                  <a:lnTo>
                    <a:pt x="262739" y="262256"/>
                  </a:lnTo>
                  <a:lnTo>
                    <a:pt x="262739" y="211890"/>
                  </a:lnTo>
                  <a:cubicBezTo>
                    <a:pt x="262739" y="202348"/>
                    <a:pt x="256237" y="193790"/>
                    <a:pt x="246977" y="191134"/>
                  </a:cubicBezTo>
                  <a:close/>
                  <a:moveTo>
                    <a:pt x="126099" y="186216"/>
                  </a:moveTo>
                  <a:lnTo>
                    <a:pt x="108958" y="191134"/>
                  </a:lnTo>
                  <a:cubicBezTo>
                    <a:pt x="99697" y="193790"/>
                    <a:pt x="93294" y="202348"/>
                    <a:pt x="93294" y="211890"/>
                  </a:cubicBezTo>
                  <a:lnTo>
                    <a:pt x="93294" y="325213"/>
                  </a:lnTo>
                  <a:lnTo>
                    <a:pt x="115558" y="325213"/>
                  </a:lnTo>
                  <a:lnTo>
                    <a:pt x="115558" y="230187"/>
                  </a:lnTo>
                  <a:cubicBezTo>
                    <a:pt x="115558" y="222514"/>
                    <a:pt x="119794" y="215825"/>
                    <a:pt x="126099" y="212382"/>
                  </a:cubicBezTo>
                  <a:close/>
                  <a:moveTo>
                    <a:pt x="408542" y="161131"/>
                  </a:moveTo>
                  <a:lnTo>
                    <a:pt x="408542" y="173132"/>
                  </a:lnTo>
                  <a:cubicBezTo>
                    <a:pt x="410413" y="174805"/>
                    <a:pt x="417704" y="178346"/>
                    <a:pt x="430215" y="178346"/>
                  </a:cubicBezTo>
                  <a:cubicBezTo>
                    <a:pt x="442726" y="178346"/>
                    <a:pt x="450016" y="174805"/>
                    <a:pt x="451888" y="173132"/>
                  </a:cubicBezTo>
                  <a:lnTo>
                    <a:pt x="451888" y="170476"/>
                  </a:lnTo>
                  <a:cubicBezTo>
                    <a:pt x="451888" y="170378"/>
                    <a:pt x="451888" y="170280"/>
                    <a:pt x="451888" y="170181"/>
                  </a:cubicBezTo>
                  <a:lnTo>
                    <a:pt x="451888" y="161131"/>
                  </a:lnTo>
                  <a:lnTo>
                    <a:pt x="451494" y="161328"/>
                  </a:lnTo>
                  <a:cubicBezTo>
                    <a:pt x="446371" y="164771"/>
                    <a:pt x="440460" y="166541"/>
                    <a:pt x="434353" y="166541"/>
                  </a:cubicBezTo>
                  <a:lnTo>
                    <a:pt x="426077" y="166541"/>
                  </a:lnTo>
                  <a:cubicBezTo>
                    <a:pt x="419969" y="166541"/>
                    <a:pt x="413960" y="164771"/>
                    <a:pt x="408936" y="161328"/>
                  </a:cubicBezTo>
                  <a:close/>
                  <a:moveTo>
                    <a:pt x="156343" y="161131"/>
                  </a:moveTo>
                  <a:lnTo>
                    <a:pt x="156343" y="173132"/>
                  </a:lnTo>
                  <a:cubicBezTo>
                    <a:pt x="158215" y="174805"/>
                    <a:pt x="165505" y="178346"/>
                    <a:pt x="178017" y="178346"/>
                  </a:cubicBezTo>
                  <a:cubicBezTo>
                    <a:pt x="190528" y="178346"/>
                    <a:pt x="197818" y="174805"/>
                    <a:pt x="199690" y="173132"/>
                  </a:cubicBezTo>
                  <a:lnTo>
                    <a:pt x="199690" y="170476"/>
                  </a:lnTo>
                  <a:cubicBezTo>
                    <a:pt x="199690" y="170378"/>
                    <a:pt x="199690" y="170280"/>
                    <a:pt x="199690" y="170181"/>
                  </a:cubicBezTo>
                  <a:lnTo>
                    <a:pt x="199690" y="161131"/>
                  </a:lnTo>
                  <a:lnTo>
                    <a:pt x="199296" y="161328"/>
                  </a:lnTo>
                  <a:cubicBezTo>
                    <a:pt x="194173" y="164771"/>
                    <a:pt x="188262" y="166541"/>
                    <a:pt x="182154" y="166541"/>
                  </a:cubicBezTo>
                  <a:lnTo>
                    <a:pt x="173879" y="166541"/>
                  </a:lnTo>
                  <a:cubicBezTo>
                    <a:pt x="167771" y="166541"/>
                    <a:pt x="161762" y="164771"/>
                    <a:pt x="156737" y="161328"/>
                  </a:cubicBezTo>
                  <a:close/>
                  <a:moveTo>
                    <a:pt x="398001" y="93059"/>
                  </a:moveTo>
                  <a:lnTo>
                    <a:pt x="398001" y="124537"/>
                  </a:lnTo>
                  <a:cubicBezTo>
                    <a:pt x="398001" y="128177"/>
                    <a:pt x="399872" y="131718"/>
                    <a:pt x="402926" y="133784"/>
                  </a:cubicBezTo>
                  <a:lnTo>
                    <a:pt x="419871" y="144998"/>
                  </a:lnTo>
                  <a:cubicBezTo>
                    <a:pt x="421644" y="146179"/>
                    <a:pt x="423811" y="146867"/>
                    <a:pt x="426077" y="146867"/>
                  </a:cubicBezTo>
                  <a:lnTo>
                    <a:pt x="434353" y="146867"/>
                  </a:lnTo>
                  <a:cubicBezTo>
                    <a:pt x="436520" y="146867"/>
                    <a:pt x="438687" y="146179"/>
                    <a:pt x="440559" y="144998"/>
                  </a:cubicBezTo>
                  <a:lnTo>
                    <a:pt x="457405" y="133784"/>
                  </a:lnTo>
                  <a:cubicBezTo>
                    <a:pt x="460459" y="131718"/>
                    <a:pt x="462331" y="128177"/>
                    <a:pt x="462331" y="124537"/>
                  </a:cubicBezTo>
                  <a:lnTo>
                    <a:pt x="462331" y="93059"/>
                  </a:lnTo>
                  <a:close/>
                  <a:moveTo>
                    <a:pt x="145802" y="93059"/>
                  </a:moveTo>
                  <a:lnTo>
                    <a:pt x="145802" y="124537"/>
                  </a:lnTo>
                  <a:cubicBezTo>
                    <a:pt x="145802" y="128177"/>
                    <a:pt x="147674" y="131718"/>
                    <a:pt x="150728" y="133784"/>
                  </a:cubicBezTo>
                  <a:lnTo>
                    <a:pt x="167672" y="144998"/>
                  </a:lnTo>
                  <a:cubicBezTo>
                    <a:pt x="169446" y="146179"/>
                    <a:pt x="171613" y="146867"/>
                    <a:pt x="173879" y="146867"/>
                  </a:cubicBezTo>
                  <a:lnTo>
                    <a:pt x="182154" y="146867"/>
                  </a:lnTo>
                  <a:cubicBezTo>
                    <a:pt x="184322" y="146867"/>
                    <a:pt x="186489" y="146179"/>
                    <a:pt x="188361" y="144998"/>
                  </a:cubicBezTo>
                  <a:lnTo>
                    <a:pt x="205207" y="133784"/>
                  </a:lnTo>
                  <a:cubicBezTo>
                    <a:pt x="208261" y="131718"/>
                    <a:pt x="210132" y="128177"/>
                    <a:pt x="210132" y="124537"/>
                  </a:cubicBezTo>
                  <a:lnTo>
                    <a:pt x="210132" y="93059"/>
                  </a:lnTo>
                  <a:close/>
                  <a:moveTo>
                    <a:pt x="440066" y="31282"/>
                  </a:moveTo>
                  <a:lnTo>
                    <a:pt x="440066" y="73384"/>
                  </a:lnTo>
                  <a:lnTo>
                    <a:pt x="472182" y="73384"/>
                  </a:lnTo>
                  <a:lnTo>
                    <a:pt x="472872" y="73384"/>
                  </a:lnTo>
                  <a:lnTo>
                    <a:pt x="472872" y="72794"/>
                  </a:lnTo>
                  <a:cubicBezTo>
                    <a:pt x="472872" y="52628"/>
                    <a:pt x="458883" y="35709"/>
                    <a:pt x="440066" y="31282"/>
                  </a:cubicBezTo>
                  <a:close/>
                  <a:moveTo>
                    <a:pt x="420363" y="31282"/>
                  </a:moveTo>
                  <a:cubicBezTo>
                    <a:pt x="401547" y="35709"/>
                    <a:pt x="387459" y="52628"/>
                    <a:pt x="387459" y="72794"/>
                  </a:cubicBezTo>
                  <a:lnTo>
                    <a:pt x="387459" y="73384"/>
                  </a:lnTo>
                  <a:lnTo>
                    <a:pt x="388149" y="73384"/>
                  </a:lnTo>
                  <a:lnTo>
                    <a:pt x="420363" y="73384"/>
                  </a:lnTo>
                  <a:close/>
                  <a:moveTo>
                    <a:pt x="187868" y="31282"/>
                  </a:moveTo>
                  <a:lnTo>
                    <a:pt x="187868" y="73384"/>
                  </a:lnTo>
                  <a:lnTo>
                    <a:pt x="219984" y="73384"/>
                  </a:lnTo>
                  <a:lnTo>
                    <a:pt x="220674" y="73384"/>
                  </a:lnTo>
                  <a:lnTo>
                    <a:pt x="220674" y="72794"/>
                  </a:lnTo>
                  <a:cubicBezTo>
                    <a:pt x="220674" y="52628"/>
                    <a:pt x="206684" y="35709"/>
                    <a:pt x="187868" y="31282"/>
                  </a:cubicBezTo>
                  <a:close/>
                  <a:moveTo>
                    <a:pt x="168165" y="31282"/>
                  </a:moveTo>
                  <a:cubicBezTo>
                    <a:pt x="149349" y="35709"/>
                    <a:pt x="135261" y="52628"/>
                    <a:pt x="135261" y="72794"/>
                  </a:cubicBezTo>
                  <a:lnTo>
                    <a:pt x="135261" y="73384"/>
                  </a:lnTo>
                  <a:lnTo>
                    <a:pt x="135951" y="73384"/>
                  </a:lnTo>
                  <a:lnTo>
                    <a:pt x="168165" y="73384"/>
                  </a:lnTo>
                  <a:close/>
                  <a:moveTo>
                    <a:pt x="178017" y="0"/>
                  </a:moveTo>
                  <a:cubicBezTo>
                    <a:pt x="183435" y="0"/>
                    <a:pt x="187868" y="4328"/>
                    <a:pt x="187868" y="9837"/>
                  </a:cubicBezTo>
                  <a:lnTo>
                    <a:pt x="187868" y="11214"/>
                  </a:lnTo>
                  <a:cubicBezTo>
                    <a:pt x="217620" y="15936"/>
                    <a:pt x="240377" y="41709"/>
                    <a:pt x="240377" y="72794"/>
                  </a:cubicBezTo>
                  <a:lnTo>
                    <a:pt x="240377" y="73384"/>
                  </a:lnTo>
                  <a:lnTo>
                    <a:pt x="241066" y="73384"/>
                  </a:lnTo>
                  <a:cubicBezTo>
                    <a:pt x="246484" y="73384"/>
                    <a:pt x="250918" y="77811"/>
                    <a:pt x="250918" y="83222"/>
                  </a:cubicBezTo>
                  <a:cubicBezTo>
                    <a:pt x="250918" y="88730"/>
                    <a:pt x="246484" y="93059"/>
                    <a:pt x="241066" y="93059"/>
                  </a:cubicBezTo>
                  <a:lnTo>
                    <a:pt x="229835" y="93059"/>
                  </a:lnTo>
                  <a:lnTo>
                    <a:pt x="229835" y="124537"/>
                  </a:lnTo>
                  <a:cubicBezTo>
                    <a:pt x="229835" y="133489"/>
                    <a:pt x="225993" y="141850"/>
                    <a:pt x="219393" y="147654"/>
                  </a:cubicBezTo>
                  <a:lnTo>
                    <a:pt x="219393" y="162803"/>
                  </a:lnTo>
                  <a:lnTo>
                    <a:pt x="252395" y="172247"/>
                  </a:lnTo>
                  <a:cubicBezTo>
                    <a:pt x="270030" y="177264"/>
                    <a:pt x="282442" y="193593"/>
                    <a:pt x="282442" y="211890"/>
                  </a:cubicBezTo>
                  <a:lnTo>
                    <a:pt x="282442" y="262256"/>
                  </a:lnTo>
                  <a:lnTo>
                    <a:pt x="304116" y="262256"/>
                  </a:lnTo>
                  <a:cubicBezTo>
                    <a:pt x="309534" y="262256"/>
                    <a:pt x="313967" y="266683"/>
                    <a:pt x="313967" y="272093"/>
                  </a:cubicBezTo>
                  <a:lnTo>
                    <a:pt x="313967" y="325213"/>
                  </a:lnTo>
                  <a:lnTo>
                    <a:pt x="325789" y="325213"/>
                  </a:lnTo>
                  <a:lnTo>
                    <a:pt x="325789" y="211890"/>
                  </a:lnTo>
                  <a:cubicBezTo>
                    <a:pt x="325789" y="193593"/>
                    <a:pt x="338103" y="177264"/>
                    <a:pt x="355738" y="172247"/>
                  </a:cubicBezTo>
                  <a:lnTo>
                    <a:pt x="388839" y="162803"/>
                  </a:lnTo>
                  <a:lnTo>
                    <a:pt x="388839" y="147654"/>
                  </a:lnTo>
                  <a:cubicBezTo>
                    <a:pt x="382140" y="141850"/>
                    <a:pt x="378298" y="133489"/>
                    <a:pt x="378298" y="124439"/>
                  </a:cubicBezTo>
                  <a:lnTo>
                    <a:pt x="378298" y="93059"/>
                  </a:lnTo>
                  <a:lnTo>
                    <a:pt x="367165" y="93059"/>
                  </a:lnTo>
                  <a:cubicBezTo>
                    <a:pt x="361648" y="93059"/>
                    <a:pt x="357314" y="88730"/>
                    <a:pt x="357314" y="83222"/>
                  </a:cubicBezTo>
                  <a:cubicBezTo>
                    <a:pt x="357314" y="77811"/>
                    <a:pt x="361648" y="73384"/>
                    <a:pt x="367165" y="73384"/>
                  </a:cubicBezTo>
                  <a:lnTo>
                    <a:pt x="367756" y="73384"/>
                  </a:lnTo>
                  <a:lnTo>
                    <a:pt x="367756" y="72794"/>
                  </a:lnTo>
                  <a:cubicBezTo>
                    <a:pt x="367756" y="41709"/>
                    <a:pt x="390612" y="15936"/>
                    <a:pt x="420363" y="11214"/>
                  </a:cubicBezTo>
                  <a:lnTo>
                    <a:pt x="420363" y="9837"/>
                  </a:lnTo>
                  <a:cubicBezTo>
                    <a:pt x="420363" y="4328"/>
                    <a:pt x="424698" y="0"/>
                    <a:pt x="430215" y="0"/>
                  </a:cubicBezTo>
                  <a:cubicBezTo>
                    <a:pt x="435633" y="0"/>
                    <a:pt x="440066" y="4328"/>
                    <a:pt x="440066" y="9837"/>
                  </a:cubicBezTo>
                  <a:lnTo>
                    <a:pt x="440066" y="11214"/>
                  </a:lnTo>
                  <a:cubicBezTo>
                    <a:pt x="469818" y="15936"/>
                    <a:pt x="492575" y="41709"/>
                    <a:pt x="492575" y="72794"/>
                  </a:cubicBezTo>
                  <a:lnTo>
                    <a:pt x="492575" y="73384"/>
                  </a:lnTo>
                  <a:lnTo>
                    <a:pt x="493265" y="73384"/>
                  </a:lnTo>
                  <a:cubicBezTo>
                    <a:pt x="498683" y="73384"/>
                    <a:pt x="503116" y="77811"/>
                    <a:pt x="503116" y="83222"/>
                  </a:cubicBezTo>
                  <a:cubicBezTo>
                    <a:pt x="503116" y="88730"/>
                    <a:pt x="498683" y="93059"/>
                    <a:pt x="493265" y="93059"/>
                  </a:cubicBezTo>
                  <a:lnTo>
                    <a:pt x="482034" y="93059"/>
                  </a:lnTo>
                  <a:lnTo>
                    <a:pt x="482034" y="124537"/>
                  </a:lnTo>
                  <a:cubicBezTo>
                    <a:pt x="482034" y="133489"/>
                    <a:pt x="478192" y="141850"/>
                    <a:pt x="471591" y="147654"/>
                  </a:cubicBezTo>
                  <a:lnTo>
                    <a:pt x="471591" y="162803"/>
                  </a:lnTo>
                  <a:lnTo>
                    <a:pt x="504594" y="172247"/>
                  </a:lnTo>
                  <a:cubicBezTo>
                    <a:pt x="522228" y="177264"/>
                    <a:pt x="534641" y="193593"/>
                    <a:pt x="534641" y="211890"/>
                  </a:cubicBezTo>
                  <a:lnTo>
                    <a:pt x="534641" y="283307"/>
                  </a:lnTo>
                  <a:lnTo>
                    <a:pt x="545773" y="283307"/>
                  </a:lnTo>
                  <a:cubicBezTo>
                    <a:pt x="551191" y="283307"/>
                    <a:pt x="555624" y="287636"/>
                    <a:pt x="555624" y="293144"/>
                  </a:cubicBezTo>
                  <a:lnTo>
                    <a:pt x="555624" y="325213"/>
                  </a:lnTo>
                  <a:lnTo>
                    <a:pt x="556314" y="325213"/>
                  </a:lnTo>
                  <a:cubicBezTo>
                    <a:pt x="584883" y="325213"/>
                    <a:pt x="608133" y="348527"/>
                    <a:pt x="608133" y="377055"/>
                  </a:cubicBezTo>
                  <a:cubicBezTo>
                    <a:pt x="608133" y="405582"/>
                    <a:pt x="584883" y="428896"/>
                    <a:pt x="556314" y="428896"/>
                  </a:cubicBezTo>
                  <a:lnTo>
                    <a:pt x="51917" y="428896"/>
                  </a:lnTo>
                  <a:cubicBezTo>
                    <a:pt x="23250" y="428896"/>
                    <a:pt x="0" y="405582"/>
                    <a:pt x="0" y="377055"/>
                  </a:cubicBezTo>
                  <a:cubicBezTo>
                    <a:pt x="0" y="348527"/>
                    <a:pt x="23250" y="325213"/>
                    <a:pt x="51917" y="325213"/>
                  </a:cubicBezTo>
                  <a:lnTo>
                    <a:pt x="73591" y="325213"/>
                  </a:lnTo>
                  <a:lnTo>
                    <a:pt x="73591" y="211890"/>
                  </a:lnTo>
                  <a:cubicBezTo>
                    <a:pt x="73591" y="193593"/>
                    <a:pt x="85905" y="177264"/>
                    <a:pt x="103539" y="172247"/>
                  </a:cubicBezTo>
                  <a:lnTo>
                    <a:pt x="136640" y="162803"/>
                  </a:lnTo>
                  <a:lnTo>
                    <a:pt x="136640" y="147654"/>
                  </a:lnTo>
                  <a:cubicBezTo>
                    <a:pt x="129941" y="141850"/>
                    <a:pt x="126099" y="133489"/>
                    <a:pt x="126099" y="124439"/>
                  </a:cubicBezTo>
                  <a:lnTo>
                    <a:pt x="126099" y="93059"/>
                  </a:lnTo>
                  <a:lnTo>
                    <a:pt x="114967" y="93059"/>
                  </a:lnTo>
                  <a:cubicBezTo>
                    <a:pt x="109450" y="93059"/>
                    <a:pt x="105115" y="88730"/>
                    <a:pt x="105115" y="83222"/>
                  </a:cubicBezTo>
                  <a:cubicBezTo>
                    <a:pt x="105115" y="77811"/>
                    <a:pt x="109450" y="73384"/>
                    <a:pt x="114967" y="73384"/>
                  </a:cubicBezTo>
                  <a:lnTo>
                    <a:pt x="115558" y="73384"/>
                  </a:lnTo>
                  <a:lnTo>
                    <a:pt x="115558" y="72794"/>
                  </a:lnTo>
                  <a:cubicBezTo>
                    <a:pt x="115558" y="41709"/>
                    <a:pt x="138414" y="15936"/>
                    <a:pt x="168165" y="11214"/>
                  </a:cubicBezTo>
                  <a:lnTo>
                    <a:pt x="168165" y="9837"/>
                  </a:lnTo>
                  <a:cubicBezTo>
                    <a:pt x="168165" y="4328"/>
                    <a:pt x="172500" y="0"/>
                    <a:pt x="1780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A5864CA1-4D44-43D0-9692-71CF1D4E0B53}"/>
                </a:ext>
              </a:extLst>
            </p:cNvPr>
            <p:cNvSpPr/>
            <p:nvPr/>
          </p:nvSpPr>
          <p:spPr>
            <a:xfrm>
              <a:off x="8441919" y="1790700"/>
              <a:ext cx="514350" cy="51435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C810EEE1-64F0-4DD3-B556-45F16C378369}"/>
              </a:ext>
            </a:extLst>
          </p:cNvPr>
          <p:cNvCxnSpPr>
            <a:cxnSpLocks/>
          </p:cNvCxnSpPr>
          <p:nvPr/>
        </p:nvCxnSpPr>
        <p:spPr>
          <a:xfrm>
            <a:off x="2952905" y="6136640"/>
            <a:ext cx="1080000" cy="0"/>
          </a:xfrm>
          <a:prstGeom prst="line">
            <a:avLst/>
          </a:prstGeom>
          <a:ln w="38100" cap="rnd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4C70A97D-3B75-44F1-AC9F-0A11A8F1F9ED}"/>
              </a:ext>
            </a:extLst>
          </p:cNvPr>
          <p:cNvCxnSpPr>
            <a:cxnSpLocks/>
          </p:cNvCxnSpPr>
          <p:nvPr/>
        </p:nvCxnSpPr>
        <p:spPr>
          <a:xfrm>
            <a:off x="8159094" y="6136640"/>
            <a:ext cx="1080000" cy="0"/>
          </a:xfrm>
          <a:prstGeom prst="line">
            <a:avLst/>
          </a:prstGeom>
          <a:ln w="38100" cap="rnd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548953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>
            <a:extLst>
              <a:ext uri="{FF2B5EF4-FFF2-40B4-BE49-F238E27FC236}">
                <a16:creationId xmlns:a16="http://schemas.microsoft.com/office/drawing/2014/main" id="{9A5AEE6F-4F35-4A52-A7CA-15E9EA1EBC8D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航天-华迈-</a:t>
            </a:r>
            <a:r>
              <a:rPr lang="zh-CN" altLang="zh-CN" sz="3000" b="1" dirty="0">
                <a:solidFill>
                  <a:schemeClr val="tx1"/>
                </a:solidFill>
              </a:rPr>
              <a:t>航天芯片字符检测</a:t>
            </a: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E7E286DE-F139-4EB4-BDD3-9E5B1AF030FA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9185EF3B-2B9D-4465-B746-06184A026FE4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0BB116D-7CF7-4D40-8C07-D5227E5EEE21}"/>
              </a:ext>
            </a:extLst>
          </p:cNvPr>
          <p:cNvSpPr txBox="1"/>
          <p:nvPr/>
        </p:nvSpPr>
        <p:spPr>
          <a:xfrm>
            <a:off x="330200" y="371957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光线暗淡，取图质量差</a:t>
            </a:r>
          </a:p>
          <a:p>
            <a:r>
              <a:rPr lang="zh-CN" altLang="zh-CN" dirty="0"/>
              <a:t>字符样式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雕刻方式多种多样，字符的角度都不一样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1A01254-0890-4C37-96B7-68B77812FDC2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035ED799-BD29-45AA-AB9A-27814D925699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EACC0A28-EBAF-419F-9F1F-F60E98085BE5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航天芯片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FMN-BMTTR-A-TBT(HF1)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2DF8743-EA3C-4390-B0CA-FC96CE8B90E6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1A14870-7F39-40EC-8F94-9BE85A3BAAFE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D7372029-228A-48CA-9C1C-10F844F43DEE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B11891D8-4537-4D85-823B-B517E463CA33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2D3FCCC1-D8A6-46CB-A7DC-904DFE07FECE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iconfont-11673-5560736">
              <a:extLst>
                <a:ext uri="{FF2B5EF4-FFF2-40B4-BE49-F238E27FC236}">
                  <a16:creationId xmlns:a16="http://schemas.microsoft.com/office/drawing/2014/main" id="{1C44E3A9-C8D6-4908-8700-9CC6243D5495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56A9347C-6AEA-40F5-8438-F103E13BD284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37B6A470-BD4A-49ED-8AD2-F000491F4743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82D7A979-F45A-4093-ADC3-D76BE02C80A6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cart_155395">
            <a:extLst>
              <a:ext uri="{FF2B5EF4-FFF2-40B4-BE49-F238E27FC236}">
                <a16:creationId xmlns:a16="http://schemas.microsoft.com/office/drawing/2014/main" id="{0E1B44FB-C2CC-42F7-A356-A1834A6182E3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Picture 189">
            <a:extLst>
              <a:ext uri="{FF2B5EF4-FFF2-40B4-BE49-F238E27FC236}">
                <a16:creationId xmlns:a16="http://schemas.microsoft.com/office/drawing/2014/main" id="{5405E4F8-E191-4499-A20D-CB58A57CE212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57" r="25271"/>
          <a:stretch/>
        </p:blipFill>
        <p:spPr>
          <a:xfrm>
            <a:off x="8761443" y="1609045"/>
            <a:ext cx="3087658" cy="391545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26A0B1F-576D-41B5-BCCD-A1363F164B0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95714" y="2103419"/>
            <a:ext cx="2835054" cy="2281077"/>
          </a:xfrm>
          <a:prstGeom prst="rect">
            <a:avLst/>
          </a:prstGeom>
        </p:spPr>
      </p:pic>
      <p:pic>
        <p:nvPicPr>
          <p:cNvPr id="13" name="图片 10">
            <a:extLst>
              <a:ext uri="{FF2B5EF4-FFF2-40B4-BE49-F238E27FC236}">
                <a16:creationId xmlns:a16="http://schemas.microsoft.com/office/drawing/2014/main" id="{B4EEC5C4-3473-4C36-9161-CBD857F088D7}"/>
              </a:ext>
            </a:extLst>
          </p:cNvPr>
          <p:cNvPicPr/>
          <p:nvPr/>
        </p:nvPicPr>
        <p:blipFill>
          <a:blip r:embed="rId4"/>
          <a:srcRect l="34236" t="35771" r="38428" b="34412"/>
          <a:stretch>
            <a:fillRect/>
          </a:stretch>
        </p:blipFill>
        <p:spPr>
          <a:xfrm>
            <a:off x="7214940" y="3546945"/>
            <a:ext cx="1120438" cy="99683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>
            <a:softEdge rad="0"/>
          </a:effectLst>
        </p:spPr>
      </p:pic>
      <p:pic>
        <p:nvPicPr>
          <p:cNvPr id="48" name="图形 47">
            <a:extLst>
              <a:ext uri="{FF2B5EF4-FFF2-40B4-BE49-F238E27FC236}">
                <a16:creationId xmlns:a16="http://schemas.microsoft.com/office/drawing/2014/main" id="{AE6B81FB-C364-412D-917B-57B55EE188A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49578" y="2426132"/>
            <a:ext cx="685800" cy="685800"/>
          </a:xfrm>
          <a:prstGeom prst="rect">
            <a:avLst/>
          </a:prstGeom>
        </p:spPr>
      </p:pic>
      <p:sp>
        <p:nvSpPr>
          <p:cNvPr id="79" name="文本框 78">
            <a:extLst>
              <a:ext uri="{FF2B5EF4-FFF2-40B4-BE49-F238E27FC236}">
                <a16:creationId xmlns:a16="http://schemas.microsoft.com/office/drawing/2014/main" id="{083792F6-14D4-4461-93E2-61681E360A85}"/>
              </a:ext>
            </a:extLst>
          </p:cNvPr>
          <p:cNvSpPr txBox="1"/>
          <p:nvPr/>
        </p:nvSpPr>
        <p:spPr>
          <a:xfrm>
            <a:off x="641239" y="5237540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功能多样</a:t>
            </a:r>
            <a:endParaRPr lang="en-US" altLang="zh-CN" dirty="0"/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6B181E67-C463-452C-9B8F-054F9E57EF3A}"/>
              </a:ext>
            </a:extLst>
          </p:cNvPr>
          <p:cNvSpPr txBox="1"/>
          <p:nvPr/>
        </p:nvSpPr>
        <p:spPr>
          <a:xfrm>
            <a:off x="641239" y="5687729"/>
            <a:ext cx="2185214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识别字符的同时</a:t>
            </a:r>
            <a:br>
              <a:rPr lang="en-US" altLang="zh-CN" dirty="0"/>
            </a:br>
            <a:r>
              <a:rPr lang="zh-CN" altLang="zh-CN" dirty="0"/>
              <a:t>可以检测产品表面的字符缺陷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C8CA32BF-B1DA-4A8F-8534-F22683F589C3}"/>
              </a:ext>
            </a:extLst>
          </p:cNvPr>
          <p:cNvSpPr txBox="1"/>
          <p:nvPr/>
        </p:nvSpPr>
        <p:spPr>
          <a:xfrm>
            <a:off x="4338168" y="5237540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/>
              <a:t>提高产能</a:t>
            </a:r>
            <a:endParaRPr lang="en-US" altLang="zh-CN" dirty="0"/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7294CE62-EEE9-4F0B-B540-310B8F11DC8B}"/>
              </a:ext>
            </a:extLst>
          </p:cNvPr>
          <p:cNvSpPr txBox="1"/>
          <p:nvPr/>
        </p:nvSpPr>
        <p:spPr>
          <a:xfrm>
            <a:off x="4338168" y="5687729"/>
            <a:ext cx="1423788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生产节拍提升</a:t>
            </a:r>
            <a:r>
              <a:rPr lang="en-US" altLang="zh-CN" dirty="0"/>
              <a:t>50%</a:t>
            </a:r>
            <a:br>
              <a:rPr lang="en-US" altLang="zh-CN" dirty="0"/>
            </a:br>
            <a:r>
              <a:rPr lang="zh-CN" altLang="zh-CN" dirty="0"/>
              <a:t>达到</a:t>
            </a:r>
            <a:r>
              <a:rPr lang="en-US" altLang="zh-CN" dirty="0"/>
              <a:t>1500 </a:t>
            </a:r>
            <a:r>
              <a:rPr lang="en-GB" altLang="zh-CN" dirty="0"/>
              <a:t>UPH</a:t>
            </a:r>
          </a:p>
        </p:txBody>
      </p:sp>
    </p:spTree>
    <p:extLst>
      <p:ext uri="{BB962C8B-B14F-4D97-AF65-F5344CB8AC3E}">
        <p14:creationId xmlns:p14="http://schemas.microsoft.com/office/powerpoint/2010/main" val="25814612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1">
            <a:extLst>
              <a:ext uri="{FF2B5EF4-FFF2-40B4-BE49-F238E27FC236}">
                <a16:creationId xmlns:a16="http://schemas.microsoft.com/office/drawing/2014/main" id="{8B1D381C-FC24-4073-A7EA-9CB59E10983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钢铁-上海照影-</a:t>
            </a:r>
            <a:r>
              <a:rPr lang="zh-CN" altLang="zh-CN" sz="3000" b="1" dirty="0">
                <a:solidFill>
                  <a:schemeClr val="tx1"/>
                </a:solidFill>
              </a:rPr>
              <a:t>钢料OCR字符识别 </a:t>
            </a:r>
          </a:p>
        </p:txBody>
      </p:sp>
      <p:pic>
        <p:nvPicPr>
          <p:cNvPr id="3" name="图片 2" descr="卡车停在路边&#10;&#10;低可信度描述已自动生成">
            <a:extLst>
              <a:ext uri="{FF2B5EF4-FFF2-40B4-BE49-F238E27FC236}">
                <a16:creationId xmlns:a16="http://schemas.microsoft.com/office/drawing/2014/main" id="{BBC03C6D-7C08-44F5-A520-5B6CAE1F934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22" r="6903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43074FCB-267E-4300-93DD-C9EB5FEBBA5B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5D148502-7EAC-4300-A905-FDC405313129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3329FB5B-DB47-4098-968E-19788E22EA96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26E71045-68EF-43EC-98B7-8219292DB771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位+ROI+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CR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8C9E45E5-E048-412F-9C22-34B67FA6649F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verified-list-of-exercises-of-a-gymnast-on-a-clipboard_30818">
            <a:extLst>
              <a:ext uri="{FF2B5EF4-FFF2-40B4-BE49-F238E27FC236}">
                <a16:creationId xmlns:a16="http://schemas.microsoft.com/office/drawing/2014/main" id="{01C8CC08-D003-4427-840F-64856C78D7CE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73DD2190-4B90-4645-BCD0-8B08C2FD0DBC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E4F9DA1F-EAAE-443A-BD71-01235E46CE25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成像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检测过程中钢料会多方向的旋转，识别难度大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0275AAA-02A9-4410-BE20-62FAC82A7EEF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3E8D58A5-EE5E-4B41-8ABE-131B560CD250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9004033C-351B-424E-86B4-D6B1BDCE7BCE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识别钢料上的字符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7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8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5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、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930C42E-73FA-4BD3-8D8F-0DA22C6BD5DF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5DDADD4C-EC4E-47A9-AA50-B9298C4ACD4E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AAB8E71A-02A5-4C78-B869-CADCB9A72132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64" name="矩形: 圆角 63">
              <a:extLst>
                <a:ext uri="{FF2B5EF4-FFF2-40B4-BE49-F238E27FC236}">
                  <a16:creationId xmlns:a16="http://schemas.microsoft.com/office/drawing/2014/main" id="{AAACB604-6BDA-472D-B377-5D7CD338B28A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iconfont-11673-5560736">
              <a:extLst>
                <a:ext uri="{FF2B5EF4-FFF2-40B4-BE49-F238E27FC236}">
                  <a16:creationId xmlns:a16="http://schemas.microsoft.com/office/drawing/2014/main" id="{5F2D498D-CCBE-4AE8-A966-B1F85A994F79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E510E5AF-D8D1-4441-A0D5-D732D40EFEA8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636320C2-A162-414A-BEBF-3B32731EEC02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6EA5027A-5A3D-484C-8DAC-B1CB08DCF6FD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cart_155395">
            <a:extLst>
              <a:ext uri="{FF2B5EF4-FFF2-40B4-BE49-F238E27FC236}">
                <a16:creationId xmlns:a16="http://schemas.microsoft.com/office/drawing/2014/main" id="{C136AFCC-0FC2-4062-87EC-6F8BCF3EE2BD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134F460-EFC3-41E0-AC55-D422761B9C3B}"/>
              </a:ext>
            </a:extLst>
          </p:cNvPr>
          <p:cNvPicPr/>
          <p:nvPr/>
        </p:nvPicPr>
        <p:blipFill rotWithShape="1">
          <a:blip r:embed="rId3"/>
          <a:srcRect b="51061"/>
          <a:stretch/>
        </p:blipFill>
        <p:spPr>
          <a:xfrm>
            <a:off x="4695714" y="2568064"/>
            <a:ext cx="2155826" cy="82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465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BB1C5090-A4C4-4699-BFBE-967EB5782B1B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A4244A42-0860-4967-90DA-F45574F27E45}"/>
              </a:ext>
            </a:extLst>
          </p:cNvPr>
          <p:cNvSpPr/>
          <p:nvPr/>
        </p:nvSpPr>
        <p:spPr>
          <a:xfrm>
            <a:off x="4532036" y="208166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标题 1">
            <a:extLst>
              <a:ext uri="{FF2B5EF4-FFF2-40B4-BE49-F238E27FC236}">
                <a16:creationId xmlns:a16="http://schemas.microsoft.com/office/drawing/2014/main" id="{39AFDF1C-CA05-4C03-8BD3-CEB8ED68736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钢铁-北京拓野-</a:t>
            </a:r>
            <a:r>
              <a:rPr lang="zh-CN" altLang="zh-CN" sz="3000" b="1" dirty="0">
                <a:solidFill>
                  <a:schemeClr val="tx1"/>
                </a:solidFill>
              </a:rPr>
              <a:t>钢卷OCR识别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E5742F6-9E47-4C91-A40E-BF6101E1308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695713" y="2568064"/>
            <a:ext cx="2553023" cy="2451611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774A5DEE-C003-48B4-89CD-4D98170FA08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5" name="文本框 54">
            <a:extLst>
              <a:ext uri="{FF2B5EF4-FFF2-40B4-BE49-F238E27FC236}">
                <a16:creationId xmlns:a16="http://schemas.microsoft.com/office/drawing/2014/main" id="{1BF7CD5E-DBC1-43FB-B77E-C48CFFC944D6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钢卷上的字符具有一定角度的弯曲，需要</a:t>
            </a:r>
            <a:b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做到精确的定位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不清晰，存在字符不完整的情况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光线暗淡，取图质量差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53225AD6-9FC2-454F-8829-710E03B80FAB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DB80BAE9-BD65-4654-8BA3-C4D43F39D4CD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E978DE59-04BF-46DA-9F45-7CA11A9B9836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识别钢卷上的生产编号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H219C10708500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C08E8834-2B37-4CC3-9DDD-A6B24C0A5A05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0FB2F3F0-B987-4045-9382-B8AF0BFDA8CC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C7D1296B-8E72-4292-8B36-3A58C5FD98C6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62" name="矩形: 圆角 61">
              <a:extLst>
                <a:ext uri="{FF2B5EF4-FFF2-40B4-BE49-F238E27FC236}">
                  <a16:creationId xmlns:a16="http://schemas.microsoft.com/office/drawing/2014/main" id="{636B94DE-1417-414A-9A30-6BD3F70EE2BA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iconfont-11673-5560736">
              <a:extLst>
                <a:ext uri="{FF2B5EF4-FFF2-40B4-BE49-F238E27FC236}">
                  <a16:creationId xmlns:a16="http://schemas.microsoft.com/office/drawing/2014/main" id="{43E538F8-5DEF-423D-9C96-D029D1209719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E21AB2E2-B6F0-4BFA-8E6F-5FCD31ADFF45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2B48D420-FC82-479E-879D-B2E1EC5D32BB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100A054D-FF3F-4517-BAA7-C08BE7F48BFC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cart_155395">
            <a:extLst>
              <a:ext uri="{FF2B5EF4-FFF2-40B4-BE49-F238E27FC236}">
                <a16:creationId xmlns:a16="http://schemas.microsoft.com/office/drawing/2014/main" id="{71D2E1CA-5E13-4A89-B29D-219A07B38221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0363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>
            <a:extLst>
              <a:ext uri="{FF2B5EF4-FFF2-40B4-BE49-F238E27FC236}">
                <a16:creationId xmlns:a16="http://schemas.microsoft.com/office/drawing/2014/main" id="{0A4DA576-D444-4F59-94C1-216751B84E0F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铁路-株洲时代新材料科技-</a:t>
            </a:r>
            <a:r>
              <a:rPr lang="zh-CN" altLang="zh-CN" sz="3000" b="1" dirty="0">
                <a:solidFill>
                  <a:schemeClr val="tx1"/>
                </a:solidFill>
              </a:rPr>
              <a:t>火车金属板字符检测</a:t>
            </a: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0E5E5E8B-DD52-470B-A69F-67F77BD3CDE8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59F43ECF-DDA4-4718-83BA-74295D976BAD}"/>
              </a:ext>
            </a:extLst>
          </p:cNvPr>
          <p:cNvSpPr/>
          <p:nvPr/>
        </p:nvSpPr>
        <p:spPr>
          <a:xfrm>
            <a:off x="4532036" y="208166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7" name="图片 46">
            <a:extLst>
              <a:ext uri="{FF2B5EF4-FFF2-40B4-BE49-F238E27FC236}">
                <a16:creationId xmlns:a16="http://schemas.microsoft.com/office/drawing/2014/main" id="{6EED68DB-0D1C-4340-B48A-27F18461C5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E89E0952-176B-4457-AE7C-D35BEA24CC5C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刻印很浅，和背景颜色极为相似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AC15F3E8-76F5-41B3-AE2F-8B8765D0DD30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364A52B6-00F0-4674-9411-2C50DDAF2B9B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9F19CDE-CE8D-4E45-B478-DC5D83D9F214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火车金属板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ABCDEFG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7E30AE57-5D11-4846-B749-9B69E7C0662A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9193F579-28C6-476D-BEA7-299233D3667D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2834E536-7369-4280-B907-17C99B1F1B8F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75E43A5A-95C1-4EFA-B555-07C31100BFA2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iconfont-11673-5560736">
              <a:extLst>
                <a:ext uri="{FF2B5EF4-FFF2-40B4-BE49-F238E27FC236}">
                  <a16:creationId xmlns:a16="http://schemas.microsoft.com/office/drawing/2014/main" id="{6B4F81EC-971F-496D-9174-403900FD548A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12D516CA-F42E-41EC-ABFD-81AEE239AED2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0DA7A746-B2AE-412C-A62B-74CB5EBD2065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0BE2EB03-7C14-4B9E-845F-2A23EB103877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cart_155395">
            <a:extLst>
              <a:ext uri="{FF2B5EF4-FFF2-40B4-BE49-F238E27FC236}">
                <a16:creationId xmlns:a16="http://schemas.microsoft.com/office/drawing/2014/main" id="{4DA02D7A-841E-4FA2-97D6-4FDF950DA95A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8875E2F-AF54-434D-B76D-DE7DF1C3B206}"/>
              </a:ext>
            </a:extLst>
          </p:cNvPr>
          <p:cNvPicPr/>
          <p:nvPr/>
        </p:nvPicPr>
        <p:blipFill rotWithShape="1">
          <a:blip r:embed="rId3"/>
          <a:srcRect l="3115" t="12671" b="27585"/>
          <a:stretch/>
        </p:blipFill>
        <p:spPr>
          <a:xfrm>
            <a:off x="4695713" y="2568064"/>
            <a:ext cx="2457372" cy="245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7163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>
            <a:extLst>
              <a:ext uri="{FF2B5EF4-FFF2-40B4-BE49-F238E27FC236}">
                <a16:creationId xmlns:a16="http://schemas.microsoft.com/office/drawing/2014/main" id="{FF25FB87-DED4-4750-918E-51652954BC3E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水利</a:t>
            </a:r>
            <a:r>
              <a:rPr lang="en-US" altLang="zh-CN" sz="3000" dirty="0">
                <a:solidFill>
                  <a:schemeClr val="tx1"/>
                </a:solidFill>
                <a:latin typeface="+mn-ea"/>
                <a:ea typeface="+mn-ea"/>
              </a:rPr>
              <a:t>-</a:t>
            </a:r>
            <a:r>
              <a:rPr lang="zh-CN" altLang="zh-CN" sz="3000" b="1" dirty="0">
                <a:solidFill>
                  <a:schemeClr val="tx1"/>
                </a:solidFill>
              </a:rPr>
              <a:t>水管编号OCR识别</a:t>
            </a: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493CAECF-779E-4621-97A4-54B8467BF7F4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C77E611A-D7DE-4E7D-95F1-3B608CBD437D}"/>
              </a:ext>
            </a:extLst>
          </p:cNvPr>
          <p:cNvSpPr/>
          <p:nvPr/>
        </p:nvSpPr>
        <p:spPr>
          <a:xfrm>
            <a:off x="4532036" y="208166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8743C943-AB51-4236-81F0-57D55CC243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A2F05BDA-CAEA-4609-9C55-77739F8B5F2A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残缺，不完整</a:t>
            </a:r>
          </a:p>
          <a:p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具有一定角度的弯曲，需要做到精确的定位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2654711E-6CAB-4CB4-896C-F9A00DAE7BDF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AEC8BE0B-364B-4474-AD34-E7987E6B6E19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CD5FFD2-71C7-446F-9E51-1B57DDBA5712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水管编号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110001777844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6156AFD2-DE87-4FEA-A559-1FF9F1B2F7F0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65D94198-68B0-4E56-A76A-DC442797DF1D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A1D0108F-A063-437F-A496-A417860444BE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6A8E7653-6909-4673-A004-A13530F50307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confont-11673-5560736">
              <a:extLst>
                <a:ext uri="{FF2B5EF4-FFF2-40B4-BE49-F238E27FC236}">
                  <a16:creationId xmlns:a16="http://schemas.microsoft.com/office/drawing/2014/main" id="{7EA022DE-C783-4F2E-A93C-A0945EF4DF13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D7B6A377-C3D1-4498-B14F-281C45AC1C7A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5E8F2296-FBC5-4FB3-AABF-F8D57B33CC2D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C46016FD-6428-4F68-9C53-B1F475C3A162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cart_155395">
            <a:extLst>
              <a:ext uri="{FF2B5EF4-FFF2-40B4-BE49-F238E27FC236}">
                <a16:creationId xmlns:a16="http://schemas.microsoft.com/office/drawing/2014/main" id="{23000C5A-AEE5-4342-8164-060A386C8117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47F1399-7A66-4C22-AD41-CCB1AFCBBD9A}"/>
              </a:ext>
            </a:extLst>
          </p:cNvPr>
          <p:cNvPicPr/>
          <p:nvPr/>
        </p:nvPicPr>
        <p:blipFill rotWithShape="1">
          <a:blip r:embed="rId3"/>
          <a:srcRect b="39311"/>
          <a:stretch/>
        </p:blipFill>
        <p:spPr>
          <a:xfrm flipH="1">
            <a:off x="4695713" y="2568064"/>
            <a:ext cx="3213554" cy="245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422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矩形 43">
            <a:extLst>
              <a:ext uri="{FF2B5EF4-FFF2-40B4-BE49-F238E27FC236}">
                <a16:creationId xmlns:a16="http://schemas.microsoft.com/office/drawing/2014/main" id="{C8E5C85D-3262-429F-BABE-DD7FB15CAF46}"/>
              </a:ext>
            </a:extLst>
          </p:cNvPr>
          <p:cNvSpPr/>
          <p:nvPr/>
        </p:nvSpPr>
        <p:spPr>
          <a:xfrm>
            <a:off x="0" y="5210175"/>
            <a:ext cx="12192000" cy="1172736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18">
            <a:extLst>
              <a:ext uri="{FF2B5EF4-FFF2-40B4-BE49-F238E27FC236}">
                <a16:creationId xmlns:a16="http://schemas.microsoft.com/office/drawing/2014/main" id="{9ED48C09-CD06-4637-B646-4FA9AEDFE861}"/>
              </a:ext>
            </a:extLst>
          </p:cNvPr>
          <p:cNvSpPr txBox="1"/>
          <p:nvPr/>
        </p:nvSpPr>
        <p:spPr>
          <a:xfrm>
            <a:off x="330200" y="5263328"/>
            <a:ext cx="6475537" cy="1046440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pPr algn="just"/>
            <a:r>
              <a:rPr lang="zh-C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项目收益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  <a:p>
            <a:pPr marL="180975" indent="-180975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zh-CN" sz="1200" kern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了对客户之前落后的手抄数字的解决方案，同时搭建了枪支信息管理系统完成了枪支回收的数字化管理</a:t>
            </a:r>
            <a:endParaRPr lang="en-US" sz="1200" kern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zh-CN" sz="1200" kern="1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项目由于能兼容不同型号的枪支，后续作为标准机台推广到各个不同的军事教学基地</a:t>
            </a:r>
            <a:endParaRPr lang="en-US" sz="1200" kern="1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标题 1">
            <a:extLst>
              <a:ext uri="{FF2B5EF4-FFF2-40B4-BE49-F238E27FC236}">
                <a16:creationId xmlns:a16="http://schemas.microsoft.com/office/drawing/2014/main" id="{05693125-0379-4515-B085-23C7EA33D54B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军工-诺顶-</a:t>
            </a:r>
            <a:r>
              <a:rPr lang="zh-CN" altLang="zh-CN" sz="3000" b="1" dirty="0">
                <a:solidFill>
                  <a:schemeClr val="tx1"/>
                </a:solidFill>
              </a:rPr>
              <a:t>枪械OCR识别</a:t>
            </a: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3B33D15D-73C5-4F42-AE0E-7DFAE011B940}"/>
              </a:ext>
            </a:extLst>
          </p:cNvPr>
          <p:cNvSpPr/>
          <p:nvPr/>
        </p:nvSpPr>
        <p:spPr>
          <a:xfrm>
            <a:off x="4532036" y="1507449"/>
            <a:ext cx="3996000" cy="3424679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197DEEBE-D161-436B-98BA-ECBB083BCF7A}"/>
              </a:ext>
            </a:extLst>
          </p:cNvPr>
          <p:cNvSpPr/>
          <p:nvPr/>
        </p:nvSpPr>
        <p:spPr>
          <a:xfrm>
            <a:off x="330200" y="3154026"/>
            <a:ext cx="3996000" cy="1778102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CAFD7BC2-697F-43A7-9798-4EEFA7FC0452}"/>
              </a:ext>
            </a:extLst>
          </p:cNvPr>
          <p:cNvSpPr txBox="1"/>
          <p:nvPr/>
        </p:nvSpPr>
        <p:spPr>
          <a:xfrm>
            <a:off x="330200" y="3617979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多字体类型</a:t>
            </a:r>
            <a:r>
              <a:rPr lang="zh-CN" altLang="zh-CN" b="0" dirty="0"/>
              <a:t>：字符字体虽然都是数字但是因为枪支种类的不同有5种以上的字体类型</a:t>
            </a:r>
          </a:p>
          <a:p>
            <a:r>
              <a:rPr lang="zh-CN" altLang="zh-CN" dirty="0"/>
              <a:t>成像困难</a:t>
            </a:r>
            <a:r>
              <a:rPr lang="zh-CN" altLang="zh-CN" b="0" dirty="0"/>
              <a:t>：枪支在使用过程中有不同程度的磨损，以及枪支润滑油都会影响成像效果</a:t>
            </a:r>
          </a:p>
          <a:p>
            <a:r>
              <a:rPr lang="zh-CN" altLang="zh-CN" dirty="0"/>
              <a:t>字符样式多</a:t>
            </a:r>
            <a:r>
              <a:rPr lang="zh-CN" altLang="zh-CN" b="0" dirty="0"/>
              <a:t>：字符个数及零件尺寸都不相同，且有时也会存在一定角度的倾斜</a:t>
            </a:r>
          </a:p>
          <a:p>
            <a:endParaRPr lang="zh-CN" altLang="zh-CN" b="0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13608A75-BEB7-4DD1-B0BF-92BA5E7776CF}"/>
              </a:ext>
            </a:extLst>
          </p:cNvPr>
          <p:cNvSpPr txBox="1"/>
          <p:nvPr/>
        </p:nvSpPr>
        <p:spPr>
          <a:xfrm>
            <a:off x="534194" y="3273528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F9AF4E25-77F1-4070-8416-7BBE8E507689}"/>
              </a:ext>
            </a:extLst>
          </p:cNvPr>
          <p:cNvSpPr/>
          <p:nvPr/>
        </p:nvSpPr>
        <p:spPr>
          <a:xfrm>
            <a:off x="330200" y="1507449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72A87188-512E-4780-B47F-445043A6D19B}"/>
              </a:ext>
            </a:extLst>
          </p:cNvPr>
          <p:cNvSpPr txBox="1"/>
          <p:nvPr/>
        </p:nvSpPr>
        <p:spPr>
          <a:xfrm>
            <a:off x="330200" y="1950446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基于深度学习的OCR算法自动识别枪支的编码并存入数据库中</a:t>
            </a:r>
            <a:r>
              <a:rPr lang="zh-CN" altLang="en-US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兼容多种不同的字体以及多种枪支的不同零部件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029984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5DE0E30-97F0-4E3B-860F-0829E8A8E23F}"/>
              </a:ext>
            </a:extLst>
          </p:cNvPr>
          <p:cNvSpPr txBox="1"/>
          <p:nvPr/>
        </p:nvSpPr>
        <p:spPr>
          <a:xfrm>
            <a:off x="534194" y="1612345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1C8FFFA-4107-4BA4-ADCA-EACC0E712950}"/>
              </a:ext>
            </a:extLst>
          </p:cNvPr>
          <p:cNvSpPr txBox="1"/>
          <p:nvPr/>
        </p:nvSpPr>
        <p:spPr>
          <a:xfrm>
            <a:off x="4736030" y="1612345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DFBEA616-E045-47CE-8A51-465FA4DBF0F5}"/>
              </a:ext>
            </a:extLst>
          </p:cNvPr>
          <p:cNvGrpSpPr/>
          <p:nvPr/>
        </p:nvGrpSpPr>
        <p:grpSpPr>
          <a:xfrm>
            <a:off x="511064" y="1684581"/>
            <a:ext cx="208074" cy="208074"/>
            <a:chOff x="804750" y="1099366"/>
            <a:chExt cx="377825" cy="377825"/>
          </a:xfrm>
        </p:grpSpPr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id="{313E5EC5-7751-419A-93CC-5290FE8B8D57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iconfont-11673-5560736">
              <a:extLst>
                <a:ext uri="{FF2B5EF4-FFF2-40B4-BE49-F238E27FC236}">
                  <a16:creationId xmlns:a16="http://schemas.microsoft.com/office/drawing/2014/main" id="{D23FA4BC-0D35-4101-8E40-5CF94B26DC55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2562D765-52AE-486E-861B-D8ADE578E8CD}"/>
              </a:ext>
            </a:extLst>
          </p:cNvPr>
          <p:cNvSpPr/>
          <p:nvPr/>
        </p:nvSpPr>
        <p:spPr>
          <a:xfrm>
            <a:off x="511064" y="3340661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6775DA26-8976-4697-B8FA-D067A92B2E3E}"/>
              </a:ext>
            </a:extLst>
          </p:cNvPr>
          <p:cNvSpPr/>
          <p:nvPr/>
        </p:nvSpPr>
        <p:spPr>
          <a:xfrm>
            <a:off x="584351" y="3385746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0B329B47-3CA3-42DF-831A-72E2057C9EB7}"/>
              </a:ext>
            </a:extLst>
          </p:cNvPr>
          <p:cNvSpPr/>
          <p:nvPr/>
        </p:nvSpPr>
        <p:spPr>
          <a:xfrm>
            <a:off x="4695714" y="1684581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cart_155395">
            <a:extLst>
              <a:ext uri="{FF2B5EF4-FFF2-40B4-BE49-F238E27FC236}">
                <a16:creationId xmlns:a16="http://schemas.microsoft.com/office/drawing/2014/main" id="{E50EE2BE-F203-48B3-8BBC-191CC20A1214}"/>
              </a:ext>
            </a:extLst>
          </p:cNvPr>
          <p:cNvSpPr/>
          <p:nvPr/>
        </p:nvSpPr>
        <p:spPr>
          <a:xfrm>
            <a:off x="4721743" y="1724923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189">
            <a:extLst>
              <a:ext uri="{FF2B5EF4-FFF2-40B4-BE49-F238E27FC236}">
                <a16:creationId xmlns:a16="http://schemas.microsoft.com/office/drawing/2014/main" id="{1B5106EC-009D-413F-872D-EEB49FE6A4D7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4" r="2636"/>
          <a:stretch/>
        </p:blipFill>
        <p:spPr>
          <a:xfrm flipH="1">
            <a:off x="8761442" y="1507447"/>
            <a:ext cx="3430557" cy="3424678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F260DA2E-3E47-43A3-9841-13C68DCF2D62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1" b="4281"/>
          <a:stretch/>
        </p:blipFill>
        <p:spPr>
          <a:xfrm flipH="1">
            <a:off x="4695714" y="2001821"/>
            <a:ext cx="3497757" cy="2668428"/>
          </a:xfrm>
          <a:prstGeom prst="rect">
            <a:avLst/>
          </a:prstGeom>
        </p:spPr>
      </p:pic>
      <p:sp>
        <p:nvSpPr>
          <p:cNvPr id="66" name="文本框 65">
            <a:extLst>
              <a:ext uri="{FF2B5EF4-FFF2-40B4-BE49-F238E27FC236}">
                <a16:creationId xmlns:a16="http://schemas.microsoft.com/office/drawing/2014/main" id="{DE832558-BA59-4A00-A220-D22DA345B5D0}"/>
              </a:ext>
            </a:extLst>
          </p:cNvPr>
          <p:cNvSpPr txBox="1"/>
          <p:nvPr/>
        </p:nvSpPr>
        <p:spPr>
          <a:xfrm>
            <a:off x="8186953" y="5388397"/>
            <a:ext cx="1585690" cy="58477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en-US" altLang="zh-CN" sz="3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</a:t>
            </a:r>
            <a:r>
              <a: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% +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21CD2972-3DB7-4446-87DA-C8C9E9D49E98}"/>
              </a:ext>
            </a:extLst>
          </p:cNvPr>
          <p:cNvSpPr txBox="1"/>
          <p:nvPr/>
        </p:nvSpPr>
        <p:spPr>
          <a:xfrm>
            <a:off x="8186953" y="5918834"/>
            <a:ext cx="950901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字符</a:t>
            </a:r>
            <a:r>
              <a:rPr lang="en-US" altLang="zh-CN" dirty="0" err="1"/>
              <a:t>准确率</a:t>
            </a:r>
            <a:endParaRPr lang="en-US" altLang="zh-CN" dirty="0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617B97B6-3759-4676-9052-B62FA1FBCD96}"/>
              </a:ext>
            </a:extLst>
          </p:cNvPr>
          <p:cNvSpPr txBox="1"/>
          <p:nvPr/>
        </p:nvSpPr>
        <p:spPr>
          <a:xfrm>
            <a:off x="10353034" y="5446776"/>
            <a:ext cx="800219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/>
          <a:p>
            <a:pPr defTabSz="942975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04C1495D-C1A1-4E1E-9135-3C7C5081A2F7}"/>
              </a:ext>
            </a:extLst>
          </p:cNvPr>
          <p:cNvSpPr txBox="1"/>
          <p:nvPr/>
        </p:nvSpPr>
        <p:spPr>
          <a:xfrm>
            <a:off x="10353034" y="5918834"/>
            <a:ext cx="1548822" cy="276999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实时处理</a:t>
            </a:r>
            <a:r>
              <a:rPr lang="zh-CN" altLang="zh-CN"/>
              <a:t>效率：</a:t>
            </a:r>
            <a:r>
              <a:rPr lang="en-US" altLang="zh-CN"/>
              <a:t>0.1s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938295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:a16="http://schemas.microsoft.com/office/drawing/2014/main" id="{6CD609C3-2EC4-438F-AAAA-85F861DC607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烟草-中国烟草-</a:t>
            </a:r>
            <a:r>
              <a:rPr lang="zh-CN" altLang="zh-CN" sz="3000" b="1" dirty="0">
                <a:solidFill>
                  <a:schemeClr val="tx1"/>
                </a:solidFill>
              </a:rPr>
              <a:t>标签字符识别</a:t>
            </a: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890F1F79-7938-4BCC-8A29-362FBD6D90AF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id="{244CDD23-3C4B-42F5-AEFE-7104E8A002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3" r="12813"/>
          <a:stretch/>
        </p:blipFill>
        <p:spPr>
          <a:xfrm flipH="1"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2472E827-8F78-48D8-9C21-4AFB8353F960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光线暗淡，取图质量差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6B1714F8-0B15-462A-88B0-0F8A87336604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0E80AC25-46F8-4D52-9319-9EBAF9D47252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44D8BD2-2801-46D8-84E9-38A07D6E1C6A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中国烟草标签字符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10128131220112B0766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BC22E2BA-B66C-489C-93F5-62C7426F8015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3767F68D-4F6D-482B-8F38-8D4980F13E15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57B0D58E-8B8F-46DA-8871-87AAB955BE3E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iconfont-11673-5560736">
              <a:extLst>
                <a:ext uri="{FF2B5EF4-FFF2-40B4-BE49-F238E27FC236}">
                  <a16:creationId xmlns:a16="http://schemas.microsoft.com/office/drawing/2014/main" id="{E7FFE539-ECD4-4B37-B60F-9E35EC246AE5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43973A84-4C15-4A01-9A8D-E5CD1FFA0D37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EDB838FB-46EA-4A6D-913C-C91209E68979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25A36483-5F09-4479-A8D7-B59E87C6BA6F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D8AB82D4-2C05-4F58-BBAB-06E8F41C4220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FB6332B3-3DA1-40DC-B005-28FE6B245D60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FAB7B439-731D-4929-997F-18E67EA964DF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I+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CR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6E84976F-0E85-49DA-8F69-7C52B33BCD83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verified-list-of-exercises-of-a-gymnast-on-a-clipboard_30818">
            <a:extLst>
              <a:ext uri="{FF2B5EF4-FFF2-40B4-BE49-F238E27FC236}">
                <a16:creationId xmlns:a16="http://schemas.microsoft.com/office/drawing/2014/main" id="{D09C81F6-0748-452E-81C8-2CBE8E51A64A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4D80369B-CF32-4717-A994-248D5D0ED9D0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341D8D28-D942-4A9C-BAC3-EB37D8447978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cart_155395">
            <a:extLst>
              <a:ext uri="{FF2B5EF4-FFF2-40B4-BE49-F238E27FC236}">
                <a16:creationId xmlns:a16="http://schemas.microsoft.com/office/drawing/2014/main" id="{B4019C23-7331-4A2D-994F-2447285F1E8F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B4D0897-765B-48D6-9BDA-E77233BAD16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95714" y="2568064"/>
            <a:ext cx="1282548" cy="82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9436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>
            <a:extLst>
              <a:ext uri="{FF2B5EF4-FFF2-40B4-BE49-F238E27FC236}">
                <a16:creationId xmlns:a16="http://schemas.microsoft.com/office/drawing/2014/main" id="{E6EC8568-BB07-46C6-8A79-B40D9248523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医药-某头部制药公司-</a:t>
            </a:r>
            <a:r>
              <a:rPr lang="zh-CN" altLang="zh-CN" sz="3000" b="1" dirty="0">
                <a:solidFill>
                  <a:schemeClr val="tx1"/>
                </a:solidFill>
              </a:rPr>
              <a:t>药盒包装字符识别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DF8C7334-BDE3-4BBD-AD2C-658E0F23E38E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0FF4AF06-C971-4008-95B3-0CB9442691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D8AB7462-5C4B-4CAC-A515-B1F4752B1AAE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与背景颜色十分接近，不易识别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CB43AB48-D97E-4677-A448-8C779DC17007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9F1E008D-F620-4819-B165-25D82AC067EE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DF4E7A7F-9D0C-40B9-8017-1385D8D0DA51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药盒外包装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23.11.</a:t>
            </a:r>
            <a:b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     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X068YC</a:t>
            </a:r>
            <a:b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      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201231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D87AACE7-4017-4686-9675-A88FDCD4A778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E1E5B6B5-BEA3-49FF-9AD8-48E69AE005FA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80B15CC3-4A23-4BFF-A869-BA4BFDB8377A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confont-11673-5560736">
              <a:extLst>
                <a:ext uri="{FF2B5EF4-FFF2-40B4-BE49-F238E27FC236}">
                  <a16:creationId xmlns:a16="http://schemas.microsoft.com/office/drawing/2014/main" id="{5C6D3900-EEB4-438B-A862-BE4B9C8125FB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D3C3FFC4-4667-415F-8B54-5F33EEB9D1C6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45169613-2ABF-4B8F-97C7-CE47DD16C983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BD6E1A24-15CC-429D-80F5-BF8D13F286AE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94853C37-9073-4B20-BBA3-D942B745D050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1A7B03C6-7B92-4832-BE3E-E9FAD8AF63D6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A0CCF6E4-B3D2-440B-80A2-C08532C0D4E2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I+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CR 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9D594D66-581D-4A3F-A979-0593BF19C73E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verified-list-of-exercises-of-a-gymnast-on-a-clipboard_30818">
            <a:extLst>
              <a:ext uri="{FF2B5EF4-FFF2-40B4-BE49-F238E27FC236}">
                <a16:creationId xmlns:a16="http://schemas.microsoft.com/office/drawing/2014/main" id="{5B2BC116-D488-4BE6-9BC3-FA475B51E46B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314F3F25-1945-4E2A-9D78-6CFF9A14A904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85FE73DA-9F88-4D6B-A7A9-21081C979CDF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cart_155395">
            <a:extLst>
              <a:ext uri="{FF2B5EF4-FFF2-40B4-BE49-F238E27FC236}">
                <a16:creationId xmlns:a16="http://schemas.microsoft.com/office/drawing/2014/main" id="{48D921BD-B0BD-433F-B300-E834C5D12A38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DE378B96-F8E3-46B6-B26C-5860D12877D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95714" y="2568064"/>
            <a:ext cx="1682861" cy="82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5077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id="{8D35A019-5297-4F21-B722-D3D6A2B58AEA}"/>
              </a:ext>
            </a:extLst>
          </p:cNvPr>
          <p:cNvSpPr txBox="1"/>
          <p:nvPr/>
        </p:nvSpPr>
        <p:spPr>
          <a:xfrm>
            <a:off x="393701" y="1049704"/>
            <a:ext cx="11404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周大福为国内一线首饰品牌，需要识别首饰的字符</a:t>
            </a: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82E7868E-C8DB-496D-B341-18682F5C0D17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珠宝-周大福-</a:t>
            </a:r>
            <a:r>
              <a:rPr lang="zh-CN" altLang="zh-CN" sz="3000" b="1" dirty="0">
                <a:solidFill>
                  <a:schemeClr val="tx1"/>
                </a:solidFill>
              </a:rPr>
              <a:t>戒指手镯字符识别</a:t>
            </a:r>
            <a:r>
              <a:rPr lang="en-US" altLang="zh-CN" sz="3000" b="1" dirty="0">
                <a:solidFill>
                  <a:schemeClr val="tx1"/>
                </a:solidFill>
              </a:rPr>
              <a:t>(</a:t>
            </a:r>
            <a:r>
              <a:rPr lang="zh-CN" altLang="zh-CN" sz="3000" b="1" dirty="0">
                <a:solidFill>
                  <a:schemeClr val="tx1"/>
                </a:solidFill>
              </a:rPr>
              <a:t>项目</a:t>
            </a:r>
            <a:r>
              <a:rPr lang="en-US" altLang="zh-CN" sz="3000" b="1" dirty="0">
                <a:solidFill>
                  <a:schemeClr val="tx1"/>
                </a:solidFill>
              </a:rPr>
              <a:t>)</a:t>
            </a:r>
            <a:endParaRPr lang="zh-CN" altLang="zh-CN" sz="3000" b="1" dirty="0">
              <a:solidFill>
                <a:schemeClr val="tx1"/>
              </a:solidFill>
            </a:endParaRP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899F0D88-44A2-425D-BA4F-C16EE339E653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3D3B0A42-B0C0-4D70-927E-0E930B09DDC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0" name="文本框 49">
            <a:extLst>
              <a:ext uri="{FF2B5EF4-FFF2-40B4-BE49-F238E27FC236}">
                <a16:creationId xmlns:a16="http://schemas.microsoft.com/office/drawing/2014/main" id="{BAB8B95C-CFCB-4F9E-9618-214DCDE59058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成像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由于材质导致反光严重，且字符小，位置不定，字符工艺差异大，即使同为镭射工艺，依然会存在很大差异</a:t>
            </a:r>
          </a:p>
          <a:p>
            <a:r>
              <a:rPr lang="zh-CN" altLang="zh-CN" dirty="0"/>
              <a:t>位置不定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形状多变且字符位置差异大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331469A1-81F3-4BB1-8D14-7D4D48E58F3E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AFA7C645-B2EE-4E68-935F-025C46BD80C3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336DD085-35A2-4D8B-8FCC-0F74E713E57F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戒指和手镯内侧及边缘的字符识别</a:t>
            </a:r>
          </a:p>
          <a:p>
            <a:r>
              <a:rPr lang="zh-CN" altLang="zh-CN" dirty="0"/>
              <a:t>物料形状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圆形、椭圆形、方形和三角形，带花头和无花头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E060BBE2-75A2-4961-BD0B-574438D429A8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8558C5D9-F5C5-491A-8282-0A2313C8F837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5409EA1D-3D8C-48B4-B5C7-450E2F4A9E89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iconfont-11673-5560736">
              <a:extLst>
                <a:ext uri="{FF2B5EF4-FFF2-40B4-BE49-F238E27FC236}">
                  <a16:creationId xmlns:a16="http://schemas.microsoft.com/office/drawing/2014/main" id="{C61DB5B2-C25A-4E08-B9E9-58F07205CA7C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C115A198-33D0-4658-B6C5-5E6A49E3C607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8F9CCA01-3E0A-43E8-9BB7-A849B3EE37A3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D70BC245-B859-4AC8-8610-14CACF238AE9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E15EB90C-1D29-4717-BEA7-5663D9EC0547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6149F643-0482-4BEB-8EFA-33C203C0CEA3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0CA00F9F-78F8-4C9F-96DC-C2823D4D24E5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光源颜色，采用暖光最大程度降低反光</a:t>
            </a:r>
          </a:p>
          <a:p>
            <a:r>
              <a:rPr lang="zh-CN" altLang="zh-CN" dirty="0"/>
              <a:t>多相机多角度拍摄，最大化呈现字符区域</a:t>
            </a:r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6F0B8A3D-56D0-4257-ABBC-4E84BDD510C6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verified-list-of-exercises-of-a-gymnast-on-a-clipboard_30818">
            <a:extLst>
              <a:ext uri="{FF2B5EF4-FFF2-40B4-BE49-F238E27FC236}">
                <a16:creationId xmlns:a16="http://schemas.microsoft.com/office/drawing/2014/main" id="{8E48AB82-9D77-41FB-A143-66E175F4F626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CC358C4E-9570-4EE5-A01A-B40A47A314F6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AD49C9CD-1390-4CBE-BEC4-20483675F720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cart_155395">
            <a:extLst>
              <a:ext uri="{FF2B5EF4-FFF2-40B4-BE49-F238E27FC236}">
                <a16:creationId xmlns:a16="http://schemas.microsoft.com/office/drawing/2014/main" id="{5414AE1E-A5D4-4B18-8AFD-ABA4B9A88BE5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42D9C35-EEC9-43D5-8F62-3EE1D9896302}"/>
              </a:ext>
            </a:extLst>
          </p:cNvPr>
          <p:cNvGrpSpPr/>
          <p:nvPr/>
        </p:nvGrpSpPr>
        <p:grpSpPr>
          <a:xfrm>
            <a:off x="4695714" y="2568064"/>
            <a:ext cx="2161427" cy="826972"/>
            <a:chOff x="5054295" y="4268576"/>
            <a:chExt cx="2300375" cy="880134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D8E5A7E0-8AE3-4C15-B354-E3FFBFC7B7F0}"/>
                </a:ext>
              </a:extLst>
            </p:cNvPr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5054295" y="4268576"/>
              <a:ext cx="997611" cy="880134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0C45EBFA-EA03-4F29-B314-FB03CE8E9D5C}"/>
                </a:ext>
              </a:extLst>
            </p:cNvPr>
            <p:cNvPicPr/>
            <p:nvPr/>
          </p:nvPicPr>
          <p:blipFill>
            <a:blip r:embed="rId4"/>
            <a:srcRect l="8716" t="12548" r="11985" b="10646"/>
            <a:stretch>
              <a:fillRect/>
            </a:stretch>
          </p:blipFill>
          <p:spPr>
            <a:xfrm flipH="1">
              <a:off x="6096000" y="4268576"/>
              <a:ext cx="1258670" cy="8801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44720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矩形: 圆角 78">
            <a:extLst>
              <a:ext uri="{FF2B5EF4-FFF2-40B4-BE49-F238E27FC236}">
                <a16:creationId xmlns:a16="http://schemas.microsoft.com/office/drawing/2014/main" id="{7A65E123-B93F-4294-BB2D-F1BC70C483AA}"/>
              </a:ext>
            </a:extLst>
          </p:cNvPr>
          <p:cNvSpPr/>
          <p:nvPr/>
        </p:nvSpPr>
        <p:spPr>
          <a:xfrm>
            <a:off x="8761443" y="1609047"/>
            <a:ext cx="3573432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桌子上的咖啡纸杯&#10;&#10;描述已自动生成">
            <a:extLst>
              <a:ext uri="{FF2B5EF4-FFF2-40B4-BE49-F238E27FC236}">
                <a16:creationId xmlns:a16="http://schemas.microsoft.com/office/drawing/2014/main" id="{5FAFD0BD-D3BA-4C6A-A478-92FC4BB61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599" y="1636992"/>
            <a:ext cx="3058633" cy="3058633"/>
          </a:xfrm>
          <a:prstGeom prst="rect">
            <a:avLst/>
          </a:prstGeom>
        </p:spPr>
      </p:pic>
      <p:sp>
        <p:nvSpPr>
          <p:cNvPr id="21" name="标题 1">
            <a:extLst>
              <a:ext uri="{FF2B5EF4-FFF2-40B4-BE49-F238E27FC236}">
                <a16:creationId xmlns:a16="http://schemas.microsoft.com/office/drawing/2014/main" id="{EAF6F84E-1D45-4A09-B9B6-40CC67E2F2A3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食品-光明乳业-</a:t>
            </a:r>
            <a:r>
              <a:rPr lang="zh-CN" altLang="zh-CN" sz="3000" b="1" dirty="0">
                <a:solidFill>
                  <a:schemeClr val="tx1"/>
                </a:solidFill>
              </a:rPr>
              <a:t>牛奶外包装字符识别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A164AEB6-CDFB-4269-807C-42F4D304CE72}"/>
              </a:ext>
            </a:extLst>
          </p:cNvPr>
          <p:cNvSpPr/>
          <p:nvPr/>
        </p:nvSpPr>
        <p:spPr>
          <a:xfrm>
            <a:off x="4532036" y="160904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6CC12132-4433-40C4-B32C-212F2DA46AF2}"/>
              </a:ext>
            </a:extLst>
          </p:cNvPr>
          <p:cNvSpPr/>
          <p:nvPr/>
        </p:nvSpPr>
        <p:spPr>
          <a:xfrm>
            <a:off x="330200" y="325562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6DC69BF-6C3C-46D6-90C4-BD1A2465A55C}"/>
              </a:ext>
            </a:extLst>
          </p:cNvPr>
          <p:cNvSpPr txBox="1"/>
          <p:nvPr/>
        </p:nvSpPr>
        <p:spPr>
          <a:xfrm>
            <a:off x="330199" y="3719577"/>
            <a:ext cx="4184456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弯曲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包装外表面上的字符具有一定角度的弯曲，需要</a:t>
            </a:r>
            <a:b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做到精确的定位</a:t>
            </a:r>
          </a:p>
          <a:p>
            <a:r>
              <a:rPr lang="zh-CN" altLang="zh-CN" dirty="0"/>
              <a:t>字符重叠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十分紧凑，存在重叠的现象</a:t>
            </a:r>
          </a:p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包装外表面字符很多，但要求只识别部分区域字符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9FD5C478-6342-4D90-B211-20A98F726C7D}"/>
              </a:ext>
            </a:extLst>
          </p:cNvPr>
          <p:cNvSpPr txBox="1"/>
          <p:nvPr/>
        </p:nvSpPr>
        <p:spPr>
          <a:xfrm>
            <a:off x="534194" y="337512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8BA91862-751F-4D77-AE99-9A5B195C0E98}"/>
              </a:ext>
            </a:extLst>
          </p:cNvPr>
          <p:cNvSpPr/>
          <p:nvPr/>
        </p:nvSpPr>
        <p:spPr>
          <a:xfrm>
            <a:off x="330200" y="160904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A79641F6-BAD9-49E9-B669-9AA3A1938E71}"/>
              </a:ext>
            </a:extLst>
          </p:cNvPr>
          <p:cNvSpPr txBox="1"/>
          <p:nvPr/>
        </p:nvSpPr>
        <p:spPr>
          <a:xfrm>
            <a:off x="330200" y="2052044"/>
            <a:ext cx="3995308" cy="754053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食品行业包装上最重要的信息就是生产日期，客户共有十几条产线，生产不同的包装食品， 包装盒上的生产日期喷码必须是可读的，否则流入市场会导致消费者的投诉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21 0405 611Z 15：11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F27F2DDA-D748-48F6-8B15-206397C8A43B}"/>
              </a:ext>
            </a:extLst>
          </p:cNvPr>
          <p:cNvSpPr txBox="1"/>
          <p:nvPr/>
        </p:nvSpPr>
        <p:spPr>
          <a:xfrm>
            <a:off x="534194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79750B31-BA42-4FF0-B47D-10EFD2FD6820}"/>
              </a:ext>
            </a:extLst>
          </p:cNvPr>
          <p:cNvSpPr txBox="1"/>
          <p:nvPr/>
        </p:nvSpPr>
        <p:spPr>
          <a:xfrm>
            <a:off x="4736030" y="171394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E6A35A50-8D75-455C-93FB-A5B9D247F1BE}"/>
              </a:ext>
            </a:extLst>
          </p:cNvPr>
          <p:cNvSpPr/>
          <p:nvPr/>
        </p:nvSpPr>
        <p:spPr>
          <a:xfrm>
            <a:off x="0" y="4965700"/>
            <a:ext cx="12192000" cy="1417212"/>
          </a:xfrm>
          <a:prstGeom prst="rect">
            <a:avLst/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7C1BD620-1972-40B8-B6DF-35A1F42042B2}"/>
              </a:ext>
            </a:extLst>
          </p:cNvPr>
          <p:cNvGrpSpPr/>
          <p:nvPr/>
        </p:nvGrpSpPr>
        <p:grpSpPr>
          <a:xfrm>
            <a:off x="511064" y="1786179"/>
            <a:ext cx="208074" cy="208074"/>
            <a:chOff x="804750" y="1099366"/>
            <a:chExt cx="377825" cy="377825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74EACD82-B6B3-48E4-99DD-9C13C854E343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iconfont-11673-5560736">
              <a:extLst>
                <a:ext uri="{FF2B5EF4-FFF2-40B4-BE49-F238E27FC236}">
                  <a16:creationId xmlns:a16="http://schemas.microsoft.com/office/drawing/2014/main" id="{4525439B-2826-4D7A-8A6B-4B8C7D6EE5AC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3BD3CAB1-30B2-474D-B5A3-C7F32E7CD506}"/>
              </a:ext>
            </a:extLst>
          </p:cNvPr>
          <p:cNvSpPr/>
          <p:nvPr/>
        </p:nvSpPr>
        <p:spPr>
          <a:xfrm>
            <a:off x="511064" y="344225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BB80E774-BA59-448B-800D-A4E0FFDA59B7}"/>
              </a:ext>
            </a:extLst>
          </p:cNvPr>
          <p:cNvSpPr/>
          <p:nvPr/>
        </p:nvSpPr>
        <p:spPr>
          <a:xfrm>
            <a:off x="584351" y="348734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EDCEEC13-0C6F-4B94-A384-7CE85C704784}"/>
              </a:ext>
            </a:extLst>
          </p:cNvPr>
          <p:cNvSpPr/>
          <p:nvPr/>
        </p:nvSpPr>
        <p:spPr>
          <a:xfrm>
            <a:off x="4695714" y="178617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cart_155395">
            <a:extLst>
              <a:ext uri="{FF2B5EF4-FFF2-40B4-BE49-F238E27FC236}">
                <a16:creationId xmlns:a16="http://schemas.microsoft.com/office/drawing/2014/main" id="{63505C0E-7B29-4A5D-B45F-291A8AB2C973}"/>
              </a:ext>
            </a:extLst>
          </p:cNvPr>
          <p:cNvSpPr/>
          <p:nvPr/>
        </p:nvSpPr>
        <p:spPr>
          <a:xfrm>
            <a:off x="4721743" y="182652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0CC01814-F1B7-49FC-9C0C-C6A5DD56910B}"/>
              </a:ext>
            </a:extLst>
          </p:cNvPr>
          <p:cNvSpPr txBox="1"/>
          <p:nvPr/>
        </p:nvSpPr>
        <p:spPr>
          <a:xfrm>
            <a:off x="1935649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产品召回</a:t>
            </a:r>
            <a:endParaRPr lang="en-US" altLang="zh-CN" dirty="0"/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0193FA7C-B98F-454A-850D-E5CCEAE0BF14}"/>
              </a:ext>
            </a:extLst>
          </p:cNvPr>
          <p:cNvSpPr txBox="1"/>
          <p:nvPr/>
        </p:nvSpPr>
        <p:spPr>
          <a:xfrm>
            <a:off x="1935649" y="5512592"/>
            <a:ext cx="2492990" cy="646331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带有缺陷的产品一旦流入</a:t>
            </a:r>
            <a:r>
              <a:rPr lang="zh-CN" altLang="zh-CN"/>
              <a:t>消费市场</a:t>
            </a:r>
            <a:br>
              <a:rPr lang="en-US" altLang="zh-CN" dirty="0"/>
            </a:br>
            <a:r>
              <a:rPr lang="zh-CN" altLang="zh-CN" dirty="0"/>
              <a:t>需要在全球范围内对产品</a:t>
            </a:r>
            <a:r>
              <a:rPr lang="zh-CN" altLang="zh-CN"/>
              <a:t>进行召回</a:t>
            </a:r>
            <a:br>
              <a:rPr lang="en-US" altLang="zh-CN" dirty="0"/>
            </a:br>
            <a:r>
              <a:rPr lang="zh-CN" altLang="zh-CN" dirty="0"/>
              <a:t>造成经济和名誉损失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FC46ACBD-31A0-4348-9561-67FA0E28D138}"/>
              </a:ext>
            </a:extLst>
          </p:cNvPr>
          <p:cNvSpPr txBox="1"/>
          <p:nvPr/>
        </p:nvSpPr>
        <p:spPr>
          <a:xfrm>
            <a:off x="4903788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人力成本</a:t>
            </a:r>
            <a:endParaRPr lang="en-US" altLang="zh-CN" dirty="0"/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52D895DF-0E8C-4944-B209-1CD772C7DAF7}"/>
              </a:ext>
            </a:extLst>
          </p:cNvPr>
          <p:cNvSpPr txBox="1"/>
          <p:nvPr/>
        </p:nvSpPr>
        <p:spPr>
          <a:xfrm>
            <a:off x="4903788" y="5512592"/>
            <a:ext cx="3486187" cy="646331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当前的检测方式需要安排专门的质检人员对产品进行抽检，现场共</a:t>
            </a:r>
            <a:r>
              <a:rPr lang="en-US" altLang="zh-CN" dirty="0"/>
              <a:t>10</a:t>
            </a:r>
            <a:r>
              <a:rPr lang="zh-CN" altLang="zh-CN" dirty="0"/>
              <a:t>条线</a:t>
            </a:r>
            <a:br>
              <a:rPr lang="en-US" altLang="zh-CN" dirty="0"/>
            </a:br>
            <a:r>
              <a:rPr lang="zh-CN" altLang="zh-CN" dirty="0"/>
              <a:t>三个班次需要</a:t>
            </a:r>
            <a:r>
              <a:rPr lang="en-US" altLang="zh-CN" dirty="0"/>
              <a:t>40+</a:t>
            </a:r>
            <a:r>
              <a:rPr lang="zh-CN" altLang="zh-CN" dirty="0"/>
              <a:t>的质检人员</a:t>
            </a: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2DA2DFB4-55B6-4EC7-9645-2CEC73BBFA20}"/>
              </a:ext>
            </a:extLst>
          </p:cNvPr>
          <p:cNvSpPr txBox="1"/>
          <p:nvPr/>
        </p:nvSpPr>
        <p:spPr>
          <a:xfrm>
            <a:off x="8773894" y="5098661"/>
            <a:ext cx="1415772" cy="461665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 defTabSz="942975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产</a:t>
            </a:r>
            <a:r>
              <a:rPr lang="zh-CN" altLang="zh-CN"/>
              <a:t>能下降</a:t>
            </a:r>
            <a:endParaRPr lang="en-US" altLang="zh-CN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6BF09848-2A0D-4572-80AC-47621055E2E3}"/>
              </a:ext>
            </a:extLst>
          </p:cNvPr>
          <p:cNvSpPr txBox="1"/>
          <p:nvPr/>
        </p:nvSpPr>
        <p:spPr>
          <a:xfrm>
            <a:off x="8773894" y="5512592"/>
            <a:ext cx="3108543" cy="646331"/>
          </a:xfrm>
          <a:prstGeom prst="rect">
            <a:avLst/>
          </a:prstGeom>
          <a:noFill/>
        </p:spPr>
        <p:txBody>
          <a:bodyPr wrap="none" anchor="ctr" anchorCtr="0">
            <a:spAutoFit/>
          </a:bodyPr>
          <a:lstStyle>
            <a:defPPr>
              <a:defRPr lang="zh-CN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抽检一旦发现残次产品</a:t>
            </a:r>
            <a:br>
              <a:rPr lang="en-US" altLang="zh-CN" dirty="0"/>
            </a:br>
            <a:r>
              <a:rPr lang="zh-CN" altLang="zh-CN" dirty="0"/>
              <a:t>需要立马停线检查设备</a:t>
            </a:r>
            <a:br>
              <a:rPr lang="en-US" altLang="zh-CN" dirty="0"/>
            </a:br>
            <a:r>
              <a:rPr lang="zh-CN" altLang="zh-CN" dirty="0"/>
              <a:t>并且对之前生产的产品逐一排查，影响生产</a:t>
            </a:r>
          </a:p>
        </p:txBody>
      </p:sp>
      <p:pic>
        <p:nvPicPr>
          <p:cNvPr id="33" name="图片 32">
            <a:extLst>
              <a:ext uri="{FF2B5EF4-FFF2-40B4-BE49-F238E27FC236}">
                <a16:creationId xmlns:a16="http://schemas.microsoft.com/office/drawing/2014/main" id="{9284C1F1-F749-45B2-A8BF-E3D9CA3C9A62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8" b="586"/>
          <a:stretch/>
        </p:blipFill>
        <p:spPr>
          <a:xfrm>
            <a:off x="4695714" y="2103419"/>
            <a:ext cx="3093394" cy="2359941"/>
          </a:xfrm>
          <a:prstGeom prst="rect">
            <a:avLst/>
          </a:prstGeom>
        </p:spPr>
      </p:pic>
      <p:sp>
        <p:nvSpPr>
          <p:cNvPr id="42" name="文本框 41">
            <a:extLst>
              <a:ext uri="{FF2B5EF4-FFF2-40B4-BE49-F238E27FC236}">
                <a16:creationId xmlns:a16="http://schemas.microsoft.com/office/drawing/2014/main" id="{CD2F07F5-56EE-4AAB-A174-C0E7DE8F357D}"/>
              </a:ext>
            </a:extLst>
          </p:cNvPr>
          <p:cNvSpPr txBox="1"/>
          <p:nvPr/>
        </p:nvSpPr>
        <p:spPr>
          <a:xfrm>
            <a:off x="330200" y="5530306"/>
            <a:ext cx="1130300" cy="288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rtlCol="0" anchor="ctr" anchorCtr="0"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客户痛点</a:t>
            </a:r>
          </a:p>
        </p:txBody>
      </p:sp>
    </p:spTree>
    <p:extLst>
      <p:ext uri="{BB962C8B-B14F-4D97-AF65-F5344CB8AC3E}">
        <p14:creationId xmlns:p14="http://schemas.microsoft.com/office/powerpoint/2010/main" val="1800991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EC7C6723-983C-4D65-B410-3A590469F737}"/>
              </a:ext>
            </a:extLst>
          </p:cNvPr>
          <p:cNvSpPr/>
          <p:nvPr/>
        </p:nvSpPr>
        <p:spPr>
          <a:xfrm>
            <a:off x="7825740" y="1613536"/>
            <a:ext cx="1844760" cy="2536506"/>
          </a:xfrm>
          <a:prstGeom prst="roundRect">
            <a:avLst>
              <a:gd name="adj" fmla="val 4776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1CF94BDA-FEEF-42E2-B28D-A694A1709695}"/>
              </a:ext>
            </a:extLst>
          </p:cNvPr>
          <p:cNvSpPr/>
          <p:nvPr/>
        </p:nvSpPr>
        <p:spPr>
          <a:xfrm>
            <a:off x="8552858" y="1854651"/>
            <a:ext cx="390524" cy="390522"/>
          </a:xfrm>
          <a:prstGeom prst="ellipse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C59E3044-B4AC-4CBA-AD0D-0DEBDD8AABFA}"/>
              </a:ext>
            </a:extLst>
          </p:cNvPr>
          <p:cNvSpPr/>
          <p:nvPr/>
        </p:nvSpPr>
        <p:spPr>
          <a:xfrm>
            <a:off x="5173620" y="1613536"/>
            <a:ext cx="1844760" cy="2536506"/>
          </a:xfrm>
          <a:prstGeom prst="roundRect">
            <a:avLst>
              <a:gd name="adj" fmla="val 4776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E24BEE1A-FCB3-4547-B3B6-941D1BD218B4}"/>
              </a:ext>
            </a:extLst>
          </p:cNvPr>
          <p:cNvSpPr/>
          <p:nvPr/>
        </p:nvSpPr>
        <p:spPr>
          <a:xfrm>
            <a:off x="5900739" y="1854651"/>
            <a:ext cx="390524" cy="390522"/>
          </a:xfrm>
          <a:prstGeom prst="ellipse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8726AC0-174B-4EDF-A9BE-7FAF6324A2D0}"/>
              </a:ext>
            </a:extLst>
          </p:cNvPr>
          <p:cNvSpPr/>
          <p:nvPr/>
        </p:nvSpPr>
        <p:spPr>
          <a:xfrm>
            <a:off x="0" y="5168899"/>
            <a:ext cx="12192000" cy="1113039"/>
          </a:xfrm>
          <a:prstGeom prst="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2502728B-E4A9-45CD-A701-D047237EB515}"/>
              </a:ext>
            </a:extLst>
          </p:cNvPr>
          <p:cNvSpPr/>
          <p:nvPr/>
        </p:nvSpPr>
        <p:spPr>
          <a:xfrm>
            <a:off x="2521500" y="1613536"/>
            <a:ext cx="1844760" cy="2536506"/>
          </a:xfrm>
          <a:prstGeom prst="roundRect">
            <a:avLst>
              <a:gd name="adj" fmla="val 4776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0F8F3C0E-C98D-47AC-8FA9-D3C7FDB79D77}"/>
              </a:ext>
            </a:extLst>
          </p:cNvPr>
          <p:cNvSpPr/>
          <p:nvPr/>
        </p:nvSpPr>
        <p:spPr>
          <a:xfrm>
            <a:off x="10477860" y="2376071"/>
            <a:ext cx="980954" cy="98095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C899F26F-7118-4FC9-B85A-FBD1A5BC4EAE}"/>
              </a:ext>
            </a:extLst>
          </p:cNvPr>
          <p:cNvGrpSpPr/>
          <p:nvPr/>
        </p:nvGrpSpPr>
        <p:grpSpPr>
          <a:xfrm>
            <a:off x="10731892" y="2646599"/>
            <a:ext cx="472890" cy="439898"/>
            <a:chOff x="10689217" y="2422328"/>
            <a:chExt cx="472890" cy="439898"/>
          </a:xfrm>
          <a:solidFill>
            <a:schemeClr val="bg1"/>
          </a:solidFill>
        </p:grpSpPr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20F71F9-7B85-4C57-97EC-040DAB7D9E40}"/>
                </a:ext>
              </a:extLst>
            </p:cNvPr>
            <p:cNvSpPr/>
            <p:nvPr/>
          </p:nvSpPr>
          <p:spPr>
            <a:xfrm>
              <a:off x="10689217" y="2422328"/>
              <a:ext cx="249275" cy="256607"/>
            </a:xfrm>
            <a:custGeom>
              <a:avLst/>
              <a:gdLst>
                <a:gd name="connsiteX0" fmla="*/ 249275 w 249275"/>
                <a:gd name="connsiteY0" fmla="*/ 73316 h 256607"/>
                <a:gd name="connsiteX1" fmla="*/ 230946 w 249275"/>
                <a:gd name="connsiteY1" fmla="*/ 73316 h 256607"/>
                <a:gd name="connsiteX2" fmla="*/ 219949 w 249275"/>
                <a:gd name="connsiteY2" fmla="*/ 36658 h 256607"/>
                <a:gd name="connsiteX3" fmla="*/ 205286 w 249275"/>
                <a:gd name="connsiteY3" fmla="*/ 21995 h 256607"/>
                <a:gd name="connsiteX4" fmla="*/ 183291 w 249275"/>
                <a:gd name="connsiteY4" fmla="*/ 21995 h 256607"/>
                <a:gd name="connsiteX5" fmla="*/ 150298 w 249275"/>
                <a:gd name="connsiteY5" fmla="*/ 21995 h 256607"/>
                <a:gd name="connsiteX6" fmla="*/ 150298 w 249275"/>
                <a:gd name="connsiteY6" fmla="*/ 205286 h 256607"/>
                <a:gd name="connsiteX7" fmla="*/ 153964 w 249275"/>
                <a:gd name="connsiteY7" fmla="*/ 223615 h 256607"/>
                <a:gd name="connsiteX8" fmla="*/ 164962 w 249275"/>
                <a:gd name="connsiteY8" fmla="*/ 234612 h 256607"/>
                <a:gd name="connsiteX9" fmla="*/ 190622 w 249275"/>
                <a:gd name="connsiteY9" fmla="*/ 238278 h 256607"/>
                <a:gd name="connsiteX10" fmla="*/ 190622 w 249275"/>
                <a:gd name="connsiteY10" fmla="*/ 256607 h 256607"/>
                <a:gd name="connsiteX11" fmla="*/ 62319 w 249275"/>
                <a:gd name="connsiteY11" fmla="*/ 256607 h 256607"/>
                <a:gd name="connsiteX12" fmla="*/ 62319 w 249275"/>
                <a:gd name="connsiteY12" fmla="*/ 234612 h 256607"/>
                <a:gd name="connsiteX13" fmla="*/ 91645 w 249275"/>
                <a:gd name="connsiteY13" fmla="*/ 227281 h 256607"/>
                <a:gd name="connsiteX14" fmla="*/ 98977 w 249275"/>
                <a:gd name="connsiteY14" fmla="*/ 205286 h 256607"/>
                <a:gd name="connsiteX15" fmla="*/ 98977 w 249275"/>
                <a:gd name="connsiteY15" fmla="*/ 21995 h 256607"/>
                <a:gd name="connsiteX16" fmla="*/ 69650 w 249275"/>
                <a:gd name="connsiteY16" fmla="*/ 21995 h 256607"/>
                <a:gd name="connsiteX17" fmla="*/ 43990 w 249275"/>
                <a:gd name="connsiteY17" fmla="*/ 25661 h 256607"/>
                <a:gd name="connsiteX18" fmla="*/ 25661 w 249275"/>
                <a:gd name="connsiteY18" fmla="*/ 36658 h 256607"/>
                <a:gd name="connsiteX19" fmla="*/ 18329 w 249275"/>
                <a:gd name="connsiteY19" fmla="*/ 73316 h 256607"/>
                <a:gd name="connsiteX20" fmla="*/ 0 w 249275"/>
                <a:gd name="connsiteY20" fmla="*/ 73316 h 256607"/>
                <a:gd name="connsiteX21" fmla="*/ 0 w 249275"/>
                <a:gd name="connsiteY21" fmla="*/ 0 h 256607"/>
                <a:gd name="connsiteX22" fmla="*/ 249275 w 249275"/>
                <a:gd name="connsiteY22" fmla="*/ 0 h 256607"/>
                <a:gd name="connsiteX23" fmla="*/ 249275 w 249275"/>
                <a:gd name="connsiteY23" fmla="*/ 73316 h 256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9275" h="256607">
                  <a:moveTo>
                    <a:pt x="249275" y="73316"/>
                  </a:moveTo>
                  <a:lnTo>
                    <a:pt x="230946" y="73316"/>
                  </a:lnTo>
                  <a:cubicBezTo>
                    <a:pt x="230946" y="54987"/>
                    <a:pt x="227281" y="43990"/>
                    <a:pt x="219949" y="36658"/>
                  </a:cubicBezTo>
                  <a:cubicBezTo>
                    <a:pt x="216283" y="29327"/>
                    <a:pt x="208951" y="25661"/>
                    <a:pt x="205286" y="21995"/>
                  </a:cubicBezTo>
                  <a:cubicBezTo>
                    <a:pt x="197954" y="21995"/>
                    <a:pt x="190622" y="21995"/>
                    <a:pt x="183291" y="21995"/>
                  </a:cubicBezTo>
                  <a:lnTo>
                    <a:pt x="150298" y="21995"/>
                  </a:lnTo>
                  <a:lnTo>
                    <a:pt x="150298" y="205286"/>
                  </a:lnTo>
                  <a:cubicBezTo>
                    <a:pt x="150298" y="212617"/>
                    <a:pt x="150298" y="219949"/>
                    <a:pt x="153964" y="223615"/>
                  </a:cubicBezTo>
                  <a:cubicBezTo>
                    <a:pt x="153964" y="227281"/>
                    <a:pt x="157630" y="230946"/>
                    <a:pt x="164962" y="234612"/>
                  </a:cubicBezTo>
                  <a:cubicBezTo>
                    <a:pt x="168628" y="238278"/>
                    <a:pt x="179625" y="238278"/>
                    <a:pt x="190622" y="238278"/>
                  </a:cubicBezTo>
                  <a:lnTo>
                    <a:pt x="190622" y="256607"/>
                  </a:lnTo>
                  <a:lnTo>
                    <a:pt x="62319" y="256607"/>
                  </a:lnTo>
                  <a:lnTo>
                    <a:pt x="62319" y="234612"/>
                  </a:lnTo>
                  <a:cubicBezTo>
                    <a:pt x="76982" y="234612"/>
                    <a:pt x="87980" y="230946"/>
                    <a:pt x="91645" y="227281"/>
                  </a:cubicBezTo>
                  <a:cubicBezTo>
                    <a:pt x="95311" y="223615"/>
                    <a:pt x="98977" y="216283"/>
                    <a:pt x="98977" y="205286"/>
                  </a:cubicBezTo>
                  <a:lnTo>
                    <a:pt x="98977" y="21995"/>
                  </a:lnTo>
                  <a:lnTo>
                    <a:pt x="69650" y="21995"/>
                  </a:lnTo>
                  <a:cubicBezTo>
                    <a:pt x="62319" y="21995"/>
                    <a:pt x="51321" y="21995"/>
                    <a:pt x="43990" y="25661"/>
                  </a:cubicBezTo>
                  <a:cubicBezTo>
                    <a:pt x="36658" y="25661"/>
                    <a:pt x="32992" y="29327"/>
                    <a:pt x="25661" y="36658"/>
                  </a:cubicBezTo>
                  <a:cubicBezTo>
                    <a:pt x="21995" y="43990"/>
                    <a:pt x="18329" y="54987"/>
                    <a:pt x="18329" y="73316"/>
                  </a:cubicBezTo>
                  <a:lnTo>
                    <a:pt x="0" y="73316"/>
                  </a:lnTo>
                  <a:lnTo>
                    <a:pt x="0" y="0"/>
                  </a:lnTo>
                  <a:lnTo>
                    <a:pt x="249275" y="0"/>
                  </a:lnTo>
                  <a:lnTo>
                    <a:pt x="249275" y="73316"/>
                  </a:lnTo>
                  <a:close/>
                </a:path>
              </a:pathLst>
            </a:custGeom>
            <a:grpFill/>
            <a:ln w="36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05E78F2-3189-481F-94F0-DBA8AA2E9E7A}"/>
                </a:ext>
              </a:extLst>
            </p:cNvPr>
            <p:cNvSpPr/>
            <p:nvPr/>
          </p:nvSpPr>
          <p:spPr>
            <a:xfrm>
              <a:off x="10689217" y="2422328"/>
              <a:ext cx="472890" cy="439898"/>
            </a:xfrm>
            <a:custGeom>
              <a:avLst/>
              <a:gdLst>
                <a:gd name="connsiteX0" fmla="*/ 282268 w 472890"/>
                <a:gd name="connsiteY0" fmla="*/ 32992 h 439898"/>
                <a:gd name="connsiteX1" fmla="*/ 282268 w 472890"/>
                <a:gd name="connsiteY1" fmla="*/ 0 h 439898"/>
                <a:gd name="connsiteX2" fmla="*/ 472890 w 472890"/>
                <a:gd name="connsiteY2" fmla="*/ 0 h 439898"/>
                <a:gd name="connsiteX3" fmla="*/ 472890 w 472890"/>
                <a:gd name="connsiteY3" fmla="*/ 32992 h 439898"/>
                <a:gd name="connsiteX4" fmla="*/ 282268 w 472890"/>
                <a:gd name="connsiteY4" fmla="*/ 32992 h 439898"/>
                <a:gd name="connsiteX5" fmla="*/ 282268 w 472890"/>
                <a:gd name="connsiteY5" fmla="*/ 124638 h 439898"/>
                <a:gd name="connsiteX6" fmla="*/ 282268 w 472890"/>
                <a:gd name="connsiteY6" fmla="*/ 95311 h 439898"/>
                <a:gd name="connsiteX7" fmla="*/ 472890 w 472890"/>
                <a:gd name="connsiteY7" fmla="*/ 95311 h 439898"/>
                <a:gd name="connsiteX8" fmla="*/ 472890 w 472890"/>
                <a:gd name="connsiteY8" fmla="*/ 128304 h 439898"/>
                <a:gd name="connsiteX9" fmla="*/ 282268 w 472890"/>
                <a:gd name="connsiteY9" fmla="*/ 128304 h 439898"/>
                <a:gd name="connsiteX10" fmla="*/ 282268 w 472890"/>
                <a:gd name="connsiteY10" fmla="*/ 219949 h 439898"/>
                <a:gd name="connsiteX11" fmla="*/ 282268 w 472890"/>
                <a:gd name="connsiteY11" fmla="*/ 190622 h 439898"/>
                <a:gd name="connsiteX12" fmla="*/ 472890 w 472890"/>
                <a:gd name="connsiteY12" fmla="*/ 190622 h 439898"/>
                <a:gd name="connsiteX13" fmla="*/ 472890 w 472890"/>
                <a:gd name="connsiteY13" fmla="*/ 219949 h 439898"/>
                <a:gd name="connsiteX14" fmla="*/ 282268 w 472890"/>
                <a:gd name="connsiteY14" fmla="*/ 219949 h 439898"/>
                <a:gd name="connsiteX15" fmla="*/ 0 w 472890"/>
                <a:gd name="connsiteY15" fmla="*/ 348253 h 439898"/>
                <a:gd name="connsiteX16" fmla="*/ 0 w 472890"/>
                <a:gd name="connsiteY16" fmla="*/ 315260 h 439898"/>
                <a:gd name="connsiteX17" fmla="*/ 472890 w 472890"/>
                <a:gd name="connsiteY17" fmla="*/ 315260 h 439898"/>
                <a:gd name="connsiteX18" fmla="*/ 472890 w 472890"/>
                <a:gd name="connsiteY18" fmla="*/ 348253 h 439898"/>
                <a:gd name="connsiteX19" fmla="*/ 0 w 472890"/>
                <a:gd name="connsiteY19" fmla="*/ 348253 h 439898"/>
                <a:gd name="connsiteX20" fmla="*/ 0 w 472890"/>
                <a:gd name="connsiteY20" fmla="*/ 439898 h 439898"/>
                <a:gd name="connsiteX21" fmla="*/ 0 w 472890"/>
                <a:gd name="connsiteY21" fmla="*/ 406906 h 439898"/>
                <a:gd name="connsiteX22" fmla="*/ 472890 w 472890"/>
                <a:gd name="connsiteY22" fmla="*/ 406906 h 439898"/>
                <a:gd name="connsiteX23" fmla="*/ 472890 w 472890"/>
                <a:gd name="connsiteY23" fmla="*/ 439898 h 439898"/>
                <a:gd name="connsiteX24" fmla="*/ 0 w 472890"/>
                <a:gd name="connsiteY24" fmla="*/ 439898 h 439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72890" h="439898">
                  <a:moveTo>
                    <a:pt x="282268" y="32992"/>
                  </a:moveTo>
                  <a:lnTo>
                    <a:pt x="282268" y="0"/>
                  </a:lnTo>
                  <a:lnTo>
                    <a:pt x="472890" y="0"/>
                  </a:lnTo>
                  <a:lnTo>
                    <a:pt x="472890" y="32992"/>
                  </a:lnTo>
                  <a:lnTo>
                    <a:pt x="282268" y="32992"/>
                  </a:lnTo>
                  <a:close/>
                  <a:moveTo>
                    <a:pt x="282268" y="124638"/>
                  </a:moveTo>
                  <a:lnTo>
                    <a:pt x="282268" y="95311"/>
                  </a:lnTo>
                  <a:lnTo>
                    <a:pt x="472890" y="95311"/>
                  </a:lnTo>
                  <a:lnTo>
                    <a:pt x="472890" y="128304"/>
                  </a:lnTo>
                  <a:lnTo>
                    <a:pt x="282268" y="128304"/>
                  </a:lnTo>
                  <a:close/>
                  <a:moveTo>
                    <a:pt x="282268" y="219949"/>
                  </a:moveTo>
                  <a:lnTo>
                    <a:pt x="282268" y="190622"/>
                  </a:lnTo>
                  <a:lnTo>
                    <a:pt x="472890" y="190622"/>
                  </a:lnTo>
                  <a:lnTo>
                    <a:pt x="472890" y="219949"/>
                  </a:lnTo>
                  <a:lnTo>
                    <a:pt x="282268" y="219949"/>
                  </a:lnTo>
                  <a:close/>
                  <a:moveTo>
                    <a:pt x="0" y="348253"/>
                  </a:moveTo>
                  <a:lnTo>
                    <a:pt x="0" y="315260"/>
                  </a:lnTo>
                  <a:lnTo>
                    <a:pt x="472890" y="315260"/>
                  </a:lnTo>
                  <a:lnTo>
                    <a:pt x="472890" y="348253"/>
                  </a:lnTo>
                  <a:lnTo>
                    <a:pt x="0" y="348253"/>
                  </a:lnTo>
                  <a:close/>
                  <a:moveTo>
                    <a:pt x="0" y="439898"/>
                  </a:moveTo>
                  <a:lnTo>
                    <a:pt x="0" y="406906"/>
                  </a:lnTo>
                  <a:lnTo>
                    <a:pt x="472890" y="406906"/>
                  </a:lnTo>
                  <a:lnTo>
                    <a:pt x="472890" y="439898"/>
                  </a:lnTo>
                  <a:lnTo>
                    <a:pt x="0" y="439898"/>
                  </a:lnTo>
                  <a:close/>
                </a:path>
              </a:pathLst>
            </a:custGeom>
            <a:grpFill/>
            <a:ln w="36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9" name="标题 1">
            <a:extLst>
              <a:ext uri="{FF2B5EF4-FFF2-40B4-BE49-F238E27FC236}">
                <a16:creationId xmlns:a16="http://schemas.microsoft.com/office/drawing/2014/main" id="{22CFFA39-7604-4F86-A240-0D22A23AF801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000" b="1" dirty="0">
                <a:solidFill>
                  <a:schemeClr val="tx1"/>
                </a:solidFill>
              </a:rPr>
              <a:t>传统 </a:t>
            </a:r>
            <a:r>
              <a:rPr lang="en-US" altLang="zh-CN" sz="3000" b="1" dirty="0">
                <a:solidFill>
                  <a:schemeClr val="tx1"/>
                </a:solidFill>
              </a:rPr>
              <a:t>OCR </a:t>
            </a:r>
            <a:r>
              <a:rPr lang="zh-CN" altLang="en-US" sz="3000" b="1" dirty="0">
                <a:solidFill>
                  <a:schemeClr val="tx1"/>
                </a:solidFill>
              </a:rPr>
              <a:t>原理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6BCD916-7DC6-4DF2-9573-02C09E0B65E8}"/>
              </a:ext>
            </a:extLst>
          </p:cNvPr>
          <p:cNvSpPr txBox="1"/>
          <p:nvPr/>
        </p:nvSpPr>
        <p:spPr>
          <a:xfrm>
            <a:off x="2831708" y="2348710"/>
            <a:ext cx="121058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z="1600" b="1" dirty="0">
                <a:solidFill>
                  <a:schemeClr val="tx1"/>
                </a:solidFill>
              </a:rPr>
              <a:t>图像预处理</a:t>
            </a:r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D8823954-27CF-4B03-B867-D7E5F0701D3A}"/>
              </a:ext>
            </a:extLst>
          </p:cNvPr>
          <p:cNvSpPr/>
          <p:nvPr/>
        </p:nvSpPr>
        <p:spPr>
          <a:xfrm>
            <a:off x="2777880" y="2830121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几何校正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0610847E-3B4D-40B1-A5D9-3E29669DC7AA}"/>
              </a:ext>
            </a:extLst>
          </p:cNvPr>
          <p:cNvSpPr/>
          <p:nvPr/>
        </p:nvSpPr>
        <p:spPr>
          <a:xfrm>
            <a:off x="2777880" y="3197965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模糊校正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8F4E6834-538E-4CD4-97F1-1F855F60806C}"/>
              </a:ext>
            </a:extLst>
          </p:cNvPr>
          <p:cNvSpPr/>
          <p:nvPr/>
        </p:nvSpPr>
        <p:spPr>
          <a:xfrm>
            <a:off x="2777880" y="3565809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光线校正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6C1E3CF-DA9D-4022-8F61-C5FB14A64F50}"/>
              </a:ext>
            </a:extLst>
          </p:cNvPr>
          <p:cNvSpPr txBox="1"/>
          <p:nvPr/>
        </p:nvSpPr>
        <p:spPr>
          <a:xfrm>
            <a:off x="5388114" y="2348710"/>
            <a:ext cx="1415772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b="1" dirty="0">
                <a:solidFill>
                  <a:schemeClr val="tx1"/>
                </a:solidFill>
              </a:rPr>
              <a:t>文字特征提取</a:t>
            </a:r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825EEEC0-D464-4355-B37E-CACDE66698E1}"/>
              </a:ext>
            </a:extLst>
          </p:cNvPr>
          <p:cNvSpPr/>
          <p:nvPr/>
        </p:nvSpPr>
        <p:spPr>
          <a:xfrm>
            <a:off x="5430000" y="2830121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二值化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AB8F012A-BA5C-45AD-A0AD-800F0A9BA809}"/>
              </a:ext>
            </a:extLst>
          </p:cNvPr>
          <p:cNvSpPr/>
          <p:nvPr/>
        </p:nvSpPr>
        <p:spPr>
          <a:xfrm>
            <a:off x="5430000" y="3197965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版面分析</a:t>
            </a: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1990313C-ECFD-46CE-B216-A7AAFB61FE44}"/>
              </a:ext>
            </a:extLst>
          </p:cNvPr>
          <p:cNvSpPr/>
          <p:nvPr/>
        </p:nvSpPr>
        <p:spPr>
          <a:xfrm>
            <a:off x="5430000" y="3565809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行切分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B760BF27-6EA7-4B0A-8FCC-D130FD184D6E}"/>
              </a:ext>
            </a:extLst>
          </p:cNvPr>
          <p:cNvGrpSpPr/>
          <p:nvPr/>
        </p:nvGrpSpPr>
        <p:grpSpPr>
          <a:xfrm>
            <a:off x="5998373" y="1952285"/>
            <a:ext cx="195258" cy="195256"/>
            <a:chOff x="5982300" y="1936212"/>
            <a:chExt cx="227404" cy="227402"/>
          </a:xfrm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DF9AFB67-4EA7-4CA2-AF7C-25D5627D49DB}"/>
                </a:ext>
              </a:extLst>
            </p:cNvPr>
            <p:cNvSpPr/>
            <p:nvPr/>
          </p:nvSpPr>
          <p:spPr>
            <a:xfrm>
              <a:off x="6018916" y="1972827"/>
              <a:ext cx="155618" cy="156097"/>
            </a:xfrm>
            <a:custGeom>
              <a:avLst/>
              <a:gdLst>
                <a:gd name="connsiteX0" fmla="*/ 135461 w 142058"/>
                <a:gd name="connsiteY0" fmla="*/ 0 h 142497"/>
                <a:gd name="connsiteX1" fmla="*/ 5278 w 142058"/>
                <a:gd name="connsiteY1" fmla="*/ 0 h 142497"/>
                <a:gd name="connsiteX2" fmla="*/ 0 w 142058"/>
                <a:gd name="connsiteY2" fmla="*/ 3518 h 142497"/>
                <a:gd name="connsiteX3" fmla="*/ 0 w 142058"/>
                <a:gd name="connsiteY3" fmla="*/ 8796 h 142497"/>
                <a:gd name="connsiteX4" fmla="*/ 5278 w 142058"/>
                <a:gd name="connsiteY4" fmla="*/ 12315 h 142497"/>
                <a:gd name="connsiteX5" fmla="*/ 65092 w 142058"/>
                <a:gd name="connsiteY5" fmla="*/ 12315 h 142497"/>
                <a:gd name="connsiteX6" fmla="*/ 65092 w 142058"/>
                <a:gd name="connsiteY6" fmla="*/ 137220 h 142497"/>
                <a:gd name="connsiteX7" fmla="*/ 70369 w 142058"/>
                <a:gd name="connsiteY7" fmla="*/ 142498 h 142497"/>
                <a:gd name="connsiteX8" fmla="*/ 75647 w 142058"/>
                <a:gd name="connsiteY8" fmla="*/ 137220 h 142497"/>
                <a:gd name="connsiteX9" fmla="*/ 75647 w 142058"/>
                <a:gd name="connsiteY9" fmla="*/ 12315 h 142497"/>
                <a:gd name="connsiteX10" fmla="*/ 135461 w 142058"/>
                <a:gd name="connsiteY10" fmla="*/ 12315 h 142497"/>
                <a:gd name="connsiteX11" fmla="*/ 140739 w 142058"/>
                <a:gd name="connsiteY11" fmla="*/ 8796 h 142497"/>
                <a:gd name="connsiteX12" fmla="*/ 140739 w 142058"/>
                <a:gd name="connsiteY12" fmla="*/ 3518 h 142497"/>
                <a:gd name="connsiteX13" fmla="*/ 135461 w 142058"/>
                <a:gd name="connsiteY13" fmla="*/ 0 h 142497"/>
                <a:gd name="connsiteX14" fmla="*/ 135461 w 142058"/>
                <a:gd name="connsiteY14" fmla="*/ 0 h 142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058" h="142497">
                  <a:moveTo>
                    <a:pt x="135461" y="0"/>
                  </a:moveTo>
                  <a:lnTo>
                    <a:pt x="5278" y="0"/>
                  </a:lnTo>
                  <a:cubicBezTo>
                    <a:pt x="3518" y="0"/>
                    <a:pt x="1759" y="1759"/>
                    <a:pt x="0" y="3518"/>
                  </a:cubicBezTo>
                  <a:cubicBezTo>
                    <a:pt x="0" y="5278"/>
                    <a:pt x="0" y="7037"/>
                    <a:pt x="0" y="8796"/>
                  </a:cubicBezTo>
                  <a:cubicBezTo>
                    <a:pt x="1759" y="10555"/>
                    <a:pt x="3518" y="12315"/>
                    <a:pt x="5278" y="12315"/>
                  </a:cubicBezTo>
                  <a:lnTo>
                    <a:pt x="65092" y="12315"/>
                  </a:lnTo>
                  <a:lnTo>
                    <a:pt x="65092" y="137220"/>
                  </a:lnTo>
                  <a:cubicBezTo>
                    <a:pt x="65092" y="140739"/>
                    <a:pt x="66851" y="142498"/>
                    <a:pt x="70369" y="142498"/>
                  </a:cubicBezTo>
                  <a:cubicBezTo>
                    <a:pt x="73888" y="142498"/>
                    <a:pt x="75647" y="140739"/>
                    <a:pt x="75647" y="137220"/>
                  </a:cubicBezTo>
                  <a:lnTo>
                    <a:pt x="75647" y="12315"/>
                  </a:lnTo>
                  <a:lnTo>
                    <a:pt x="135461" y="12315"/>
                  </a:lnTo>
                  <a:cubicBezTo>
                    <a:pt x="137220" y="12315"/>
                    <a:pt x="138979" y="10555"/>
                    <a:pt x="140739" y="8796"/>
                  </a:cubicBezTo>
                  <a:cubicBezTo>
                    <a:pt x="142498" y="7037"/>
                    <a:pt x="142498" y="5278"/>
                    <a:pt x="140739" y="3518"/>
                  </a:cubicBezTo>
                  <a:cubicBezTo>
                    <a:pt x="140739" y="1759"/>
                    <a:pt x="138979" y="0"/>
                    <a:pt x="135461" y="0"/>
                  </a:cubicBezTo>
                  <a:lnTo>
                    <a:pt x="135461" y="0"/>
                  </a:lnTo>
                  <a:close/>
                </a:path>
              </a:pathLst>
            </a:custGeom>
            <a:solidFill>
              <a:schemeClr val="bg1"/>
            </a:solidFill>
            <a:ln w="17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680B695-4FEB-49DC-B2FE-BA6655C3EFE3}"/>
                </a:ext>
              </a:extLst>
            </p:cNvPr>
            <p:cNvSpPr/>
            <p:nvPr/>
          </p:nvSpPr>
          <p:spPr>
            <a:xfrm>
              <a:off x="5982300" y="1936212"/>
              <a:ext cx="227404" cy="227402"/>
            </a:xfrm>
            <a:custGeom>
              <a:avLst/>
              <a:gdLst>
                <a:gd name="connsiteX0" fmla="*/ 179442 w 207589"/>
                <a:gd name="connsiteY0" fmla="*/ 207590 h 207589"/>
                <a:gd name="connsiteX1" fmla="*/ 28148 w 207589"/>
                <a:gd name="connsiteY1" fmla="*/ 207590 h 207589"/>
                <a:gd name="connsiteX2" fmla="*/ 0 w 207589"/>
                <a:gd name="connsiteY2" fmla="*/ 179442 h 207589"/>
                <a:gd name="connsiteX3" fmla="*/ 0 w 207589"/>
                <a:gd name="connsiteY3" fmla="*/ 28148 h 207589"/>
                <a:gd name="connsiteX4" fmla="*/ 28148 w 207589"/>
                <a:gd name="connsiteY4" fmla="*/ 0 h 207589"/>
                <a:gd name="connsiteX5" fmla="*/ 179442 w 207589"/>
                <a:gd name="connsiteY5" fmla="*/ 0 h 207589"/>
                <a:gd name="connsiteX6" fmla="*/ 207590 w 207589"/>
                <a:gd name="connsiteY6" fmla="*/ 28148 h 207589"/>
                <a:gd name="connsiteX7" fmla="*/ 207590 w 207589"/>
                <a:gd name="connsiteY7" fmla="*/ 179442 h 207589"/>
                <a:gd name="connsiteX8" fmla="*/ 179442 w 207589"/>
                <a:gd name="connsiteY8" fmla="*/ 207590 h 20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589" h="207589">
                  <a:moveTo>
                    <a:pt x="179442" y="207590"/>
                  </a:moveTo>
                  <a:lnTo>
                    <a:pt x="28148" y="207590"/>
                  </a:lnTo>
                  <a:cubicBezTo>
                    <a:pt x="12315" y="207590"/>
                    <a:pt x="0" y="195275"/>
                    <a:pt x="0" y="179442"/>
                  </a:cubicBezTo>
                  <a:lnTo>
                    <a:pt x="0" y="28148"/>
                  </a:lnTo>
                  <a:cubicBezTo>
                    <a:pt x="0" y="12315"/>
                    <a:pt x="12315" y="0"/>
                    <a:pt x="28148" y="0"/>
                  </a:cubicBezTo>
                  <a:lnTo>
                    <a:pt x="179442" y="0"/>
                  </a:lnTo>
                  <a:cubicBezTo>
                    <a:pt x="195275" y="0"/>
                    <a:pt x="207590" y="12315"/>
                    <a:pt x="207590" y="28148"/>
                  </a:cubicBezTo>
                  <a:lnTo>
                    <a:pt x="207590" y="179442"/>
                  </a:lnTo>
                  <a:cubicBezTo>
                    <a:pt x="207590" y="195275"/>
                    <a:pt x="195275" y="207590"/>
                    <a:pt x="179442" y="207590"/>
                  </a:cubicBezTo>
                  <a:close/>
                </a:path>
              </a:pathLst>
            </a:custGeom>
            <a:noFill/>
            <a:ln w="69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66" name="文本框 65">
            <a:extLst>
              <a:ext uri="{FF2B5EF4-FFF2-40B4-BE49-F238E27FC236}">
                <a16:creationId xmlns:a16="http://schemas.microsoft.com/office/drawing/2014/main" id="{13782A22-E3D4-454A-830B-C0964B71D9DB}"/>
              </a:ext>
            </a:extLst>
          </p:cNvPr>
          <p:cNvSpPr txBox="1"/>
          <p:nvPr/>
        </p:nvSpPr>
        <p:spPr>
          <a:xfrm>
            <a:off x="8040234" y="2348710"/>
            <a:ext cx="1415772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b="1">
                <a:solidFill>
                  <a:schemeClr val="tx1"/>
                </a:solidFill>
              </a:rPr>
              <a:t>文字特征结果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8A825193-8D44-41CA-ACCD-DD680B6240C9}"/>
              </a:ext>
            </a:extLst>
          </p:cNvPr>
          <p:cNvSpPr/>
          <p:nvPr/>
        </p:nvSpPr>
        <p:spPr>
          <a:xfrm>
            <a:off x="8082120" y="2830121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字符切分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5A552AE8-7402-4BD0-8A7F-40160E8CEB3B}"/>
              </a:ext>
            </a:extLst>
          </p:cNvPr>
          <p:cNvSpPr/>
          <p:nvPr/>
        </p:nvSpPr>
        <p:spPr>
          <a:xfrm>
            <a:off x="8082120" y="3197965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单字识别</a:t>
            </a:r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DF9E5FA9-96E5-42A7-86CA-E7F2CEA9626B}"/>
              </a:ext>
            </a:extLst>
          </p:cNvPr>
          <p:cNvSpPr/>
          <p:nvPr/>
        </p:nvSpPr>
        <p:spPr>
          <a:xfrm>
            <a:off x="8082120" y="3565809"/>
            <a:ext cx="1332000" cy="252000"/>
          </a:xfrm>
          <a:prstGeom prst="roundRect">
            <a:avLst>
              <a:gd name="adj" fmla="val 50000"/>
            </a:avLst>
          </a:prstGeom>
          <a:noFill/>
          <a:ln w="635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marL="0" lvl="1" algn="ctr" defTabSz="711200">
              <a:spcBef>
                <a:spcPct val="0"/>
              </a:spcBef>
              <a:spcAft>
                <a:spcPct val="15000"/>
              </a:spcAft>
            </a:pPr>
            <a:r>
              <a:rPr lang="zh-CN" altLang="en-US" sz="1400" dirty="0">
                <a:solidFill>
                  <a:schemeClr val="tx1"/>
                </a:solidFill>
                <a:latin typeface="+mn-ea"/>
              </a:rPr>
              <a:t>识别后处理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CB47234A-87D6-48EE-8C5C-38FDA57B4F40}"/>
              </a:ext>
            </a:extLst>
          </p:cNvPr>
          <p:cNvGrpSpPr/>
          <p:nvPr/>
        </p:nvGrpSpPr>
        <p:grpSpPr>
          <a:xfrm>
            <a:off x="8652349" y="1954210"/>
            <a:ext cx="191542" cy="191406"/>
            <a:chOff x="8636582" y="1938454"/>
            <a:chExt cx="223076" cy="222918"/>
          </a:xfrm>
        </p:grpSpPr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C3D8D7BA-5688-4D56-9B6F-112CB9DCB303}"/>
                </a:ext>
              </a:extLst>
            </p:cNvPr>
            <p:cNvSpPr/>
            <p:nvPr/>
          </p:nvSpPr>
          <p:spPr>
            <a:xfrm>
              <a:off x="8636582" y="1938454"/>
              <a:ext cx="223076" cy="222918"/>
            </a:xfrm>
            <a:custGeom>
              <a:avLst/>
              <a:gdLst>
                <a:gd name="connsiteX0" fmla="*/ 181053 w 203640"/>
                <a:gd name="connsiteY0" fmla="*/ 0 h 203497"/>
                <a:gd name="connsiteX1" fmla="*/ 23941 w 203640"/>
                <a:gd name="connsiteY1" fmla="*/ 0 h 203497"/>
                <a:gd name="connsiteX2" fmla="*/ 0 w 203640"/>
                <a:gd name="connsiteY2" fmla="*/ 23941 h 203497"/>
                <a:gd name="connsiteX3" fmla="*/ 0 w 203640"/>
                <a:gd name="connsiteY3" fmla="*/ 179557 h 203497"/>
                <a:gd name="connsiteX4" fmla="*/ 23941 w 203640"/>
                <a:gd name="connsiteY4" fmla="*/ 203498 h 203497"/>
                <a:gd name="connsiteX5" fmla="*/ 179557 w 203640"/>
                <a:gd name="connsiteY5" fmla="*/ 203498 h 203497"/>
                <a:gd name="connsiteX6" fmla="*/ 203498 w 203640"/>
                <a:gd name="connsiteY6" fmla="*/ 179557 h 203497"/>
                <a:gd name="connsiteX7" fmla="*/ 203498 w 203640"/>
                <a:gd name="connsiteY7" fmla="*/ 23941 h 203497"/>
                <a:gd name="connsiteX8" fmla="*/ 181053 w 203640"/>
                <a:gd name="connsiteY8" fmla="*/ 0 h 203497"/>
                <a:gd name="connsiteX9" fmla="*/ 181053 w 203640"/>
                <a:gd name="connsiteY9" fmla="*/ 0 h 203497"/>
                <a:gd name="connsiteX10" fmla="*/ 197513 w 203640"/>
                <a:gd name="connsiteY10" fmla="*/ 181053 h 203497"/>
                <a:gd name="connsiteX11" fmla="*/ 181053 w 203640"/>
                <a:gd name="connsiteY11" fmla="*/ 197513 h 203497"/>
                <a:gd name="connsiteX12" fmla="*/ 23941 w 203640"/>
                <a:gd name="connsiteY12" fmla="*/ 197513 h 203497"/>
                <a:gd name="connsiteX13" fmla="*/ 7482 w 203640"/>
                <a:gd name="connsiteY13" fmla="*/ 181053 h 203497"/>
                <a:gd name="connsiteX14" fmla="*/ 7482 w 203640"/>
                <a:gd name="connsiteY14" fmla="*/ 23941 h 203497"/>
                <a:gd name="connsiteX15" fmla="*/ 23941 w 203640"/>
                <a:gd name="connsiteY15" fmla="*/ 7482 h 203497"/>
                <a:gd name="connsiteX16" fmla="*/ 179557 w 203640"/>
                <a:gd name="connsiteY16" fmla="*/ 7482 h 203497"/>
                <a:gd name="connsiteX17" fmla="*/ 196016 w 203640"/>
                <a:gd name="connsiteY17" fmla="*/ 23941 h 203497"/>
                <a:gd name="connsiteX18" fmla="*/ 196016 w 203640"/>
                <a:gd name="connsiteY18" fmla="*/ 181053 h 20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640" h="203497">
                  <a:moveTo>
                    <a:pt x="181053" y="0"/>
                  </a:moveTo>
                  <a:lnTo>
                    <a:pt x="23941" y="0"/>
                  </a:lnTo>
                  <a:cubicBezTo>
                    <a:pt x="10474" y="0"/>
                    <a:pt x="0" y="10474"/>
                    <a:pt x="0" y="23941"/>
                  </a:cubicBezTo>
                  <a:lnTo>
                    <a:pt x="0" y="179557"/>
                  </a:lnTo>
                  <a:cubicBezTo>
                    <a:pt x="0" y="193024"/>
                    <a:pt x="10474" y="203498"/>
                    <a:pt x="23941" y="203498"/>
                  </a:cubicBezTo>
                  <a:lnTo>
                    <a:pt x="179557" y="203498"/>
                  </a:lnTo>
                  <a:cubicBezTo>
                    <a:pt x="193024" y="203498"/>
                    <a:pt x="203498" y="191527"/>
                    <a:pt x="203498" y="179557"/>
                  </a:cubicBezTo>
                  <a:lnTo>
                    <a:pt x="203498" y="23941"/>
                  </a:lnTo>
                  <a:cubicBezTo>
                    <a:pt x="204994" y="10474"/>
                    <a:pt x="194520" y="0"/>
                    <a:pt x="181053" y="0"/>
                  </a:cubicBezTo>
                  <a:lnTo>
                    <a:pt x="181053" y="0"/>
                  </a:lnTo>
                  <a:close/>
                  <a:moveTo>
                    <a:pt x="197513" y="181053"/>
                  </a:moveTo>
                  <a:cubicBezTo>
                    <a:pt x="197513" y="190031"/>
                    <a:pt x="190031" y="197513"/>
                    <a:pt x="181053" y="197513"/>
                  </a:cubicBezTo>
                  <a:lnTo>
                    <a:pt x="23941" y="197513"/>
                  </a:lnTo>
                  <a:cubicBezTo>
                    <a:pt x="14963" y="197513"/>
                    <a:pt x="7482" y="190031"/>
                    <a:pt x="7482" y="181053"/>
                  </a:cubicBezTo>
                  <a:lnTo>
                    <a:pt x="7482" y="23941"/>
                  </a:lnTo>
                  <a:cubicBezTo>
                    <a:pt x="7482" y="14963"/>
                    <a:pt x="14963" y="7482"/>
                    <a:pt x="23941" y="7482"/>
                  </a:cubicBezTo>
                  <a:lnTo>
                    <a:pt x="179557" y="7482"/>
                  </a:lnTo>
                  <a:cubicBezTo>
                    <a:pt x="188535" y="7482"/>
                    <a:pt x="196016" y="14963"/>
                    <a:pt x="196016" y="23941"/>
                  </a:cubicBezTo>
                  <a:lnTo>
                    <a:pt x="196016" y="181053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06A35D5D-FE0D-4701-9DA8-0B24D6EA3350}"/>
                </a:ext>
              </a:extLst>
            </p:cNvPr>
            <p:cNvSpPr/>
            <p:nvPr/>
          </p:nvSpPr>
          <p:spPr>
            <a:xfrm>
              <a:off x="8664447" y="1956484"/>
              <a:ext cx="32782" cy="34421"/>
            </a:xfrm>
            <a:custGeom>
              <a:avLst/>
              <a:gdLst>
                <a:gd name="connsiteX0" fmla="*/ 23941 w 29926"/>
                <a:gd name="connsiteY0" fmla="*/ 0 h 31422"/>
                <a:gd name="connsiteX1" fmla="*/ 7482 w 29926"/>
                <a:gd name="connsiteY1" fmla="*/ 0 h 31422"/>
                <a:gd name="connsiteX2" fmla="*/ 0 w 29926"/>
                <a:gd name="connsiteY2" fmla="*/ 7482 h 31422"/>
                <a:gd name="connsiteX3" fmla="*/ 0 w 29926"/>
                <a:gd name="connsiteY3" fmla="*/ 23941 h 31422"/>
                <a:gd name="connsiteX4" fmla="*/ 7482 w 29926"/>
                <a:gd name="connsiteY4" fmla="*/ 31422 h 31422"/>
                <a:gd name="connsiteX5" fmla="*/ 14963 w 29926"/>
                <a:gd name="connsiteY5" fmla="*/ 23941 h 31422"/>
                <a:gd name="connsiteX6" fmla="*/ 14963 w 29926"/>
                <a:gd name="connsiteY6" fmla="*/ 16459 h 31422"/>
                <a:gd name="connsiteX7" fmla="*/ 22445 w 29926"/>
                <a:gd name="connsiteY7" fmla="*/ 16459 h 31422"/>
                <a:gd name="connsiteX8" fmla="*/ 29926 w 29926"/>
                <a:gd name="connsiteY8" fmla="*/ 8978 h 31422"/>
                <a:gd name="connsiteX9" fmla="*/ 23941 w 29926"/>
                <a:gd name="connsiteY9" fmla="*/ 0 h 31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926" h="31422">
                  <a:moveTo>
                    <a:pt x="23941" y="0"/>
                  </a:moveTo>
                  <a:lnTo>
                    <a:pt x="7482" y="0"/>
                  </a:lnTo>
                  <a:cubicBezTo>
                    <a:pt x="2993" y="0"/>
                    <a:pt x="0" y="4489"/>
                    <a:pt x="0" y="7482"/>
                  </a:cubicBezTo>
                  <a:lnTo>
                    <a:pt x="0" y="23941"/>
                  </a:lnTo>
                  <a:cubicBezTo>
                    <a:pt x="0" y="28430"/>
                    <a:pt x="4489" y="31422"/>
                    <a:pt x="7482" y="31422"/>
                  </a:cubicBezTo>
                  <a:cubicBezTo>
                    <a:pt x="11970" y="31422"/>
                    <a:pt x="14963" y="26934"/>
                    <a:pt x="14963" y="23941"/>
                  </a:cubicBezTo>
                  <a:lnTo>
                    <a:pt x="14963" y="16459"/>
                  </a:lnTo>
                  <a:lnTo>
                    <a:pt x="22445" y="16459"/>
                  </a:lnTo>
                  <a:cubicBezTo>
                    <a:pt x="26934" y="16459"/>
                    <a:pt x="29926" y="11970"/>
                    <a:pt x="29926" y="8978"/>
                  </a:cubicBezTo>
                  <a:cubicBezTo>
                    <a:pt x="29926" y="5985"/>
                    <a:pt x="28430" y="0"/>
                    <a:pt x="23941" y="0"/>
                  </a:cubicBez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33F799F-32F8-4D30-9089-336D44A83D83}"/>
                </a:ext>
              </a:extLst>
            </p:cNvPr>
            <p:cNvSpPr/>
            <p:nvPr/>
          </p:nvSpPr>
          <p:spPr>
            <a:xfrm>
              <a:off x="8690673" y="2000739"/>
              <a:ext cx="118016" cy="118016"/>
            </a:xfrm>
            <a:custGeom>
              <a:avLst/>
              <a:gdLst>
                <a:gd name="connsiteX0" fmla="*/ 52371 w 107734"/>
                <a:gd name="connsiteY0" fmla="*/ 0 h 107734"/>
                <a:gd name="connsiteX1" fmla="*/ 4489 w 107734"/>
                <a:gd name="connsiteY1" fmla="*/ 0 h 107734"/>
                <a:gd name="connsiteX2" fmla="*/ 0 w 107734"/>
                <a:gd name="connsiteY2" fmla="*/ 4489 h 107734"/>
                <a:gd name="connsiteX3" fmla="*/ 0 w 107734"/>
                <a:gd name="connsiteY3" fmla="*/ 5985 h 107734"/>
                <a:gd name="connsiteX4" fmla="*/ 4489 w 107734"/>
                <a:gd name="connsiteY4" fmla="*/ 10474 h 107734"/>
                <a:gd name="connsiteX5" fmla="*/ 49378 w 107734"/>
                <a:gd name="connsiteY5" fmla="*/ 10474 h 107734"/>
                <a:gd name="connsiteX6" fmla="*/ 49378 w 107734"/>
                <a:gd name="connsiteY6" fmla="*/ 4489 h 107734"/>
                <a:gd name="connsiteX7" fmla="*/ 52371 w 107734"/>
                <a:gd name="connsiteY7" fmla="*/ 0 h 107734"/>
                <a:gd name="connsiteX8" fmla="*/ 52371 w 107734"/>
                <a:gd name="connsiteY8" fmla="*/ 0 h 107734"/>
                <a:gd name="connsiteX9" fmla="*/ 101749 w 107734"/>
                <a:gd name="connsiteY9" fmla="*/ 0 h 107734"/>
                <a:gd name="connsiteX10" fmla="*/ 53867 w 107734"/>
                <a:gd name="connsiteY10" fmla="*/ 0 h 107734"/>
                <a:gd name="connsiteX11" fmla="*/ 58356 w 107734"/>
                <a:gd name="connsiteY11" fmla="*/ 4489 h 107734"/>
                <a:gd name="connsiteX12" fmla="*/ 58356 w 107734"/>
                <a:gd name="connsiteY12" fmla="*/ 10474 h 107734"/>
                <a:gd name="connsiteX13" fmla="*/ 103245 w 107734"/>
                <a:gd name="connsiteY13" fmla="*/ 10474 h 107734"/>
                <a:gd name="connsiteX14" fmla="*/ 107734 w 107734"/>
                <a:gd name="connsiteY14" fmla="*/ 5985 h 107734"/>
                <a:gd name="connsiteX15" fmla="*/ 107734 w 107734"/>
                <a:gd name="connsiteY15" fmla="*/ 4489 h 107734"/>
                <a:gd name="connsiteX16" fmla="*/ 101749 w 107734"/>
                <a:gd name="connsiteY16" fmla="*/ 0 h 107734"/>
                <a:gd name="connsiteX17" fmla="*/ 101749 w 107734"/>
                <a:gd name="connsiteY17" fmla="*/ 0 h 107734"/>
                <a:gd name="connsiteX18" fmla="*/ 47882 w 107734"/>
                <a:gd name="connsiteY18" fmla="*/ 103245 h 107734"/>
                <a:gd name="connsiteX19" fmla="*/ 52371 w 107734"/>
                <a:gd name="connsiteY19" fmla="*/ 107734 h 107734"/>
                <a:gd name="connsiteX20" fmla="*/ 53867 w 107734"/>
                <a:gd name="connsiteY20" fmla="*/ 107734 h 107734"/>
                <a:gd name="connsiteX21" fmla="*/ 58356 w 107734"/>
                <a:gd name="connsiteY21" fmla="*/ 103245 h 107734"/>
                <a:gd name="connsiteX22" fmla="*/ 58356 w 107734"/>
                <a:gd name="connsiteY22" fmla="*/ 10474 h 107734"/>
                <a:gd name="connsiteX23" fmla="*/ 47882 w 107734"/>
                <a:gd name="connsiteY23" fmla="*/ 10474 h 107734"/>
                <a:gd name="connsiteX24" fmla="*/ 47882 w 107734"/>
                <a:gd name="connsiteY24" fmla="*/ 103245 h 107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7734" h="107734">
                  <a:moveTo>
                    <a:pt x="52371" y="0"/>
                  </a:moveTo>
                  <a:lnTo>
                    <a:pt x="4489" y="0"/>
                  </a:lnTo>
                  <a:cubicBezTo>
                    <a:pt x="1496" y="0"/>
                    <a:pt x="0" y="1496"/>
                    <a:pt x="0" y="4489"/>
                  </a:cubicBezTo>
                  <a:lnTo>
                    <a:pt x="0" y="5985"/>
                  </a:lnTo>
                  <a:cubicBezTo>
                    <a:pt x="0" y="8978"/>
                    <a:pt x="1496" y="10474"/>
                    <a:pt x="4489" y="10474"/>
                  </a:cubicBezTo>
                  <a:lnTo>
                    <a:pt x="49378" y="10474"/>
                  </a:lnTo>
                  <a:lnTo>
                    <a:pt x="49378" y="4489"/>
                  </a:lnTo>
                  <a:cubicBezTo>
                    <a:pt x="47882" y="1496"/>
                    <a:pt x="49378" y="0"/>
                    <a:pt x="52371" y="0"/>
                  </a:cubicBezTo>
                  <a:lnTo>
                    <a:pt x="52371" y="0"/>
                  </a:lnTo>
                  <a:close/>
                  <a:moveTo>
                    <a:pt x="101749" y="0"/>
                  </a:moveTo>
                  <a:lnTo>
                    <a:pt x="53867" y="0"/>
                  </a:lnTo>
                  <a:cubicBezTo>
                    <a:pt x="56860" y="0"/>
                    <a:pt x="58356" y="1496"/>
                    <a:pt x="58356" y="4489"/>
                  </a:cubicBezTo>
                  <a:lnTo>
                    <a:pt x="58356" y="10474"/>
                  </a:lnTo>
                  <a:lnTo>
                    <a:pt x="103245" y="10474"/>
                  </a:lnTo>
                  <a:cubicBezTo>
                    <a:pt x="106238" y="10474"/>
                    <a:pt x="107734" y="8978"/>
                    <a:pt x="107734" y="5985"/>
                  </a:cubicBezTo>
                  <a:lnTo>
                    <a:pt x="107734" y="4489"/>
                  </a:lnTo>
                  <a:cubicBezTo>
                    <a:pt x="106238" y="1496"/>
                    <a:pt x="104742" y="0"/>
                    <a:pt x="101749" y="0"/>
                  </a:cubicBezTo>
                  <a:lnTo>
                    <a:pt x="101749" y="0"/>
                  </a:lnTo>
                  <a:close/>
                  <a:moveTo>
                    <a:pt x="47882" y="103245"/>
                  </a:moveTo>
                  <a:cubicBezTo>
                    <a:pt x="47882" y="106238"/>
                    <a:pt x="49378" y="107734"/>
                    <a:pt x="52371" y="107734"/>
                  </a:cubicBezTo>
                  <a:lnTo>
                    <a:pt x="53867" y="107734"/>
                  </a:lnTo>
                  <a:cubicBezTo>
                    <a:pt x="56860" y="107734"/>
                    <a:pt x="58356" y="106238"/>
                    <a:pt x="58356" y="103245"/>
                  </a:cubicBezTo>
                  <a:lnTo>
                    <a:pt x="58356" y="10474"/>
                  </a:lnTo>
                  <a:lnTo>
                    <a:pt x="47882" y="10474"/>
                  </a:lnTo>
                  <a:lnTo>
                    <a:pt x="47882" y="103245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E18EA04-324A-4597-9095-1CEE11208714}"/>
                </a:ext>
              </a:extLst>
            </p:cNvPr>
            <p:cNvSpPr/>
            <p:nvPr/>
          </p:nvSpPr>
          <p:spPr>
            <a:xfrm>
              <a:off x="8743124" y="2000739"/>
              <a:ext cx="11474" cy="11474"/>
            </a:xfrm>
            <a:custGeom>
              <a:avLst/>
              <a:gdLst>
                <a:gd name="connsiteX0" fmla="*/ 5985 w 10474"/>
                <a:gd name="connsiteY0" fmla="*/ 0 h 10474"/>
                <a:gd name="connsiteX1" fmla="*/ 4489 w 10474"/>
                <a:gd name="connsiteY1" fmla="*/ 0 h 10474"/>
                <a:gd name="connsiteX2" fmla="*/ 0 w 10474"/>
                <a:gd name="connsiteY2" fmla="*/ 4489 h 10474"/>
                <a:gd name="connsiteX3" fmla="*/ 0 w 10474"/>
                <a:gd name="connsiteY3" fmla="*/ 10474 h 10474"/>
                <a:gd name="connsiteX4" fmla="*/ 10474 w 10474"/>
                <a:gd name="connsiteY4" fmla="*/ 10474 h 10474"/>
                <a:gd name="connsiteX5" fmla="*/ 10474 w 10474"/>
                <a:gd name="connsiteY5" fmla="*/ 4489 h 10474"/>
                <a:gd name="connsiteX6" fmla="*/ 5985 w 10474"/>
                <a:gd name="connsiteY6" fmla="*/ 0 h 10474"/>
                <a:gd name="connsiteX7" fmla="*/ 5985 w 10474"/>
                <a:gd name="connsiteY7" fmla="*/ 0 h 1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4" h="10474">
                  <a:moveTo>
                    <a:pt x="5985" y="0"/>
                  </a:moveTo>
                  <a:lnTo>
                    <a:pt x="4489" y="0"/>
                  </a:lnTo>
                  <a:cubicBezTo>
                    <a:pt x="1496" y="0"/>
                    <a:pt x="0" y="1496"/>
                    <a:pt x="0" y="4489"/>
                  </a:cubicBezTo>
                  <a:lnTo>
                    <a:pt x="0" y="10474"/>
                  </a:lnTo>
                  <a:lnTo>
                    <a:pt x="10474" y="10474"/>
                  </a:lnTo>
                  <a:lnTo>
                    <a:pt x="10474" y="4489"/>
                  </a:lnTo>
                  <a:cubicBezTo>
                    <a:pt x="10474" y="1496"/>
                    <a:pt x="8978" y="0"/>
                    <a:pt x="5985" y="0"/>
                  </a:cubicBezTo>
                  <a:lnTo>
                    <a:pt x="5985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78" name="箭头: 右 77">
            <a:extLst>
              <a:ext uri="{FF2B5EF4-FFF2-40B4-BE49-F238E27FC236}">
                <a16:creationId xmlns:a16="http://schemas.microsoft.com/office/drawing/2014/main" id="{8CAFEEAB-8376-4168-9B9D-E68DC8DD1AD3}"/>
              </a:ext>
            </a:extLst>
          </p:cNvPr>
          <p:cNvSpPr/>
          <p:nvPr/>
        </p:nvSpPr>
        <p:spPr>
          <a:xfrm>
            <a:off x="4408783" y="2719878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箭头: 右 78">
            <a:extLst>
              <a:ext uri="{FF2B5EF4-FFF2-40B4-BE49-F238E27FC236}">
                <a16:creationId xmlns:a16="http://schemas.microsoft.com/office/drawing/2014/main" id="{120B7C82-11D1-43D4-8AEE-C45D32857681}"/>
              </a:ext>
            </a:extLst>
          </p:cNvPr>
          <p:cNvSpPr/>
          <p:nvPr/>
        </p:nvSpPr>
        <p:spPr>
          <a:xfrm>
            <a:off x="7060904" y="2719878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B647F235-447D-44A1-A7EB-426868F3B80C}"/>
              </a:ext>
            </a:extLst>
          </p:cNvPr>
          <p:cNvSpPr/>
          <p:nvPr/>
        </p:nvSpPr>
        <p:spPr>
          <a:xfrm>
            <a:off x="733186" y="2376071"/>
            <a:ext cx="980954" cy="9809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4F662F12-DA82-41BD-8D1A-03FF61E9F526}"/>
              </a:ext>
            </a:extLst>
          </p:cNvPr>
          <p:cNvGrpSpPr/>
          <p:nvPr/>
        </p:nvGrpSpPr>
        <p:grpSpPr>
          <a:xfrm>
            <a:off x="981199" y="2641403"/>
            <a:ext cx="484927" cy="439898"/>
            <a:chOff x="584253" y="2422328"/>
            <a:chExt cx="484927" cy="439898"/>
          </a:xfrm>
          <a:solidFill>
            <a:schemeClr val="bg1"/>
          </a:solidFill>
        </p:grpSpPr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C196F71-D573-4EBB-BFCA-9AD71712D721}"/>
                </a:ext>
              </a:extLst>
            </p:cNvPr>
            <p:cNvSpPr/>
            <p:nvPr/>
          </p:nvSpPr>
          <p:spPr>
            <a:xfrm>
              <a:off x="605035" y="2467357"/>
              <a:ext cx="439898" cy="20782"/>
            </a:xfrm>
            <a:custGeom>
              <a:avLst/>
              <a:gdLst>
                <a:gd name="connsiteX0" fmla="*/ 0 w 439898"/>
                <a:gd name="connsiteY0" fmla="*/ 0 h 20782"/>
                <a:gd name="connsiteX1" fmla="*/ 439899 w 439898"/>
                <a:gd name="connsiteY1" fmla="*/ 0 h 20782"/>
                <a:gd name="connsiteX2" fmla="*/ 439899 w 439898"/>
                <a:gd name="connsiteY2" fmla="*/ 20783 h 20782"/>
                <a:gd name="connsiteX3" fmla="*/ 0 w 439898"/>
                <a:gd name="connsiteY3" fmla="*/ 20783 h 2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898" h="20782">
                  <a:moveTo>
                    <a:pt x="0" y="0"/>
                  </a:moveTo>
                  <a:lnTo>
                    <a:pt x="439899" y="0"/>
                  </a:lnTo>
                  <a:lnTo>
                    <a:pt x="439899" y="20783"/>
                  </a:lnTo>
                  <a:lnTo>
                    <a:pt x="0" y="20783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DB5D700-7E2C-4AAE-AC6B-685EBA4C4486}"/>
                </a:ext>
              </a:extLst>
            </p:cNvPr>
            <p:cNvSpPr/>
            <p:nvPr/>
          </p:nvSpPr>
          <p:spPr>
            <a:xfrm>
              <a:off x="629282" y="2422328"/>
              <a:ext cx="398333" cy="20782"/>
            </a:xfrm>
            <a:custGeom>
              <a:avLst/>
              <a:gdLst>
                <a:gd name="connsiteX0" fmla="*/ 0 w 398333"/>
                <a:gd name="connsiteY0" fmla="*/ 0 h 20782"/>
                <a:gd name="connsiteX1" fmla="*/ 398334 w 398333"/>
                <a:gd name="connsiteY1" fmla="*/ 0 h 20782"/>
                <a:gd name="connsiteX2" fmla="*/ 398334 w 398333"/>
                <a:gd name="connsiteY2" fmla="*/ 20783 h 20782"/>
                <a:gd name="connsiteX3" fmla="*/ 0 w 398333"/>
                <a:gd name="connsiteY3" fmla="*/ 20783 h 2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333" h="20782">
                  <a:moveTo>
                    <a:pt x="0" y="0"/>
                  </a:moveTo>
                  <a:lnTo>
                    <a:pt x="398334" y="0"/>
                  </a:lnTo>
                  <a:lnTo>
                    <a:pt x="398334" y="20783"/>
                  </a:lnTo>
                  <a:lnTo>
                    <a:pt x="0" y="20783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B4E61A8-B88B-46D6-BB4C-FBBC4B4C2332}"/>
                </a:ext>
              </a:extLst>
            </p:cNvPr>
            <p:cNvSpPr/>
            <p:nvPr/>
          </p:nvSpPr>
          <p:spPr>
            <a:xfrm>
              <a:off x="629282" y="2596382"/>
              <a:ext cx="394869" cy="220815"/>
            </a:xfrm>
            <a:custGeom>
              <a:avLst/>
              <a:gdLst>
                <a:gd name="connsiteX0" fmla="*/ 284029 w 394869"/>
                <a:gd name="connsiteY0" fmla="*/ 85728 h 220815"/>
                <a:gd name="connsiteX1" fmla="*/ 277102 w 394869"/>
                <a:gd name="connsiteY1" fmla="*/ 85728 h 220815"/>
                <a:gd name="connsiteX2" fmla="*/ 214754 w 394869"/>
                <a:gd name="connsiteY2" fmla="*/ 127294 h 220815"/>
                <a:gd name="connsiteX3" fmla="*/ 211290 w 394869"/>
                <a:gd name="connsiteY3" fmla="*/ 127294 h 220815"/>
                <a:gd name="connsiteX4" fmla="*/ 138551 w 394869"/>
                <a:gd name="connsiteY4" fmla="*/ 2598 h 220815"/>
                <a:gd name="connsiteX5" fmla="*/ 131623 w 394869"/>
                <a:gd name="connsiteY5" fmla="*/ 2598 h 220815"/>
                <a:gd name="connsiteX6" fmla="*/ 0 w 394869"/>
                <a:gd name="connsiteY6" fmla="*/ 213888 h 220815"/>
                <a:gd name="connsiteX7" fmla="*/ 3464 w 394869"/>
                <a:gd name="connsiteY7" fmla="*/ 220815 h 220815"/>
                <a:gd name="connsiteX8" fmla="*/ 391406 w 394869"/>
                <a:gd name="connsiteY8" fmla="*/ 220815 h 220815"/>
                <a:gd name="connsiteX9" fmla="*/ 394870 w 394869"/>
                <a:gd name="connsiteY9" fmla="*/ 213888 h 220815"/>
                <a:gd name="connsiteX10" fmla="*/ 284029 w 394869"/>
                <a:gd name="connsiteY10" fmla="*/ 85728 h 220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4869" h="220815">
                  <a:moveTo>
                    <a:pt x="284029" y="85728"/>
                  </a:moveTo>
                  <a:cubicBezTo>
                    <a:pt x="280565" y="82265"/>
                    <a:pt x="277102" y="82265"/>
                    <a:pt x="277102" y="85728"/>
                  </a:cubicBezTo>
                  <a:lnTo>
                    <a:pt x="214754" y="127294"/>
                  </a:lnTo>
                  <a:cubicBezTo>
                    <a:pt x="214754" y="127294"/>
                    <a:pt x="211290" y="127294"/>
                    <a:pt x="211290" y="127294"/>
                  </a:cubicBezTo>
                  <a:lnTo>
                    <a:pt x="138551" y="2598"/>
                  </a:lnTo>
                  <a:cubicBezTo>
                    <a:pt x="138551" y="-866"/>
                    <a:pt x="135087" y="-866"/>
                    <a:pt x="131623" y="2598"/>
                  </a:cubicBezTo>
                  <a:lnTo>
                    <a:pt x="0" y="213888"/>
                  </a:lnTo>
                  <a:cubicBezTo>
                    <a:pt x="0" y="217352"/>
                    <a:pt x="0" y="220815"/>
                    <a:pt x="3464" y="220815"/>
                  </a:cubicBezTo>
                  <a:lnTo>
                    <a:pt x="391406" y="220815"/>
                  </a:lnTo>
                  <a:cubicBezTo>
                    <a:pt x="394870" y="220815"/>
                    <a:pt x="394870" y="217352"/>
                    <a:pt x="394870" y="213888"/>
                  </a:cubicBezTo>
                  <a:lnTo>
                    <a:pt x="284029" y="85728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E6F5ADB-7EC9-4EE8-B005-17EDF3E6222A}"/>
                </a:ext>
              </a:extLst>
            </p:cNvPr>
            <p:cNvSpPr/>
            <p:nvPr/>
          </p:nvSpPr>
          <p:spPr>
            <a:xfrm>
              <a:off x="937557" y="2553951"/>
              <a:ext cx="69275" cy="69275"/>
            </a:xfrm>
            <a:custGeom>
              <a:avLst/>
              <a:gdLst>
                <a:gd name="connsiteX0" fmla="*/ 0 w 69275"/>
                <a:gd name="connsiteY0" fmla="*/ 34638 h 69275"/>
                <a:gd name="connsiteX1" fmla="*/ 34638 w 69275"/>
                <a:gd name="connsiteY1" fmla="*/ 69275 h 69275"/>
                <a:gd name="connsiteX2" fmla="*/ 69275 w 69275"/>
                <a:gd name="connsiteY2" fmla="*/ 34638 h 69275"/>
                <a:gd name="connsiteX3" fmla="*/ 34638 w 69275"/>
                <a:gd name="connsiteY3" fmla="*/ 0 h 69275"/>
                <a:gd name="connsiteX4" fmla="*/ 0 w 69275"/>
                <a:gd name="connsiteY4" fmla="*/ 34638 h 69275"/>
                <a:gd name="connsiteX5" fmla="*/ 0 w 69275"/>
                <a:gd name="connsiteY5" fmla="*/ 34638 h 6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275" h="69275">
                  <a:moveTo>
                    <a:pt x="0" y="34638"/>
                  </a:moveTo>
                  <a:cubicBezTo>
                    <a:pt x="0" y="51957"/>
                    <a:pt x="13855" y="69275"/>
                    <a:pt x="34638" y="69275"/>
                  </a:cubicBezTo>
                  <a:cubicBezTo>
                    <a:pt x="51957" y="69275"/>
                    <a:pt x="69275" y="55420"/>
                    <a:pt x="69275" y="34638"/>
                  </a:cubicBezTo>
                  <a:cubicBezTo>
                    <a:pt x="69275" y="17319"/>
                    <a:pt x="55420" y="0"/>
                    <a:pt x="34638" y="0"/>
                  </a:cubicBezTo>
                  <a:cubicBezTo>
                    <a:pt x="13855" y="0"/>
                    <a:pt x="0" y="13855"/>
                    <a:pt x="0" y="34638"/>
                  </a:cubicBezTo>
                  <a:lnTo>
                    <a:pt x="0" y="34638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0A6FF8B-BC8A-4903-991A-A5647CCCDA74}"/>
                </a:ext>
              </a:extLst>
            </p:cNvPr>
            <p:cNvSpPr/>
            <p:nvPr/>
          </p:nvSpPr>
          <p:spPr>
            <a:xfrm>
              <a:off x="584253" y="2508922"/>
              <a:ext cx="484927" cy="353304"/>
            </a:xfrm>
            <a:custGeom>
              <a:avLst/>
              <a:gdLst>
                <a:gd name="connsiteX0" fmla="*/ 0 w 484927"/>
                <a:gd name="connsiteY0" fmla="*/ 3464 h 353304"/>
                <a:gd name="connsiteX1" fmla="*/ 0 w 484927"/>
                <a:gd name="connsiteY1" fmla="*/ 349841 h 353304"/>
                <a:gd name="connsiteX2" fmla="*/ 3464 w 484927"/>
                <a:gd name="connsiteY2" fmla="*/ 353304 h 353304"/>
                <a:gd name="connsiteX3" fmla="*/ 481464 w 484927"/>
                <a:gd name="connsiteY3" fmla="*/ 353304 h 353304"/>
                <a:gd name="connsiteX4" fmla="*/ 484928 w 484927"/>
                <a:gd name="connsiteY4" fmla="*/ 349841 h 353304"/>
                <a:gd name="connsiteX5" fmla="*/ 484928 w 484927"/>
                <a:gd name="connsiteY5" fmla="*/ 3464 h 353304"/>
                <a:gd name="connsiteX6" fmla="*/ 481464 w 484927"/>
                <a:gd name="connsiteY6" fmla="*/ 0 h 353304"/>
                <a:gd name="connsiteX7" fmla="*/ 0 w 484927"/>
                <a:gd name="connsiteY7" fmla="*/ 3464 h 353304"/>
                <a:gd name="connsiteX8" fmla="*/ 0 w 484927"/>
                <a:gd name="connsiteY8" fmla="*/ 3464 h 353304"/>
                <a:gd name="connsiteX9" fmla="*/ 0 w 484927"/>
                <a:gd name="connsiteY9" fmla="*/ 3464 h 353304"/>
                <a:gd name="connsiteX10" fmla="*/ 20783 w 484927"/>
                <a:gd name="connsiteY10" fmla="*/ 24246 h 353304"/>
                <a:gd name="connsiteX11" fmla="*/ 460682 w 484927"/>
                <a:gd name="connsiteY11" fmla="*/ 24246 h 353304"/>
                <a:gd name="connsiteX12" fmla="*/ 460682 w 484927"/>
                <a:gd name="connsiteY12" fmla="*/ 332522 h 353304"/>
                <a:gd name="connsiteX13" fmla="*/ 20783 w 484927"/>
                <a:gd name="connsiteY13" fmla="*/ 332522 h 353304"/>
                <a:gd name="connsiteX14" fmla="*/ 20783 w 484927"/>
                <a:gd name="connsiteY14" fmla="*/ 24246 h 35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4927" h="353304">
                  <a:moveTo>
                    <a:pt x="0" y="3464"/>
                  </a:moveTo>
                  <a:lnTo>
                    <a:pt x="0" y="349841"/>
                  </a:lnTo>
                  <a:cubicBezTo>
                    <a:pt x="0" y="349841"/>
                    <a:pt x="0" y="353304"/>
                    <a:pt x="3464" y="353304"/>
                  </a:cubicBezTo>
                  <a:lnTo>
                    <a:pt x="481464" y="353304"/>
                  </a:lnTo>
                  <a:cubicBezTo>
                    <a:pt x="481464" y="353304"/>
                    <a:pt x="484928" y="353304"/>
                    <a:pt x="484928" y="349841"/>
                  </a:cubicBezTo>
                  <a:lnTo>
                    <a:pt x="484928" y="3464"/>
                  </a:lnTo>
                  <a:cubicBezTo>
                    <a:pt x="484928" y="3464"/>
                    <a:pt x="484928" y="0"/>
                    <a:pt x="481464" y="0"/>
                  </a:cubicBezTo>
                  <a:lnTo>
                    <a:pt x="0" y="3464"/>
                  </a:lnTo>
                  <a:cubicBezTo>
                    <a:pt x="0" y="0"/>
                    <a:pt x="0" y="3464"/>
                    <a:pt x="0" y="3464"/>
                  </a:cubicBezTo>
                  <a:lnTo>
                    <a:pt x="0" y="3464"/>
                  </a:lnTo>
                  <a:close/>
                  <a:moveTo>
                    <a:pt x="20783" y="24246"/>
                  </a:moveTo>
                  <a:lnTo>
                    <a:pt x="460682" y="24246"/>
                  </a:lnTo>
                  <a:lnTo>
                    <a:pt x="460682" y="332522"/>
                  </a:lnTo>
                  <a:lnTo>
                    <a:pt x="20783" y="332522"/>
                  </a:lnTo>
                  <a:lnTo>
                    <a:pt x="20783" y="24246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88" name="箭头: 右 87">
            <a:extLst>
              <a:ext uri="{FF2B5EF4-FFF2-40B4-BE49-F238E27FC236}">
                <a16:creationId xmlns:a16="http://schemas.microsoft.com/office/drawing/2014/main" id="{1462A089-4237-4B62-B19A-E8B9AECA3DDE}"/>
              </a:ext>
            </a:extLst>
          </p:cNvPr>
          <p:cNvSpPr/>
          <p:nvPr/>
        </p:nvSpPr>
        <p:spPr>
          <a:xfrm>
            <a:off x="1756664" y="2719878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箭头: 右 93">
            <a:extLst>
              <a:ext uri="{FF2B5EF4-FFF2-40B4-BE49-F238E27FC236}">
                <a16:creationId xmlns:a16="http://schemas.microsoft.com/office/drawing/2014/main" id="{70334BA0-5DA6-4DB8-B148-A7CADE6308E9}"/>
              </a:ext>
            </a:extLst>
          </p:cNvPr>
          <p:cNvSpPr/>
          <p:nvPr/>
        </p:nvSpPr>
        <p:spPr>
          <a:xfrm>
            <a:off x="9713024" y="2719878"/>
            <a:ext cx="671513" cy="293341"/>
          </a:xfrm>
          <a:prstGeom prst="rightArrow">
            <a:avLst/>
          </a:prstGeom>
          <a:noFill/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920400A-39B8-4E3A-BA3C-7023F3E54AE2}"/>
              </a:ext>
            </a:extLst>
          </p:cNvPr>
          <p:cNvSpPr txBox="1"/>
          <p:nvPr/>
        </p:nvSpPr>
        <p:spPr>
          <a:xfrm>
            <a:off x="4529065" y="4747759"/>
            <a:ext cx="3133871" cy="37959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825500" hangingPunct="0"/>
            <a:r>
              <a:rPr lang="zh-CN" altLang="en-US" dirty="0">
                <a:effectLst/>
                <a:latin typeface="+mj-ea"/>
                <a:ea typeface="+mj-ea"/>
                <a:cs typeface="Helvetica Neue Medium"/>
                <a:sym typeface="Helvetica Neue Medium"/>
              </a:rPr>
              <a:t>传统</a:t>
            </a:r>
            <a:r>
              <a:rPr lang="en-US" altLang="zh-CN" dirty="0">
                <a:effectLst/>
                <a:latin typeface="+mj-ea"/>
                <a:ea typeface="+mj-ea"/>
                <a:cs typeface="Helvetica Neue Medium"/>
                <a:sym typeface="Helvetica Neue Medium"/>
              </a:rPr>
              <a:t>OCR</a:t>
            </a:r>
            <a:r>
              <a:rPr lang="zh-CN" altLang="en-US" dirty="0">
                <a:effectLst/>
                <a:latin typeface="+mj-ea"/>
                <a:ea typeface="+mj-ea"/>
                <a:cs typeface="Helvetica Neue Medium"/>
                <a:sym typeface="Helvetica Neue Medium"/>
              </a:rPr>
              <a:t>：基于规则进行识别</a:t>
            </a:r>
            <a:endParaRPr kumimoji="0" lang="zh-CN" altLang="en-US" i="0" u="none" strike="noStrike" cap="none" spc="0" normalizeH="0" baseline="0" dirty="0">
              <a:ln>
                <a:noFill/>
              </a:ln>
              <a:effectLst/>
              <a:uFillTx/>
              <a:latin typeface="+mj-ea"/>
              <a:ea typeface="+mj-ea"/>
              <a:cs typeface="Helvetica Neue Medium"/>
              <a:sym typeface="Helvetica Neue Medium"/>
            </a:endParaRP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44B6B884-2BC5-41E7-B69D-F9F1A362338F}"/>
              </a:ext>
            </a:extLst>
          </p:cNvPr>
          <p:cNvSpPr txBox="1"/>
          <p:nvPr/>
        </p:nvSpPr>
        <p:spPr>
          <a:xfrm>
            <a:off x="2625506" y="5726272"/>
            <a:ext cx="2154436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处理步骤依赖规则效率</a:t>
            </a:r>
            <a:endParaRPr kumimoji="0" lang="zh-CN" altLang="en-US" sz="1600" b="1" i="0" u="none" strike="noStrike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111" name="文本框 110">
            <a:extLst>
              <a:ext uri="{FF2B5EF4-FFF2-40B4-BE49-F238E27FC236}">
                <a16:creationId xmlns:a16="http://schemas.microsoft.com/office/drawing/2014/main" id="{8BC97469-1FBF-474F-B511-F236EF2EDF98}"/>
              </a:ext>
            </a:extLst>
          </p:cNvPr>
          <p:cNvSpPr txBox="1"/>
          <p:nvPr/>
        </p:nvSpPr>
        <p:spPr>
          <a:xfrm>
            <a:off x="5220756" y="5726272"/>
            <a:ext cx="1744068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步骤相互紧密耦合</a:t>
            </a:r>
            <a:endParaRPr kumimoji="0" lang="zh-CN" altLang="en-US" sz="1600" b="1" i="0" u="none" strike="noStrike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E354E33B-F726-47B3-AC52-110C6B1D3A4B}"/>
              </a:ext>
            </a:extLst>
          </p:cNvPr>
          <p:cNvSpPr txBox="1"/>
          <p:nvPr/>
        </p:nvSpPr>
        <p:spPr>
          <a:xfrm>
            <a:off x="7422060" y="5726272"/>
            <a:ext cx="1744068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最终效果影响较大</a:t>
            </a:r>
            <a:endParaRPr kumimoji="0" lang="zh-CN" altLang="en-US" sz="1600" b="1" i="0" u="none" strike="noStrike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D039E5F0-386E-4891-9D94-B61B2CAF84B2}"/>
              </a:ext>
            </a:extLst>
          </p:cNvPr>
          <p:cNvSpPr/>
          <p:nvPr/>
        </p:nvSpPr>
        <p:spPr>
          <a:xfrm>
            <a:off x="3248618" y="1854651"/>
            <a:ext cx="390524" cy="39052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C971498D-7FA6-4443-BCB4-9199395090F8}"/>
              </a:ext>
            </a:extLst>
          </p:cNvPr>
          <p:cNvGrpSpPr/>
          <p:nvPr/>
        </p:nvGrpSpPr>
        <p:grpSpPr>
          <a:xfrm>
            <a:off x="3339417" y="1958882"/>
            <a:ext cx="208926" cy="182062"/>
            <a:chOff x="3322219" y="1943895"/>
            <a:chExt cx="243322" cy="212036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6307F201-50D4-42B9-A73F-21606A5A925B}"/>
                </a:ext>
              </a:extLst>
            </p:cNvPr>
            <p:cNvGrpSpPr/>
            <p:nvPr/>
          </p:nvGrpSpPr>
          <p:grpSpPr>
            <a:xfrm>
              <a:off x="3322219" y="1943895"/>
              <a:ext cx="243322" cy="212036"/>
              <a:chOff x="3325942" y="2018215"/>
              <a:chExt cx="222122" cy="193563"/>
            </a:xfrm>
            <a:solidFill>
              <a:srgbClr val="F9F9FC"/>
            </a:solidFill>
          </p:grpSpPr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12545363-5DEA-4347-B1CD-9421B034786D}"/>
                  </a:ext>
                </a:extLst>
              </p:cNvPr>
              <p:cNvSpPr/>
              <p:nvPr/>
            </p:nvSpPr>
            <p:spPr>
              <a:xfrm>
                <a:off x="3325942" y="2018215"/>
                <a:ext cx="222122" cy="193563"/>
              </a:xfrm>
              <a:custGeom>
                <a:avLst/>
                <a:gdLst>
                  <a:gd name="connsiteX0" fmla="*/ 193563 w 222122"/>
                  <a:gd name="connsiteY0" fmla="*/ 193563 h 193563"/>
                  <a:gd name="connsiteX1" fmla="*/ 28559 w 222122"/>
                  <a:gd name="connsiteY1" fmla="*/ 193563 h 193563"/>
                  <a:gd name="connsiteX2" fmla="*/ 0 w 222122"/>
                  <a:gd name="connsiteY2" fmla="*/ 163418 h 193563"/>
                  <a:gd name="connsiteX3" fmla="*/ 0 w 222122"/>
                  <a:gd name="connsiteY3" fmla="*/ 30145 h 193563"/>
                  <a:gd name="connsiteX4" fmla="*/ 28559 w 222122"/>
                  <a:gd name="connsiteY4" fmla="*/ 0 h 193563"/>
                  <a:gd name="connsiteX5" fmla="*/ 193563 w 222122"/>
                  <a:gd name="connsiteY5" fmla="*/ 0 h 193563"/>
                  <a:gd name="connsiteX6" fmla="*/ 222122 w 222122"/>
                  <a:gd name="connsiteY6" fmla="*/ 30145 h 193563"/>
                  <a:gd name="connsiteX7" fmla="*/ 222122 w 222122"/>
                  <a:gd name="connsiteY7" fmla="*/ 165005 h 193563"/>
                  <a:gd name="connsiteX8" fmla="*/ 193563 w 222122"/>
                  <a:gd name="connsiteY8" fmla="*/ 193563 h 193563"/>
                  <a:gd name="connsiteX9" fmla="*/ 193563 w 222122"/>
                  <a:gd name="connsiteY9" fmla="*/ 193563 h 193563"/>
                  <a:gd name="connsiteX10" fmla="*/ 28559 w 222122"/>
                  <a:gd name="connsiteY10" fmla="*/ 7933 h 193563"/>
                  <a:gd name="connsiteX11" fmla="*/ 7933 w 222122"/>
                  <a:gd name="connsiteY11" fmla="*/ 28559 h 193563"/>
                  <a:gd name="connsiteX12" fmla="*/ 7933 w 222122"/>
                  <a:gd name="connsiteY12" fmla="*/ 163418 h 193563"/>
                  <a:gd name="connsiteX13" fmla="*/ 28559 w 222122"/>
                  <a:gd name="connsiteY13" fmla="*/ 184044 h 193563"/>
                  <a:gd name="connsiteX14" fmla="*/ 193563 w 222122"/>
                  <a:gd name="connsiteY14" fmla="*/ 184044 h 193563"/>
                  <a:gd name="connsiteX15" fmla="*/ 214189 w 222122"/>
                  <a:gd name="connsiteY15" fmla="*/ 163418 h 193563"/>
                  <a:gd name="connsiteX16" fmla="*/ 214189 w 222122"/>
                  <a:gd name="connsiteY16" fmla="*/ 30145 h 193563"/>
                  <a:gd name="connsiteX17" fmla="*/ 193563 w 222122"/>
                  <a:gd name="connsiteY17" fmla="*/ 9520 h 193563"/>
                  <a:gd name="connsiteX18" fmla="*/ 28559 w 222122"/>
                  <a:gd name="connsiteY18" fmla="*/ 9520 h 193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122" h="193563">
                    <a:moveTo>
                      <a:pt x="193563" y="193563"/>
                    </a:moveTo>
                    <a:lnTo>
                      <a:pt x="28559" y="193563"/>
                    </a:lnTo>
                    <a:cubicBezTo>
                      <a:pt x="12693" y="193563"/>
                      <a:pt x="0" y="180871"/>
                      <a:pt x="0" y="163418"/>
                    </a:cubicBezTo>
                    <a:lnTo>
                      <a:pt x="0" y="30145"/>
                    </a:lnTo>
                    <a:cubicBezTo>
                      <a:pt x="0" y="12693"/>
                      <a:pt x="12693" y="0"/>
                      <a:pt x="28559" y="0"/>
                    </a:cubicBezTo>
                    <a:lnTo>
                      <a:pt x="193563" y="0"/>
                    </a:lnTo>
                    <a:cubicBezTo>
                      <a:pt x="209429" y="0"/>
                      <a:pt x="222122" y="12693"/>
                      <a:pt x="222122" y="30145"/>
                    </a:cubicBezTo>
                    <a:lnTo>
                      <a:pt x="222122" y="165005"/>
                    </a:lnTo>
                    <a:cubicBezTo>
                      <a:pt x="220535" y="180871"/>
                      <a:pt x="207843" y="193563"/>
                      <a:pt x="193563" y="193563"/>
                    </a:cubicBezTo>
                    <a:lnTo>
                      <a:pt x="193563" y="193563"/>
                    </a:lnTo>
                    <a:close/>
                    <a:moveTo>
                      <a:pt x="28559" y="7933"/>
                    </a:moveTo>
                    <a:cubicBezTo>
                      <a:pt x="17452" y="7933"/>
                      <a:pt x="7933" y="17452"/>
                      <a:pt x="7933" y="28559"/>
                    </a:cubicBezTo>
                    <a:lnTo>
                      <a:pt x="7933" y="163418"/>
                    </a:lnTo>
                    <a:cubicBezTo>
                      <a:pt x="7933" y="174524"/>
                      <a:pt x="17452" y="184044"/>
                      <a:pt x="28559" y="184044"/>
                    </a:cubicBezTo>
                    <a:lnTo>
                      <a:pt x="193563" y="184044"/>
                    </a:lnTo>
                    <a:cubicBezTo>
                      <a:pt x="204670" y="184044"/>
                      <a:pt x="214189" y="174524"/>
                      <a:pt x="214189" y="163418"/>
                    </a:cubicBezTo>
                    <a:lnTo>
                      <a:pt x="214189" y="30145"/>
                    </a:lnTo>
                    <a:cubicBezTo>
                      <a:pt x="214189" y="19039"/>
                      <a:pt x="204670" y="9520"/>
                      <a:pt x="193563" y="9520"/>
                    </a:cubicBezTo>
                    <a:lnTo>
                      <a:pt x="28559" y="9520"/>
                    </a:lnTo>
                    <a:close/>
                  </a:path>
                </a:pathLst>
              </a:custGeom>
              <a:solidFill>
                <a:schemeClr val="bg1"/>
              </a:solidFill>
              <a:ln w="15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2A7B1433-186A-41AE-A215-1DEBC9FABE5E}"/>
                  </a:ext>
                </a:extLst>
              </p:cNvPr>
              <p:cNvSpPr/>
              <p:nvPr/>
            </p:nvSpPr>
            <p:spPr>
              <a:xfrm>
                <a:off x="3329511" y="2130862"/>
                <a:ext cx="115027" cy="63463"/>
              </a:xfrm>
              <a:custGeom>
                <a:avLst/>
                <a:gdLst>
                  <a:gd name="connsiteX0" fmla="*/ 4363 w 115027"/>
                  <a:gd name="connsiteY0" fmla="*/ 63463 h 63463"/>
                  <a:gd name="connsiteX1" fmla="*/ 1190 w 115027"/>
                  <a:gd name="connsiteY1" fmla="*/ 61877 h 63463"/>
                  <a:gd name="connsiteX2" fmla="*/ 1190 w 115027"/>
                  <a:gd name="connsiteY2" fmla="*/ 55530 h 63463"/>
                  <a:gd name="connsiteX3" fmla="*/ 48788 w 115027"/>
                  <a:gd name="connsiteY3" fmla="*/ 7933 h 63463"/>
                  <a:gd name="connsiteX4" fmla="*/ 67827 w 115027"/>
                  <a:gd name="connsiteY4" fmla="*/ 0 h 63463"/>
                  <a:gd name="connsiteX5" fmla="*/ 88452 w 115027"/>
                  <a:gd name="connsiteY5" fmla="*/ 7933 h 63463"/>
                  <a:gd name="connsiteX6" fmla="*/ 113838 w 115027"/>
                  <a:gd name="connsiteY6" fmla="*/ 33318 h 63463"/>
                  <a:gd name="connsiteX7" fmla="*/ 113838 w 115027"/>
                  <a:gd name="connsiteY7" fmla="*/ 39665 h 63463"/>
                  <a:gd name="connsiteX8" fmla="*/ 107491 w 115027"/>
                  <a:gd name="connsiteY8" fmla="*/ 39665 h 63463"/>
                  <a:gd name="connsiteX9" fmla="*/ 82106 w 115027"/>
                  <a:gd name="connsiteY9" fmla="*/ 14279 h 63463"/>
                  <a:gd name="connsiteX10" fmla="*/ 67827 w 115027"/>
                  <a:gd name="connsiteY10" fmla="*/ 9519 h 63463"/>
                  <a:gd name="connsiteX11" fmla="*/ 53547 w 115027"/>
                  <a:gd name="connsiteY11" fmla="*/ 14279 h 63463"/>
                  <a:gd name="connsiteX12" fmla="*/ 5950 w 115027"/>
                  <a:gd name="connsiteY12" fmla="*/ 61877 h 63463"/>
                  <a:gd name="connsiteX13" fmla="*/ 4363 w 115027"/>
                  <a:gd name="connsiteY13" fmla="*/ 63463 h 63463"/>
                  <a:gd name="connsiteX14" fmla="*/ 4363 w 115027"/>
                  <a:gd name="connsiteY14" fmla="*/ 63463 h 63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5027" h="63463">
                    <a:moveTo>
                      <a:pt x="4363" y="63463"/>
                    </a:moveTo>
                    <a:cubicBezTo>
                      <a:pt x="2777" y="63463"/>
                      <a:pt x="2777" y="63463"/>
                      <a:pt x="1190" y="61877"/>
                    </a:cubicBezTo>
                    <a:cubicBezTo>
                      <a:pt x="-397" y="60290"/>
                      <a:pt x="-397" y="57117"/>
                      <a:pt x="1190" y="55530"/>
                    </a:cubicBezTo>
                    <a:lnTo>
                      <a:pt x="48788" y="7933"/>
                    </a:lnTo>
                    <a:cubicBezTo>
                      <a:pt x="53547" y="3173"/>
                      <a:pt x="59894" y="0"/>
                      <a:pt x="67827" y="0"/>
                    </a:cubicBezTo>
                    <a:cubicBezTo>
                      <a:pt x="75759" y="0"/>
                      <a:pt x="82106" y="3173"/>
                      <a:pt x="88452" y="7933"/>
                    </a:cubicBezTo>
                    <a:lnTo>
                      <a:pt x="113838" y="33318"/>
                    </a:lnTo>
                    <a:cubicBezTo>
                      <a:pt x="115424" y="34905"/>
                      <a:pt x="115424" y="38078"/>
                      <a:pt x="113838" y="39665"/>
                    </a:cubicBezTo>
                    <a:cubicBezTo>
                      <a:pt x="112251" y="41251"/>
                      <a:pt x="109078" y="41251"/>
                      <a:pt x="107491" y="39665"/>
                    </a:cubicBezTo>
                    <a:lnTo>
                      <a:pt x="82106" y="14279"/>
                    </a:lnTo>
                    <a:cubicBezTo>
                      <a:pt x="78933" y="11106"/>
                      <a:pt x="72586" y="9519"/>
                      <a:pt x="67827" y="9519"/>
                    </a:cubicBezTo>
                    <a:cubicBezTo>
                      <a:pt x="63067" y="9519"/>
                      <a:pt x="56720" y="11106"/>
                      <a:pt x="53547" y="14279"/>
                    </a:cubicBezTo>
                    <a:lnTo>
                      <a:pt x="5950" y="61877"/>
                    </a:lnTo>
                    <a:cubicBezTo>
                      <a:pt x="5950" y="61877"/>
                      <a:pt x="4363" y="63463"/>
                      <a:pt x="4363" y="63463"/>
                    </a:cubicBezTo>
                    <a:lnTo>
                      <a:pt x="4363" y="63463"/>
                    </a:lnTo>
                    <a:close/>
                  </a:path>
                </a:pathLst>
              </a:custGeom>
              <a:solidFill>
                <a:schemeClr val="bg1"/>
              </a:solidFill>
              <a:ln w="15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641946DF-EC57-42EB-8C5B-FE4C6EF604F6}"/>
                  </a:ext>
                </a:extLst>
              </p:cNvPr>
              <p:cNvSpPr/>
              <p:nvPr/>
            </p:nvSpPr>
            <p:spPr>
              <a:xfrm>
                <a:off x="3419947" y="2086438"/>
                <a:ext cx="126133" cy="66636"/>
              </a:xfrm>
              <a:custGeom>
                <a:avLst/>
                <a:gdLst>
                  <a:gd name="connsiteX0" fmla="*/ 4363 w 126133"/>
                  <a:gd name="connsiteY0" fmla="*/ 66637 h 66636"/>
                  <a:gd name="connsiteX1" fmla="*/ 1190 w 126133"/>
                  <a:gd name="connsiteY1" fmla="*/ 66637 h 66636"/>
                  <a:gd name="connsiteX2" fmla="*/ 1190 w 126133"/>
                  <a:gd name="connsiteY2" fmla="*/ 60290 h 66636"/>
                  <a:gd name="connsiteX3" fmla="*/ 51961 w 126133"/>
                  <a:gd name="connsiteY3" fmla="*/ 9519 h 66636"/>
                  <a:gd name="connsiteX4" fmla="*/ 74173 w 126133"/>
                  <a:gd name="connsiteY4" fmla="*/ 0 h 66636"/>
                  <a:gd name="connsiteX5" fmla="*/ 96385 w 126133"/>
                  <a:gd name="connsiteY5" fmla="*/ 9519 h 66636"/>
                  <a:gd name="connsiteX6" fmla="*/ 124944 w 126133"/>
                  <a:gd name="connsiteY6" fmla="*/ 38078 h 66636"/>
                  <a:gd name="connsiteX7" fmla="*/ 124944 w 126133"/>
                  <a:gd name="connsiteY7" fmla="*/ 44424 h 66636"/>
                  <a:gd name="connsiteX8" fmla="*/ 118597 w 126133"/>
                  <a:gd name="connsiteY8" fmla="*/ 44424 h 66636"/>
                  <a:gd name="connsiteX9" fmla="*/ 90039 w 126133"/>
                  <a:gd name="connsiteY9" fmla="*/ 15866 h 66636"/>
                  <a:gd name="connsiteX10" fmla="*/ 74173 w 126133"/>
                  <a:gd name="connsiteY10" fmla="*/ 9519 h 66636"/>
                  <a:gd name="connsiteX11" fmla="*/ 58307 w 126133"/>
                  <a:gd name="connsiteY11" fmla="*/ 15866 h 66636"/>
                  <a:gd name="connsiteX12" fmla="*/ 5950 w 126133"/>
                  <a:gd name="connsiteY12" fmla="*/ 66637 h 66636"/>
                  <a:gd name="connsiteX13" fmla="*/ 4363 w 126133"/>
                  <a:gd name="connsiteY13" fmla="*/ 66637 h 66636"/>
                  <a:gd name="connsiteX14" fmla="*/ 4363 w 126133"/>
                  <a:gd name="connsiteY14" fmla="*/ 66637 h 66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6133" h="66636">
                    <a:moveTo>
                      <a:pt x="4363" y="66637"/>
                    </a:moveTo>
                    <a:cubicBezTo>
                      <a:pt x="2777" y="66637"/>
                      <a:pt x="1190" y="66637"/>
                      <a:pt x="1190" y="66637"/>
                    </a:cubicBezTo>
                    <a:cubicBezTo>
                      <a:pt x="-397" y="65050"/>
                      <a:pt x="-397" y="61877"/>
                      <a:pt x="1190" y="60290"/>
                    </a:cubicBezTo>
                    <a:lnTo>
                      <a:pt x="51961" y="9519"/>
                    </a:lnTo>
                    <a:cubicBezTo>
                      <a:pt x="58307" y="3173"/>
                      <a:pt x="64653" y="0"/>
                      <a:pt x="74173" y="0"/>
                    </a:cubicBezTo>
                    <a:cubicBezTo>
                      <a:pt x="82106" y="0"/>
                      <a:pt x="90039" y="3173"/>
                      <a:pt x="96385" y="9519"/>
                    </a:cubicBezTo>
                    <a:lnTo>
                      <a:pt x="124944" y="38078"/>
                    </a:lnTo>
                    <a:cubicBezTo>
                      <a:pt x="126530" y="39665"/>
                      <a:pt x="126530" y="42838"/>
                      <a:pt x="124944" y="44424"/>
                    </a:cubicBezTo>
                    <a:cubicBezTo>
                      <a:pt x="123357" y="46011"/>
                      <a:pt x="120184" y="46011"/>
                      <a:pt x="118597" y="44424"/>
                    </a:cubicBezTo>
                    <a:lnTo>
                      <a:pt x="90039" y="15866"/>
                    </a:lnTo>
                    <a:cubicBezTo>
                      <a:pt x="85279" y="11106"/>
                      <a:pt x="80519" y="9519"/>
                      <a:pt x="74173" y="9519"/>
                    </a:cubicBezTo>
                    <a:cubicBezTo>
                      <a:pt x="67827" y="9519"/>
                      <a:pt x="63067" y="11106"/>
                      <a:pt x="58307" y="15866"/>
                    </a:cubicBezTo>
                    <a:lnTo>
                      <a:pt x="5950" y="66637"/>
                    </a:lnTo>
                    <a:cubicBezTo>
                      <a:pt x="5950" y="66637"/>
                      <a:pt x="4363" y="66637"/>
                      <a:pt x="4363" y="66637"/>
                    </a:cubicBezTo>
                    <a:lnTo>
                      <a:pt x="4363" y="66637"/>
                    </a:lnTo>
                    <a:close/>
                  </a:path>
                </a:pathLst>
              </a:custGeom>
              <a:solidFill>
                <a:schemeClr val="bg1"/>
              </a:solidFill>
              <a:ln w="15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EC1A843-1A29-4D01-978D-0717036EEDFB}"/>
                </a:ext>
              </a:extLst>
            </p:cNvPr>
            <p:cNvSpPr/>
            <p:nvPr/>
          </p:nvSpPr>
          <p:spPr>
            <a:xfrm>
              <a:off x="3356979" y="1978654"/>
              <a:ext cx="62568" cy="62567"/>
            </a:xfrm>
            <a:custGeom>
              <a:avLst/>
              <a:gdLst>
                <a:gd name="connsiteX0" fmla="*/ 0 w 57117"/>
                <a:gd name="connsiteY0" fmla="*/ 28559 h 57116"/>
                <a:gd name="connsiteX1" fmla="*/ 28559 w 57117"/>
                <a:gd name="connsiteY1" fmla="*/ 57117 h 57116"/>
                <a:gd name="connsiteX2" fmla="*/ 57117 w 57117"/>
                <a:gd name="connsiteY2" fmla="*/ 28559 h 57116"/>
                <a:gd name="connsiteX3" fmla="*/ 28559 w 57117"/>
                <a:gd name="connsiteY3" fmla="*/ 0 h 57116"/>
                <a:gd name="connsiteX4" fmla="*/ 0 w 57117"/>
                <a:gd name="connsiteY4" fmla="*/ 28559 h 57116"/>
                <a:gd name="connsiteX5" fmla="*/ 0 w 57117"/>
                <a:gd name="connsiteY5" fmla="*/ 28559 h 5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17" h="57116">
                  <a:moveTo>
                    <a:pt x="0" y="28559"/>
                  </a:moveTo>
                  <a:cubicBezTo>
                    <a:pt x="0" y="44424"/>
                    <a:pt x="12693" y="57117"/>
                    <a:pt x="28559" y="57117"/>
                  </a:cubicBezTo>
                  <a:cubicBezTo>
                    <a:pt x="44424" y="57117"/>
                    <a:pt x="57117" y="44424"/>
                    <a:pt x="57117" y="28559"/>
                  </a:cubicBezTo>
                  <a:cubicBezTo>
                    <a:pt x="57117" y="12693"/>
                    <a:pt x="44424" y="0"/>
                    <a:pt x="28559" y="0"/>
                  </a:cubicBezTo>
                  <a:cubicBezTo>
                    <a:pt x="12693" y="0"/>
                    <a:pt x="0" y="12693"/>
                    <a:pt x="0" y="28559"/>
                  </a:cubicBezTo>
                  <a:lnTo>
                    <a:pt x="0" y="28559"/>
                  </a:lnTo>
                  <a:close/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</p:grpSp>
      <p:sp>
        <p:nvSpPr>
          <p:cNvPr id="70" name="文本框 69">
            <a:extLst>
              <a:ext uri="{FF2B5EF4-FFF2-40B4-BE49-F238E27FC236}">
                <a16:creationId xmlns:a16="http://schemas.microsoft.com/office/drawing/2014/main" id="{A7016AA6-0E11-4CAF-8AC9-9B4D605B36C2}"/>
              </a:ext>
            </a:extLst>
          </p:cNvPr>
          <p:cNvSpPr txBox="1"/>
          <p:nvPr/>
        </p:nvSpPr>
        <p:spPr>
          <a:xfrm>
            <a:off x="3470254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1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5DDE51DE-DFFE-4A74-B43B-C46B6B01C2D1}"/>
              </a:ext>
            </a:extLst>
          </p:cNvPr>
          <p:cNvSpPr txBox="1"/>
          <p:nvPr/>
        </p:nvSpPr>
        <p:spPr>
          <a:xfrm>
            <a:off x="5863530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2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3950C3E1-BFD6-483F-A59B-E796F23ED160}"/>
              </a:ext>
            </a:extLst>
          </p:cNvPr>
          <p:cNvSpPr txBox="1"/>
          <p:nvPr/>
        </p:nvSpPr>
        <p:spPr>
          <a:xfrm>
            <a:off x="8061624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3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561434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: 圆角 75">
            <a:extLst>
              <a:ext uri="{FF2B5EF4-FFF2-40B4-BE49-F238E27FC236}">
                <a16:creationId xmlns:a16="http://schemas.microsoft.com/office/drawing/2014/main" id="{7D3380B8-EC45-4320-A76F-50E67C9BB426}"/>
              </a:ext>
            </a:extLst>
          </p:cNvPr>
          <p:cNvSpPr/>
          <p:nvPr/>
        </p:nvSpPr>
        <p:spPr>
          <a:xfrm>
            <a:off x="8761443" y="2070109"/>
            <a:ext cx="3573432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006F7823-CB96-4174-8D74-66EE9FF00BD9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食品-光明乳业-</a:t>
            </a:r>
            <a:r>
              <a:rPr lang="zh-CN" altLang="zh-CN" sz="3000" b="1" dirty="0">
                <a:solidFill>
                  <a:schemeClr val="tx1"/>
                </a:solidFill>
              </a:rPr>
              <a:t>外包装字符识别</a:t>
            </a:r>
          </a:p>
        </p:txBody>
      </p:sp>
      <p:pic>
        <p:nvPicPr>
          <p:cNvPr id="13" name="图片 12" descr="图形用户界面, 应用程序&#10;&#10;描述已自动生成">
            <a:extLst>
              <a:ext uri="{FF2B5EF4-FFF2-40B4-BE49-F238E27FC236}">
                <a16:creationId xmlns:a16="http://schemas.microsoft.com/office/drawing/2014/main" id="{C854B827-DEFD-4D12-B88D-135C28874C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208" y="2293874"/>
            <a:ext cx="1303591" cy="2185211"/>
          </a:xfrm>
          <a:prstGeom prst="rect">
            <a:avLst/>
          </a:prstGeom>
        </p:spPr>
      </p:pic>
      <p:pic>
        <p:nvPicPr>
          <p:cNvPr id="15" name="图片 14" descr="手机屏幕的截图&#10;&#10;低可信度描述已自动生成">
            <a:extLst>
              <a:ext uri="{FF2B5EF4-FFF2-40B4-BE49-F238E27FC236}">
                <a16:creationId xmlns:a16="http://schemas.microsoft.com/office/drawing/2014/main" id="{A551EE8B-C3D1-459F-B2D7-85A04895F6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1564" y="2301117"/>
            <a:ext cx="1142957" cy="2187838"/>
          </a:xfrm>
          <a:prstGeom prst="rect">
            <a:avLst/>
          </a:prstGeom>
        </p:spPr>
      </p:pic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2EB21D67-7FF7-48E2-B6FF-9ECC2367C6F3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83EC8D4-FE63-4452-AF06-1AB6C3589637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成像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表面存在反光的现象，成像十分困难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3D4B5DFE-7806-4A98-B5B0-60C8501B6315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BBE65F01-DE45-4FB5-A0CB-2EB1CC0D9623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676A1E8E-599A-4697-B305-AC7E9206CDC7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牛奶包装外表面字符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200101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523C7C81-0820-4AAD-ABCA-8E8A92F11044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4978FC9-698B-47F3-9BE4-68441EE4ED13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9E3516AC-63B7-426C-91B6-7BFF50217345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iconfont-11673-5560736">
              <a:extLst>
                <a:ext uri="{FF2B5EF4-FFF2-40B4-BE49-F238E27FC236}">
                  <a16:creationId xmlns:a16="http://schemas.microsoft.com/office/drawing/2014/main" id="{9593CC01-5A18-4BDF-8283-2E616409193B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CEA71416-921F-41F2-AA04-BD69CF403579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9B5FE98E-9C9E-49FB-9E1E-6A3B6FCD5DE0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21C52F32-BD57-4C28-ADF5-ADA0C73B0276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0099AFE7-544B-4EC3-9CF5-1B58B4850BBA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4CEBAEAE-1913-423E-B5D6-0C5A64E36FB6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FF222417-70A1-4781-A271-5C2AEF0660A0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ROI</a:t>
            </a:r>
            <a:r>
              <a:rPr lang="en-US" altLang="zh-CN" dirty="0"/>
              <a:t> </a:t>
            </a:r>
            <a:r>
              <a:rPr lang="zh-CN" altLang="zh-CN" dirty="0"/>
              <a:t>+</a:t>
            </a:r>
            <a:r>
              <a:rPr lang="en-US" altLang="zh-CN" dirty="0"/>
              <a:t> </a:t>
            </a:r>
            <a:r>
              <a:rPr lang="zh-CN" altLang="zh-CN" dirty="0"/>
              <a:t>OCR</a:t>
            </a:r>
            <a:r>
              <a:rPr lang="en-US" altLang="zh-CN" dirty="0"/>
              <a:t> </a:t>
            </a:r>
            <a:r>
              <a:rPr lang="zh-CN" altLang="zh-CN" dirty="0"/>
              <a:t>识别</a:t>
            </a:r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E76FFECE-1DBF-420D-893A-972BBF98F5CC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verified-list-of-exercises-of-a-gymnast-on-a-clipboard_30818">
            <a:extLst>
              <a:ext uri="{FF2B5EF4-FFF2-40B4-BE49-F238E27FC236}">
                <a16:creationId xmlns:a16="http://schemas.microsoft.com/office/drawing/2014/main" id="{072A34A7-C8C9-49D4-B937-58101ABD4FD9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454CBE43-145D-4963-BE2E-C2733BA69285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63B2B767-EB4D-48C7-9C28-BA445E1FC286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cart_155395">
            <a:extLst>
              <a:ext uri="{FF2B5EF4-FFF2-40B4-BE49-F238E27FC236}">
                <a16:creationId xmlns:a16="http://schemas.microsoft.com/office/drawing/2014/main" id="{8CECC4F4-FF16-44F1-B16C-949B2887747A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3C08B93-85B7-4598-A237-EF9522B54B2D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" t="8560" r="949"/>
          <a:stretch/>
        </p:blipFill>
        <p:spPr>
          <a:xfrm>
            <a:off x="4695714" y="2568064"/>
            <a:ext cx="1657461" cy="826972"/>
          </a:xfrm>
          <a:prstGeom prst="rect">
            <a:avLst/>
          </a:prstGeom>
        </p:spPr>
      </p:pic>
      <p:pic>
        <p:nvPicPr>
          <p:cNvPr id="5" name="图片 4" descr="文本&#10;&#10;描述已自动生成">
            <a:extLst>
              <a:ext uri="{FF2B5EF4-FFF2-40B4-BE49-F238E27FC236}">
                <a16:creationId xmlns:a16="http://schemas.microsoft.com/office/drawing/2014/main" id="{8AE87E8C-959C-464F-BB0B-2884536BC1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650" y="2946400"/>
            <a:ext cx="1412844" cy="1412844"/>
          </a:xfrm>
          <a:prstGeom prst="rect">
            <a:avLst/>
          </a:prstGeom>
        </p:spPr>
      </p:pic>
      <p:pic>
        <p:nvPicPr>
          <p:cNvPr id="7" name="图片 6" descr="文本, 日历&#10;&#10;描述已自动生成">
            <a:extLst>
              <a:ext uri="{FF2B5EF4-FFF2-40B4-BE49-F238E27FC236}">
                <a16:creationId xmlns:a16="http://schemas.microsoft.com/office/drawing/2014/main" id="{0AA39F48-E570-40E4-9099-DCD04319E3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846" y="2948009"/>
            <a:ext cx="1384484" cy="1384484"/>
          </a:xfrm>
          <a:prstGeom prst="rect">
            <a:avLst/>
          </a:prstGeom>
        </p:spPr>
      </p:pic>
      <p:pic>
        <p:nvPicPr>
          <p:cNvPr id="11" name="图片 10" descr="饮料瓶装和上面的商标图案&#10;&#10;描述已自动生成">
            <a:extLst>
              <a:ext uri="{FF2B5EF4-FFF2-40B4-BE49-F238E27FC236}">
                <a16:creationId xmlns:a16="http://schemas.microsoft.com/office/drawing/2014/main" id="{601F1043-6271-49E4-B9EA-E49383BBDA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563" y="3524250"/>
            <a:ext cx="1275494" cy="1275494"/>
          </a:xfrm>
          <a:prstGeom prst="rect">
            <a:avLst/>
          </a:prstGeom>
        </p:spPr>
      </p:pic>
      <p:pic>
        <p:nvPicPr>
          <p:cNvPr id="9" name="图片 8" descr="墙上的海报&#10;&#10;描述已自动生成">
            <a:extLst>
              <a:ext uri="{FF2B5EF4-FFF2-40B4-BE49-F238E27FC236}">
                <a16:creationId xmlns:a16="http://schemas.microsoft.com/office/drawing/2014/main" id="{B49564D9-B42B-4FBD-8C4D-31ADF4481FA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2102" y="3222665"/>
            <a:ext cx="1592548" cy="1592548"/>
          </a:xfrm>
          <a:prstGeom prst="rect">
            <a:avLst/>
          </a:prstGeom>
        </p:spPr>
      </p:pic>
      <p:pic>
        <p:nvPicPr>
          <p:cNvPr id="17" name="图片 16" descr="图标&#10;&#10;低可信度描述已自动生成">
            <a:extLst>
              <a:ext uri="{FF2B5EF4-FFF2-40B4-BE49-F238E27FC236}">
                <a16:creationId xmlns:a16="http://schemas.microsoft.com/office/drawing/2014/main" id="{68342D50-C74B-445E-8D2C-ECB950BA9DD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274" y="3730713"/>
            <a:ext cx="716626" cy="118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7661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文本框 18">
            <a:extLst>
              <a:ext uri="{FF2B5EF4-FFF2-40B4-BE49-F238E27FC236}">
                <a16:creationId xmlns:a16="http://schemas.microsoft.com/office/drawing/2014/main" id="{3A0BEA66-76EC-481E-A192-E7807CB2135F}"/>
              </a:ext>
            </a:extLst>
          </p:cNvPr>
          <p:cNvSpPr txBox="1"/>
          <p:nvPr/>
        </p:nvSpPr>
        <p:spPr>
          <a:xfrm>
            <a:off x="2267214" y="1049704"/>
            <a:ext cx="76575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果冻生产批次检测</a:t>
            </a:r>
          </a:p>
        </p:txBody>
      </p:sp>
      <p:sp>
        <p:nvSpPr>
          <p:cNvPr id="20" name="标题 1">
            <a:extLst>
              <a:ext uri="{FF2B5EF4-FFF2-40B4-BE49-F238E27FC236}">
                <a16:creationId xmlns:a16="http://schemas.microsoft.com/office/drawing/2014/main" id="{68D5DC4E-A4A3-489F-8A14-D4166872E540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食品-思锐-</a:t>
            </a:r>
            <a:r>
              <a:rPr lang="zh-CN" altLang="zh-CN" sz="3000" b="1" dirty="0">
                <a:solidFill>
                  <a:schemeClr val="tx1"/>
                </a:solidFill>
              </a:rPr>
              <a:t>果冻生产批次检测</a:t>
            </a: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912AD138-A65C-4328-84D9-78516B24B19B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4007BF08-ACB2-47D5-B5C7-B0478984FC8E}"/>
              </a:ext>
            </a:extLst>
          </p:cNvPr>
          <p:cNvSpPr/>
          <p:nvPr/>
        </p:nvSpPr>
        <p:spPr>
          <a:xfrm>
            <a:off x="4532036" y="208166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3CD5A198-E157-406C-8AEE-93743963D7C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4" t="40059" r="43110" b="7861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45" name="文本框 44">
            <a:extLst>
              <a:ext uri="{FF2B5EF4-FFF2-40B4-BE49-F238E27FC236}">
                <a16:creationId xmlns:a16="http://schemas.microsoft.com/office/drawing/2014/main" id="{452045E4-6CD6-4BBA-96BB-3BB36D079495}"/>
              </a:ext>
            </a:extLst>
          </p:cNvPr>
          <p:cNvSpPr txBox="1"/>
          <p:nvPr/>
        </p:nvSpPr>
        <p:spPr>
          <a:xfrm>
            <a:off x="330200" y="4192197"/>
            <a:ext cx="4201836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位置变化大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打印位置波动，来料角度不固定，字</a:t>
            </a:r>
            <a:br>
              <a:rPr lang="en-US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符存在畸变</a:t>
            </a:r>
          </a:p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残缺或者不清晰，和背景颜色极为相似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E5727D06-1216-40CD-974E-5EF01AFF0011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BE9820F8-AF67-4092-9852-B4FD627CFE6D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128C9F4-B0BC-4CE6-92B6-39BE17D5FF5A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果冻生产批次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LOT 180720AA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D3893D00-3B27-43DA-BA6A-2B27731AF466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68A212FF-88F2-44AD-B00E-5F7405DD888B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8FA1E0A6-40FA-4250-8A85-027F380B654A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2" name="矩形: 圆角 51">
              <a:extLst>
                <a:ext uri="{FF2B5EF4-FFF2-40B4-BE49-F238E27FC236}">
                  <a16:creationId xmlns:a16="http://schemas.microsoft.com/office/drawing/2014/main" id="{E59B97D3-41D9-465F-8F00-1825A744647C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iconfont-11673-5560736">
              <a:extLst>
                <a:ext uri="{FF2B5EF4-FFF2-40B4-BE49-F238E27FC236}">
                  <a16:creationId xmlns:a16="http://schemas.microsoft.com/office/drawing/2014/main" id="{1DBC43E3-A9D6-4F5A-ACBF-4579064AAD53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9FC858B8-3F48-4C82-BCF7-4F4DFD9F5B26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0F460067-5B8E-4F51-BE27-BF315DAE1E5F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3DDB4A11-F376-4EA4-B1DD-6BE52439342D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cart_155395">
            <a:extLst>
              <a:ext uri="{FF2B5EF4-FFF2-40B4-BE49-F238E27FC236}">
                <a16:creationId xmlns:a16="http://schemas.microsoft.com/office/drawing/2014/main" id="{C8726838-F144-4555-A461-199F0D977FF5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1E82636E-684B-4984-B14D-B0CE87B35CFA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53" b="6153"/>
          <a:stretch/>
        </p:blipFill>
        <p:spPr>
          <a:xfrm flipH="1">
            <a:off x="4695713" y="2568065"/>
            <a:ext cx="3213554" cy="240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736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682610ED-33C4-464D-ABDC-F282428147F4}"/>
              </a:ext>
            </a:extLst>
          </p:cNvPr>
          <p:cNvSpPr/>
          <p:nvPr/>
        </p:nvSpPr>
        <p:spPr>
          <a:xfrm>
            <a:off x="8761443" y="2070109"/>
            <a:ext cx="3573432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AA4E80A7-2659-4EA0-BEEB-37D1F3EC0A5E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4F2368A9-C213-4115-8918-79DDF245CA02}"/>
              </a:ext>
            </a:extLst>
          </p:cNvPr>
          <p:cNvSpPr txBox="1"/>
          <p:nvPr/>
        </p:nvSpPr>
        <p:spPr>
          <a:xfrm>
            <a:off x="330200" y="4192197"/>
            <a:ext cx="3995308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残缺或者不清晰，和背景颜色极为相似</a:t>
            </a:r>
          </a:p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包装外表面字符很多，但要求只识别部分区域的字符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3F384DE1-CADE-4C9C-A693-F7D79D609BA7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2AD90F9F-EE27-41E2-92B2-8FB310A7B633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3FA82125-CD81-413A-97AB-E63409BE06D5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薄盐生抽包装生产批次检测</a:t>
            </a:r>
            <a:endParaRPr lang="en-US" altLang="zh-CN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2020年04月27日 XAV4M1146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75182C13-75CC-40A9-8AFF-540345E38555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29D1A8E9-DAD6-4F83-A038-781306809F62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52" name="矩形: 圆角 51">
              <a:extLst>
                <a:ext uri="{FF2B5EF4-FFF2-40B4-BE49-F238E27FC236}">
                  <a16:creationId xmlns:a16="http://schemas.microsoft.com/office/drawing/2014/main" id="{C8FA909A-A0AF-4048-8712-DD40A1C06199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iconfont-11673-5560736">
              <a:extLst>
                <a:ext uri="{FF2B5EF4-FFF2-40B4-BE49-F238E27FC236}">
                  <a16:creationId xmlns:a16="http://schemas.microsoft.com/office/drawing/2014/main" id="{6B4A1CAB-9C0C-4C6A-BA21-AF72AE0567AA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D88F187A-B064-4CE6-8F42-CDCF692647C3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3CFC0870-5E74-42C3-A313-FD0296EA17E6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2189AF9-F57A-4BDD-A654-9809D1BDCE0D}"/>
              </a:ext>
            </a:extLst>
          </p:cNvPr>
          <p:cNvSpPr txBox="1"/>
          <p:nvPr/>
        </p:nvSpPr>
        <p:spPr>
          <a:xfrm>
            <a:off x="2267214" y="1049704"/>
            <a:ext cx="76575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薄盐生抽包装生产批次检测</a:t>
            </a:r>
          </a:p>
        </p:txBody>
      </p:sp>
      <p:sp>
        <p:nvSpPr>
          <p:cNvPr id="20" name="标题 1">
            <a:extLst>
              <a:ext uri="{FF2B5EF4-FFF2-40B4-BE49-F238E27FC236}">
                <a16:creationId xmlns:a16="http://schemas.microsoft.com/office/drawing/2014/main" id="{903F5127-E6F3-476D-9D13-DC357A02522A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食品-李锦记-</a:t>
            </a:r>
            <a:r>
              <a:rPr lang="zh-CN" altLang="zh-CN" sz="3000" b="1" dirty="0">
                <a:solidFill>
                  <a:schemeClr val="tx1"/>
                </a:solidFill>
              </a:rPr>
              <a:t>薄盐生抽包装生产批次检测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F0B2D0D7-1509-4A31-A08D-69A45E730E50}"/>
              </a:ext>
            </a:extLst>
          </p:cNvPr>
          <p:cNvSpPr txBox="1"/>
          <p:nvPr/>
        </p:nvSpPr>
        <p:spPr>
          <a:xfrm>
            <a:off x="7568196" y="-75301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0920056.html</a:t>
            </a:r>
          </a:p>
        </p:txBody>
      </p:sp>
      <p:pic>
        <p:nvPicPr>
          <p:cNvPr id="3" name="图片 2" descr="瓶子上写着字&#10;&#10;低可信度描述已自动生成">
            <a:extLst>
              <a:ext uri="{FF2B5EF4-FFF2-40B4-BE49-F238E27FC236}">
                <a16:creationId xmlns:a16="http://schemas.microsoft.com/office/drawing/2014/main" id="{4522FE99-B736-4B02-B3F8-67945C67B0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2073" y="2899410"/>
            <a:ext cx="697113" cy="2232942"/>
          </a:xfrm>
          <a:prstGeom prst="rect">
            <a:avLst/>
          </a:prstGeom>
        </p:spPr>
      </p:pic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D10F518D-81D7-4FC0-A8D4-CA6B3270DE30}"/>
              </a:ext>
            </a:extLst>
          </p:cNvPr>
          <p:cNvSpPr/>
          <p:nvPr/>
        </p:nvSpPr>
        <p:spPr>
          <a:xfrm>
            <a:off x="4532036" y="2081667"/>
            <a:ext cx="3996000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92636BFD-4467-47C1-AE5A-112AFE5FCF81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0C3161FA-BA9B-4A55-8B06-71126648E26F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cart_155395">
            <a:extLst>
              <a:ext uri="{FF2B5EF4-FFF2-40B4-BE49-F238E27FC236}">
                <a16:creationId xmlns:a16="http://schemas.microsoft.com/office/drawing/2014/main" id="{2CBBCA51-14EA-4DBB-A443-868BE8720171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B4F68DD7-A7E7-42BA-813A-A744F2FCCA10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" t="7410" r="1850" b="7410"/>
          <a:stretch/>
        </p:blipFill>
        <p:spPr>
          <a:xfrm>
            <a:off x="4695713" y="2568064"/>
            <a:ext cx="3156122" cy="2407796"/>
          </a:xfrm>
          <a:prstGeom prst="rect">
            <a:avLst/>
          </a:prstGeom>
        </p:spPr>
      </p:pic>
      <p:pic>
        <p:nvPicPr>
          <p:cNvPr id="5" name="图片 4" descr="桌子上的绿色瓶子&#10;&#10;描述已自动生成">
            <a:extLst>
              <a:ext uri="{FF2B5EF4-FFF2-40B4-BE49-F238E27FC236}">
                <a16:creationId xmlns:a16="http://schemas.microsoft.com/office/drawing/2014/main" id="{BF85CAC7-349B-47DA-99F7-1B8D7BC8C9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451" y="2099179"/>
            <a:ext cx="1527089" cy="3058629"/>
          </a:xfrm>
          <a:prstGeom prst="rect">
            <a:avLst/>
          </a:prstGeom>
          <a:effectLst>
            <a:outerShdw blurRad="50800" dist="50800" dir="5400000" algn="t" rotWithShape="0">
              <a:prstClr val="black">
                <a:alpha val="5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57489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A921666D-2F1B-439C-BF9A-F3E353CC5839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2E0627E6-DCFF-4B90-A6DD-3E33DFD3A400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E8288BC6-A223-43CC-81F3-3651645C5C79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39CFE129-1F87-4E2B-8689-C415443D4D9D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定位</a:t>
            </a:r>
            <a:r>
              <a:rPr lang="en-US" altLang="zh-CN" dirty="0"/>
              <a:t> </a:t>
            </a:r>
            <a:r>
              <a:rPr lang="zh-CN" altLang="zh-CN" dirty="0"/>
              <a:t>+</a:t>
            </a:r>
            <a:r>
              <a:rPr lang="en-US" altLang="zh-CN" dirty="0"/>
              <a:t> </a:t>
            </a:r>
            <a:r>
              <a:rPr lang="zh-CN" altLang="zh-CN" dirty="0"/>
              <a:t>OCR</a:t>
            </a:r>
            <a:r>
              <a:rPr lang="en-US" altLang="zh-CN" dirty="0"/>
              <a:t> </a:t>
            </a:r>
            <a:r>
              <a:rPr lang="zh-CN" altLang="zh-CN" dirty="0"/>
              <a:t>识别</a:t>
            </a:r>
          </a:p>
        </p:txBody>
      </p: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0880DBBA-3B08-4066-A9E9-F184F529D493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verified-list-of-exercises-of-a-gymnast-on-a-clipboard_30818">
            <a:extLst>
              <a:ext uri="{FF2B5EF4-FFF2-40B4-BE49-F238E27FC236}">
                <a16:creationId xmlns:a16="http://schemas.microsoft.com/office/drawing/2014/main" id="{49640762-8B7B-4B72-9E53-7A61DE9FCA6F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B1A7AB64-8324-4494-97FC-CCEC4F623CAB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103AE263-227E-4FA4-BBEC-B4AE07781B30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cart_155395">
            <a:extLst>
              <a:ext uri="{FF2B5EF4-FFF2-40B4-BE49-F238E27FC236}">
                <a16:creationId xmlns:a16="http://schemas.microsoft.com/office/drawing/2014/main" id="{2271DDA7-8095-48BB-A89C-C3D526281884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91B75A5E-8900-4D43-9759-090466020AE9}"/>
              </a:ext>
            </a:extLst>
          </p:cNvPr>
          <p:cNvSpPr/>
          <p:nvPr/>
        </p:nvSpPr>
        <p:spPr>
          <a:xfrm>
            <a:off x="8761443" y="2070109"/>
            <a:ext cx="3573432" cy="3086578"/>
          </a:xfrm>
          <a:prstGeom prst="roundRect">
            <a:avLst>
              <a:gd name="adj" fmla="val 2531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6D0CBBD-4741-4E47-BAB4-EF10E1C33C93}"/>
              </a:ext>
            </a:extLst>
          </p:cNvPr>
          <p:cNvSpPr txBox="1"/>
          <p:nvPr/>
        </p:nvSpPr>
        <p:spPr>
          <a:xfrm>
            <a:off x="2267214" y="1049704"/>
            <a:ext cx="76575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鞋头编号字符检测</a:t>
            </a: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A20F0236-D40D-4BDE-822E-2DAE759DFD5C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sz="3000" dirty="0">
                <a:solidFill>
                  <a:schemeClr val="tx1"/>
                </a:solidFill>
                <a:latin typeface="+mn-ea"/>
                <a:ea typeface="+mn-ea"/>
              </a:rPr>
              <a:t>快消-发那科-</a:t>
            </a:r>
            <a:r>
              <a:rPr lang="zh-CN" altLang="zh-CN" sz="3000" b="1" dirty="0">
                <a:solidFill>
                  <a:schemeClr val="tx1"/>
                </a:solidFill>
              </a:rPr>
              <a:t>鞋头字符检测</a:t>
            </a:r>
          </a:p>
        </p:txBody>
      </p:sp>
      <p:pic>
        <p:nvPicPr>
          <p:cNvPr id="49" name="图片 48">
            <a:extLst>
              <a:ext uri="{FF2B5EF4-FFF2-40B4-BE49-F238E27FC236}">
                <a16:creationId xmlns:a16="http://schemas.microsoft.com/office/drawing/2014/main" id="{3A70B0A5-486C-403F-93BD-0B8F70CEE915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t="22059" r="830" b="1504"/>
          <a:stretch/>
        </p:blipFill>
        <p:spPr>
          <a:xfrm>
            <a:off x="4695715" y="2568064"/>
            <a:ext cx="2140544" cy="826972"/>
          </a:xfrm>
          <a:prstGeom prst="rect">
            <a:avLst/>
          </a:prstGeom>
        </p:spPr>
      </p:pic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ED512883-FF78-491F-889F-9A41CA2DE535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2" name="图片 51">
            <a:extLst>
              <a:ext uri="{FF2B5EF4-FFF2-40B4-BE49-F238E27FC236}">
                <a16:creationId xmlns:a16="http://schemas.microsoft.com/office/drawing/2014/main" id="{8831E3AD-434B-4AEF-B67A-EB2F10423F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3" r="12813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  <p:sp>
        <p:nvSpPr>
          <p:cNvPr id="53" name="文本框 52">
            <a:extLst>
              <a:ext uri="{FF2B5EF4-FFF2-40B4-BE49-F238E27FC236}">
                <a16:creationId xmlns:a16="http://schemas.microsoft.com/office/drawing/2014/main" id="{4B35920A-E710-479B-888F-4D404D48524D}"/>
              </a:ext>
            </a:extLst>
          </p:cNvPr>
          <p:cNvSpPr txBox="1"/>
          <p:nvPr/>
        </p:nvSpPr>
        <p:spPr>
          <a:xfrm>
            <a:off x="330200" y="4192197"/>
            <a:ext cx="4201836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字符不清晰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字符颜色和背景颜色十分接近，极难看清</a:t>
            </a:r>
          </a:p>
          <a:p>
            <a:r>
              <a:rPr lang="zh-CN" altLang="zh-CN" dirty="0"/>
              <a:t>字符不规则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部分字符雕刻不标准，不规则</a:t>
            </a:r>
          </a:p>
          <a:p>
            <a:r>
              <a:rPr lang="zh-CN" altLang="zh-CN" dirty="0"/>
              <a:t>成像复杂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表面存在反光的现象，成像十分困难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8C1D07BF-1A79-46DF-B74C-3F9C02E120E1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6520D5AA-7809-49B1-A5FE-615F83200424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10191BB8-956E-42B7-A8C0-98235E9E78E3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鞋头编号字符检测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EN12568  N6O410L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FFEE3E9C-6E57-411D-8C44-11957CCCF501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8FFCFA6B-1ABF-4688-AF25-9326D7280EC3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60" name="矩形: 圆角 59">
              <a:extLst>
                <a:ext uri="{FF2B5EF4-FFF2-40B4-BE49-F238E27FC236}">
                  <a16:creationId xmlns:a16="http://schemas.microsoft.com/office/drawing/2014/main" id="{E1003C24-A8B3-4998-A1D9-64CF43A88479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iconfont-11673-5560736">
              <a:extLst>
                <a:ext uri="{FF2B5EF4-FFF2-40B4-BE49-F238E27FC236}">
                  <a16:creationId xmlns:a16="http://schemas.microsoft.com/office/drawing/2014/main" id="{00AB4DE6-9238-41A4-A5E5-833C6E4018A3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94DE2092-BD3E-4D80-BAA9-7300AA692DE5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1FCFC45A-A611-4844-A17A-61D561B3B7B6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63783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id="{4C7B3C12-F706-4AC1-84C7-04D981D1A823}"/>
              </a:ext>
            </a:extLst>
          </p:cNvPr>
          <p:cNvSpPr txBox="1"/>
          <p:nvPr/>
        </p:nvSpPr>
        <p:spPr>
          <a:xfrm>
            <a:off x="2267214" y="1049704"/>
            <a:ext cx="76575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zh-CN" dirty="0"/>
              <a:t>项目概述：DHL快递单编号识别</a:t>
            </a: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120181D9-3635-4D00-9875-706DEE254E08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000" dirty="0" err="1">
                <a:solidFill>
                  <a:schemeClr val="tx1"/>
                </a:solidFill>
                <a:latin typeface="+mn-ea"/>
                <a:ea typeface="+mn-ea"/>
              </a:rPr>
              <a:t>快递</a:t>
            </a:r>
            <a:r>
              <a:rPr lang="en-US" altLang="zh-CN" sz="3000" dirty="0">
                <a:solidFill>
                  <a:schemeClr val="tx1"/>
                </a:solidFill>
                <a:latin typeface="+mn-ea"/>
                <a:ea typeface="+mn-ea"/>
              </a:rPr>
              <a:t>-DHL-</a:t>
            </a:r>
            <a:r>
              <a:rPr lang="en-US" altLang="zh-CN" sz="3000" b="1" dirty="0" err="1">
                <a:solidFill>
                  <a:schemeClr val="tx1"/>
                </a:solidFill>
              </a:rPr>
              <a:t>快递单识别</a:t>
            </a:r>
            <a:endParaRPr lang="en-US" altLang="zh-CN" sz="3000" b="1" dirty="0">
              <a:solidFill>
                <a:schemeClr val="tx1"/>
              </a:solidFill>
            </a:endParaRPr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757C4DF9-DD08-46E0-9177-A4ACB5E1721D}"/>
              </a:ext>
            </a:extLst>
          </p:cNvPr>
          <p:cNvSpPr/>
          <p:nvPr/>
        </p:nvSpPr>
        <p:spPr>
          <a:xfrm>
            <a:off x="4532036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788005D7-3D3C-4BC9-BDB6-7D06E9DC2E2B}"/>
              </a:ext>
            </a:extLst>
          </p:cNvPr>
          <p:cNvSpPr txBox="1"/>
          <p:nvPr/>
        </p:nvSpPr>
        <p:spPr>
          <a:xfrm>
            <a:off x="4736030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5"/>
                </a:solidFill>
              </a:rPr>
              <a:t>解决方案</a:t>
            </a:r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D577F275-6F5F-44AA-A7BA-37A763A819FB}"/>
              </a:ext>
            </a:extLst>
          </p:cNvPr>
          <p:cNvSpPr/>
          <p:nvPr/>
        </p:nvSpPr>
        <p:spPr>
          <a:xfrm>
            <a:off x="4532036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5BE89F22-5077-4512-9680-EC378F9DFE4B}"/>
              </a:ext>
            </a:extLst>
          </p:cNvPr>
          <p:cNvSpPr txBox="1"/>
          <p:nvPr/>
        </p:nvSpPr>
        <p:spPr>
          <a:xfrm>
            <a:off x="4532036" y="4192197"/>
            <a:ext cx="3996000" cy="964491"/>
          </a:xfrm>
          <a:prstGeom prst="rect">
            <a:avLst/>
          </a:prstGeom>
        </p:spPr>
        <p:txBody>
          <a:bodyPr wrap="square" lIns="180000"/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定位</a:t>
            </a:r>
            <a:r>
              <a:rPr lang="en-US" altLang="zh-CN" dirty="0"/>
              <a:t> </a:t>
            </a:r>
            <a:r>
              <a:rPr lang="zh-CN" altLang="zh-CN" dirty="0"/>
              <a:t>+</a:t>
            </a:r>
            <a:r>
              <a:rPr lang="en-US" altLang="zh-CN" dirty="0"/>
              <a:t> </a:t>
            </a:r>
            <a:r>
              <a:rPr lang="zh-CN" altLang="zh-CN" dirty="0"/>
              <a:t>OCR</a:t>
            </a:r>
            <a:r>
              <a:rPr lang="en-US" altLang="zh-CN" dirty="0"/>
              <a:t> </a:t>
            </a:r>
            <a:r>
              <a:rPr lang="zh-CN" altLang="zh-CN" dirty="0"/>
              <a:t>识别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3D974DAC-2899-43A0-B00F-9936ECF25EE4}"/>
              </a:ext>
            </a:extLst>
          </p:cNvPr>
          <p:cNvSpPr/>
          <p:nvPr/>
        </p:nvSpPr>
        <p:spPr>
          <a:xfrm>
            <a:off x="4695714" y="3914879"/>
            <a:ext cx="208074" cy="208074"/>
          </a:xfrm>
          <a:prstGeom prst="round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verified-list-of-exercises-of-a-gymnast-on-a-clipboard_30818">
            <a:extLst>
              <a:ext uri="{FF2B5EF4-FFF2-40B4-BE49-F238E27FC236}">
                <a16:creationId xmlns:a16="http://schemas.microsoft.com/office/drawing/2014/main" id="{2C61F402-FF10-4F7F-89C3-5B620BE1F820}"/>
              </a:ext>
            </a:extLst>
          </p:cNvPr>
          <p:cNvSpPr/>
          <p:nvPr/>
        </p:nvSpPr>
        <p:spPr>
          <a:xfrm>
            <a:off x="4736990" y="3934095"/>
            <a:ext cx="125524" cy="169644"/>
          </a:xfrm>
          <a:custGeom>
            <a:avLst/>
            <a:gdLst>
              <a:gd name="T0" fmla="*/ 332 w 1879"/>
              <a:gd name="T1" fmla="*/ 891 h 2543"/>
              <a:gd name="T2" fmla="*/ 1364 w 1879"/>
              <a:gd name="T3" fmla="*/ 933 h 2543"/>
              <a:gd name="T4" fmla="*/ 332 w 1879"/>
              <a:gd name="T5" fmla="*/ 974 h 2543"/>
              <a:gd name="T6" fmla="*/ 332 w 1879"/>
              <a:gd name="T7" fmla="*/ 1334 h 2543"/>
              <a:gd name="T8" fmla="*/ 1364 w 1879"/>
              <a:gd name="T9" fmla="*/ 1293 h 2543"/>
              <a:gd name="T10" fmla="*/ 332 w 1879"/>
              <a:gd name="T11" fmla="*/ 1251 h 2543"/>
              <a:gd name="T12" fmla="*/ 332 w 1879"/>
              <a:gd name="T13" fmla="*/ 1334 h 2543"/>
              <a:gd name="T14" fmla="*/ 332 w 1879"/>
              <a:gd name="T15" fmla="*/ 1612 h 2543"/>
              <a:gd name="T16" fmla="*/ 332 w 1879"/>
              <a:gd name="T17" fmla="*/ 1695 h 2543"/>
              <a:gd name="T18" fmla="*/ 802 w 1879"/>
              <a:gd name="T19" fmla="*/ 1653 h 2543"/>
              <a:gd name="T20" fmla="*/ 705 w 1879"/>
              <a:gd name="T21" fmla="*/ 1972 h 2543"/>
              <a:gd name="T22" fmla="*/ 290 w 1879"/>
              <a:gd name="T23" fmla="*/ 2013 h 2543"/>
              <a:gd name="T24" fmla="*/ 705 w 1879"/>
              <a:gd name="T25" fmla="*/ 2055 h 2543"/>
              <a:gd name="T26" fmla="*/ 705 w 1879"/>
              <a:gd name="T27" fmla="*/ 1972 h 2543"/>
              <a:gd name="T28" fmla="*/ 1356 w 1879"/>
              <a:gd name="T29" fmla="*/ 2543 h 2543"/>
              <a:gd name="T30" fmla="*/ 1005 w 1879"/>
              <a:gd name="T31" fmla="*/ 2408 h 2543"/>
              <a:gd name="T32" fmla="*/ 0 w 1879"/>
              <a:gd name="T33" fmla="*/ 2366 h 2543"/>
              <a:gd name="T34" fmla="*/ 42 w 1879"/>
              <a:gd name="T35" fmla="*/ 380 h 2543"/>
              <a:gd name="T36" fmla="*/ 393 w 1879"/>
              <a:gd name="T37" fmla="*/ 266 h 2543"/>
              <a:gd name="T38" fmla="*/ 605 w 1879"/>
              <a:gd name="T39" fmla="*/ 224 h 2543"/>
              <a:gd name="T40" fmla="*/ 827 w 1879"/>
              <a:gd name="T41" fmla="*/ 0 h 2543"/>
              <a:gd name="T42" fmla="*/ 1049 w 1879"/>
              <a:gd name="T43" fmla="*/ 224 h 2543"/>
              <a:gd name="T44" fmla="*/ 1261 w 1879"/>
              <a:gd name="T45" fmla="*/ 266 h 2543"/>
              <a:gd name="T46" fmla="*/ 1612 w 1879"/>
              <a:gd name="T47" fmla="*/ 380 h 2543"/>
              <a:gd name="T48" fmla="*/ 1654 w 1879"/>
              <a:gd name="T49" fmla="*/ 1591 h 2543"/>
              <a:gd name="T50" fmla="*/ 476 w 1879"/>
              <a:gd name="T51" fmla="*/ 511 h 2543"/>
              <a:gd name="T52" fmla="*/ 1178 w 1879"/>
              <a:gd name="T53" fmla="*/ 307 h 2543"/>
              <a:gd name="T54" fmla="*/ 969 w 1879"/>
              <a:gd name="T55" fmla="*/ 291 h 2543"/>
              <a:gd name="T56" fmla="*/ 966 w 1879"/>
              <a:gd name="T57" fmla="*/ 222 h 2543"/>
              <a:gd name="T58" fmla="*/ 688 w 1879"/>
              <a:gd name="T59" fmla="*/ 222 h 2543"/>
              <a:gd name="T60" fmla="*/ 685 w 1879"/>
              <a:gd name="T61" fmla="*/ 292 h 2543"/>
              <a:gd name="T62" fmla="*/ 476 w 1879"/>
              <a:gd name="T63" fmla="*/ 307 h 2543"/>
              <a:gd name="T64" fmla="*/ 83 w 1879"/>
              <a:gd name="T65" fmla="*/ 2324 h 2543"/>
              <a:gd name="T66" fmla="*/ 833 w 1879"/>
              <a:gd name="T67" fmla="*/ 2020 h 2543"/>
              <a:gd name="T68" fmla="*/ 1571 w 1879"/>
              <a:gd name="T69" fmla="*/ 1544 h 2543"/>
              <a:gd name="T70" fmla="*/ 1261 w 1879"/>
              <a:gd name="T71" fmla="*/ 463 h 2543"/>
              <a:gd name="T72" fmla="*/ 1220 w 1879"/>
              <a:gd name="T73" fmla="*/ 594 h 2543"/>
              <a:gd name="T74" fmla="*/ 393 w 1879"/>
              <a:gd name="T75" fmla="*/ 552 h 2543"/>
              <a:gd name="T76" fmla="*/ 83 w 1879"/>
              <a:gd name="T77" fmla="*/ 463 h 2543"/>
              <a:gd name="T78" fmla="*/ 83 w 1879"/>
              <a:gd name="T79" fmla="*/ 2324 h 2543"/>
              <a:gd name="T80" fmla="*/ 1356 w 1879"/>
              <a:gd name="T81" fmla="*/ 1580 h 2543"/>
              <a:gd name="T82" fmla="*/ 1356 w 1879"/>
              <a:gd name="T83" fmla="*/ 2460 h 2543"/>
              <a:gd name="T84" fmla="*/ 1585 w 1879"/>
              <a:gd name="T85" fmla="*/ 1847 h 2543"/>
              <a:gd name="T86" fmla="*/ 1158 w 1879"/>
              <a:gd name="T87" fmla="*/ 1953 h 2543"/>
              <a:gd name="T88" fmla="*/ 1106 w 1879"/>
              <a:gd name="T89" fmla="*/ 2018 h 2543"/>
              <a:gd name="T90" fmla="*/ 1333 w 1879"/>
              <a:gd name="T91" fmla="*/ 2188 h 2543"/>
              <a:gd name="T92" fmla="*/ 1643 w 1879"/>
              <a:gd name="T93" fmla="*/ 1907 h 2543"/>
              <a:gd name="T94" fmla="*/ 1585 w 1879"/>
              <a:gd name="T95" fmla="*/ 1847 h 2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79" h="2543">
                <a:moveTo>
                  <a:pt x="290" y="933"/>
                </a:moveTo>
                <a:cubicBezTo>
                  <a:pt x="290" y="910"/>
                  <a:pt x="309" y="891"/>
                  <a:pt x="332" y="891"/>
                </a:cubicBezTo>
                <a:lnTo>
                  <a:pt x="1322" y="891"/>
                </a:lnTo>
                <a:cubicBezTo>
                  <a:pt x="1345" y="891"/>
                  <a:pt x="1364" y="910"/>
                  <a:pt x="1364" y="933"/>
                </a:cubicBezTo>
                <a:cubicBezTo>
                  <a:pt x="1364" y="956"/>
                  <a:pt x="1345" y="974"/>
                  <a:pt x="1322" y="974"/>
                </a:cubicBezTo>
                <a:lnTo>
                  <a:pt x="332" y="974"/>
                </a:lnTo>
                <a:cubicBezTo>
                  <a:pt x="309" y="974"/>
                  <a:pt x="290" y="956"/>
                  <a:pt x="290" y="933"/>
                </a:cubicBezTo>
                <a:close/>
                <a:moveTo>
                  <a:pt x="332" y="1334"/>
                </a:moveTo>
                <a:lnTo>
                  <a:pt x="1322" y="1334"/>
                </a:lnTo>
                <a:cubicBezTo>
                  <a:pt x="1345" y="1334"/>
                  <a:pt x="1364" y="1316"/>
                  <a:pt x="1364" y="1293"/>
                </a:cubicBezTo>
                <a:cubicBezTo>
                  <a:pt x="1364" y="1270"/>
                  <a:pt x="1345" y="1251"/>
                  <a:pt x="1322" y="1251"/>
                </a:cubicBezTo>
                <a:lnTo>
                  <a:pt x="332" y="1251"/>
                </a:lnTo>
                <a:cubicBezTo>
                  <a:pt x="309" y="1251"/>
                  <a:pt x="290" y="1270"/>
                  <a:pt x="290" y="1293"/>
                </a:cubicBezTo>
                <a:cubicBezTo>
                  <a:pt x="290" y="1316"/>
                  <a:pt x="309" y="1334"/>
                  <a:pt x="332" y="1334"/>
                </a:cubicBezTo>
                <a:close/>
                <a:moveTo>
                  <a:pt x="760" y="1612"/>
                </a:moveTo>
                <a:lnTo>
                  <a:pt x="332" y="1612"/>
                </a:lnTo>
                <a:cubicBezTo>
                  <a:pt x="309" y="1612"/>
                  <a:pt x="290" y="1630"/>
                  <a:pt x="290" y="1653"/>
                </a:cubicBezTo>
                <a:cubicBezTo>
                  <a:pt x="290" y="1676"/>
                  <a:pt x="309" y="1695"/>
                  <a:pt x="332" y="1695"/>
                </a:cubicBezTo>
                <a:lnTo>
                  <a:pt x="760" y="1695"/>
                </a:lnTo>
                <a:cubicBezTo>
                  <a:pt x="783" y="1695"/>
                  <a:pt x="802" y="1676"/>
                  <a:pt x="802" y="1653"/>
                </a:cubicBezTo>
                <a:cubicBezTo>
                  <a:pt x="802" y="1630"/>
                  <a:pt x="783" y="1612"/>
                  <a:pt x="760" y="1612"/>
                </a:cubicBezTo>
                <a:close/>
                <a:moveTo>
                  <a:pt x="705" y="1972"/>
                </a:moveTo>
                <a:lnTo>
                  <a:pt x="332" y="1972"/>
                </a:lnTo>
                <a:cubicBezTo>
                  <a:pt x="309" y="1972"/>
                  <a:pt x="290" y="1990"/>
                  <a:pt x="290" y="2013"/>
                </a:cubicBezTo>
                <a:cubicBezTo>
                  <a:pt x="290" y="2036"/>
                  <a:pt x="309" y="2055"/>
                  <a:pt x="332" y="2055"/>
                </a:cubicBezTo>
                <a:lnTo>
                  <a:pt x="705" y="2055"/>
                </a:lnTo>
                <a:cubicBezTo>
                  <a:pt x="728" y="2055"/>
                  <a:pt x="746" y="2036"/>
                  <a:pt x="746" y="2013"/>
                </a:cubicBezTo>
                <a:cubicBezTo>
                  <a:pt x="746" y="1990"/>
                  <a:pt x="728" y="1972"/>
                  <a:pt x="705" y="1972"/>
                </a:cubicBezTo>
                <a:close/>
                <a:moveTo>
                  <a:pt x="1879" y="2020"/>
                </a:moveTo>
                <a:cubicBezTo>
                  <a:pt x="1879" y="2309"/>
                  <a:pt x="1644" y="2543"/>
                  <a:pt x="1356" y="2543"/>
                </a:cubicBezTo>
                <a:cubicBezTo>
                  <a:pt x="1221" y="2543"/>
                  <a:pt x="1098" y="2492"/>
                  <a:pt x="1006" y="2407"/>
                </a:cubicBezTo>
                <a:cubicBezTo>
                  <a:pt x="1005" y="2407"/>
                  <a:pt x="1005" y="2408"/>
                  <a:pt x="1005" y="2408"/>
                </a:cubicBezTo>
                <a:lnTo>
                  <a:pt x="42" y="2408"/>
                </a:lnTo>
                <a:cubicBezTo>
                  <a:pt x="19" y="2408"/>
                  <a:pt x="0" y="2389"/>
                  <a:pt x="0" y="2366"/>
                </a:cubicBezTo>
                <a:lnTo>
                  <a:pt x="0" y="422"/>
                </a:lnTo>
                <a:cubicBezTo>
                  <a:pt x="0" y="399"/>
                  <a:pt x="19" y="380"/>
                  <a:pt x="42" y="380"/>
                </a:cubicBezTo>
                <a:lnTo>
                  <a:pt x="393" y="380"/>
                </a:lnTo>
                <a:lnTo>
                  <a:pt x="393" y="266"/>
                </a:lnTo>
                <a:cubicBezTo>
                  <a:pt x="393" y="243"/>
                  <a:pt x="412" y="224"/>
                  <a:pt x="435" y="224"/>
                </a:cubicBezTo>
                <a:lnTo>
                  <a:pt x="605" y="224"/>
                </a:lnTo>
                <a:lnTo>
                  <a:pt x="605" y="222"/>
                </a:lnTo>
                <a:cubicBezTo>
                  <a:pt x="605" y="100"/>
                  <a:pt x="705" y="0"/>
                  <a:pt x="827" y="0"/>
                </a:cubicBezTo>
                <a:cubicBezTo>
                  <a:pt x="950" y="0"/>
                  <a:pt x="1049" y="100"/>
                  <a:pt x="1049" y="222"/>
                </a:cubicBezTo>
                <a:lnTo>
                  <a:pt x="1049" y="224"/>
                </a:lnTo>
                <a:lnTo>
                  <a:pt x="1220" y="224"/>
                </a:lnTo>
                <a:cubicBezTo>
                  <a:pt x="1243" y="224"/>
                  <a:pt x="1261" y="243"/>
                  <a:pt x="1261" y="266"/>
                </a:cubicBezTo>
                <a:lnTo>
                  <a:pt x="1261" y="380"/>
                </a:lnTo>
                <a:lnTo>
                  <a:pt x="1612" y="380"/>
                </a:lnTo>
                <a:cubicBezTo>
                  <a:pt x="1635" y="380"/>
                  <a:pt x="1654" y="399"/>
                  <a:pt x="1654" y="422"/>
                </a:cubicBezTo>
                <a:lnTo>
                  <a:pt x="1654" y="1591"/>
                </a:lnTo>
                <a:cubicBezTo>
                  <a:pt x="1790" y="1685"/>
                  <a:pt x="1879" y="1843"/>
                  <a:pt x="1879" y="2020"/>
                </a:cubicBezTo>
                <a:close/>
                <a:moveTo>
                  <a:pt x="476" y="511"/>
                </a:moveTo>
                <a:lnTo>
                  <a:pt x="1178" y="511"/>
                </a:lnTo>
                <a:lnTo>
                  <a:pt x="1178" y="307"/>
                </a:lnTo>
                <a:lnTo>
                  <a:pt x="1002" y="307"/>
                </a:lnTo>
                <a:cubicBezTo>
                  <a:pt x="989" y="307"/>
                  <a:pt x="977" y="302"/>
                  <a:pt x="969" y="291"/>
                </a:cubicBezTo>
                <a:cubicBezTo>
                  <a:pt x="961" y="281"/>
                  <a:pt x="958" y="268"/>
                  <a:pt x="962" y="256"/>
                </a:cubicBezTo>
                <a:cubicBezTo>
                  <a:pt x="965" y="243"/>
                  <a:pt x="966" y="232"/>
                  <a:pt x="966" y="222"/>
                </a:cubicBezTo>
                <a:cubicBezTo>
                  <a:pt x="966" y="146"/>
                  <a:pt x="904" y="83"/>
                  <a:pt x="827" y="83"/>
                </a:cubicBezTo>
                <a:cubicBezTo>
                  <a:pt x="750" y="83"/>
                  <a:pt x="688" y="146"/>
                  <a:pt x="688" y="222"/>
                </a:cubicBezTo>
                <a:cubicBezTo>
                  <a:pt x="688" y="232"/>
                  <a:pt x="689" y="243"/>
                  <a:pt x="693" y="256"/>
                </a:cubicBezTo>
                <a:cubicBezTo>
                  <a:pt x="696" y="268"/>
                  <a:pt x="693" y="281"/>
                  <a:pt x="685" y="292"/>
                </a:cubicBezTo>
                <a:cubicBezTo>
                  <a:pt x="677" y="302"/>
                  <a:pt x="665" y="307"/>
                  <a:pt x="652" y="307"/>
                </a:cubicBezTo>
                <a:lnTo>
                  <a:pt x="476" y="307"/>
                </a:lnTo>
                <a:lnTo>
                  <a:pt x="476" y="511"/>
                </a:lnTo>
                <a:close/>
                <a:moveTo>
                  <a:pt x="83" y="2324"/>
                </a:moveTo>
                <a:lnTo>
                  <a:pt x="931" y="2324"/>
                </a:lnTo>
                <a:cubicBezTo>
                  <a:pt x="870" y="2239"/>
                  <a:pt x="833" y="2134"/>
                  <a:pt x="833" y="2020"/>
                </a:cubicBezTo>
                <a:cubicBezTo>
                  <a:pt x="833" y="1732"/>
                  <a:pt x="1067" y="1497"/>
                  <a:pt x="1356" y="1497"/>
                </a:cubicBezTo>
                <a:cubicBezTo>
                  <a:pt x="1432" y="1497"/>
                  <a:pt x="1505" y="1514"/>
                  <a:pt x="1571" y="1544"/>
                </a:cubicBezTo>
                <a:lnTo>
                  <a:pt x="1571" y="463"/>
                </a:lnTo>
                <a:lnTo>
                  <a:pt x="1261" y="463"/>
                </a:lnTo>
                <a:lnTo>
                  <a:pt x="1261" y="552"/>
                </a:lnTo>
                <a:cubicBezTo>
                  <a:pt x="1261" y="575"/>
                  <a:pt x="1243" y="594"/>
                  <a:pt x="1220" y="594"/>
                </a:cubicBezTo>
                <a:lnTo>
                  <a:pt x="434" y="594"/>
                </a:lnTo>
                <a:cubicBezTo>
                  <a:pt x="412" y="594"/>
                  <a:pt x="393" y="575"/>
                  <a:pt x="393" y="552"/>
                </a:cubicBezTo>
                <a:lnTo>
                  <a:pt x="393" y="463"/>
                </a:lnTo>
                <a:lnTo>
                  <a:pt x="83" y="463"/>
                </a:lnTo>
                <a:lnTo>
                  <a:pt x="83" y="2324"/>
                </a:lnTo>
                <a:lnTo>
                  <a:pt x="83" y="2324"/>
                </a:lnTo>
                <a:close/>
                <a:moveTo>
                  <a:pt x="1796" y="2020"/>
                </a:moveTo>
                <a:cubicBezTo>
                  <a:pt x="1796" y="1778"/>
                  <a:pt x="1598" y="1580"/>
                  <a:pt x="1356" y="1580"/>
                </a:cubicBezTo>
                <a:cubicBezTo>
                  <a:pt x="1113" y="1580"/>
                  <a:pt x="916" y="1778"/>
                  <a:pt x="916" y="2020"/>
                </a:cubicBezTo>
                <a:cubicBezTo>
                  <a:pt x="916" y="2263"/>
                  <a:pt x="1113" y="2460"/>
                  <a:pt x="1356" y="2460"/>
                </a:cubicBezTo>
                <a:cubicBezTo>
                  <a:pt x="1598" y="2460"/>
                  <a:pt x="1796" y="2263"/>
                  <a:pt x="1796" y="2020"/>
                </a:cubicBezTo>
                <a:close/>
                <a:moveTo>
                  <a:pt x="1585" y="1847"/>
                </a:moveTo>
                <a:lnTo>
                  <a:pt x="1331" y="2091"/>
                </a:lnTo>
                <a:lnTo>
                  <a:pt x="1158" y="1953"/>
                </a:lnTo>
                <a:cubicBezTo>
                  <a:pt x="1140" y="1939"/>
                  <a:pt x="1114" y="1942"/>
                  <a:pt x="1100" y="1960"/>
                </a:cubicBezTo>
                <a:cubicBezTo>
                  <a:pt x="1086" y="1978"/>
                  <a:pt x="1088" y="2004"/>
                  <a:pt x="1106" y="2018"/>
                </a:cubicBezTo>
                <a:lnTo>
                  <a:pt x="1307" y="2179"/>
                </a:lnTo>
                <a:cubicBezTo>
                  <a:pt x="1315" y="2185"/>
                  <a:pt x="1324" y="2188"/>
                  <a:pt x="1333" y="2188"/>
                </a:cubicBezTo>
                <a:cubicBezTo>
                  <a:pt x="1343" y="2188"/>
                  <a:pt x="1354" y="2184"/>
                  <a:pt x="1362" y="2176"/>
                </a:cubicBezTo>
                <a:lnTo>
                  <a:pt x="1643" y="1907"/>
                </a:lnTo>
                <a:cubicBezTo>
                  <a:pt x="1659" y="1891"/>
                  <a:pt x="1660" y="1865"/>
                  <a:pt x="1644" y="1848"/>
                </a:cubicBezTo>
                <a:cubicBezTo>
                  <a:pt x="1628" y="1831"/>
                  <a:pt x="1602" y="1831"/>
                  <a:pt x="1585" y="18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DC451865-65CD-4E10-BED2-11C7170A12F3}"/>
              </a:ext>
            </a:extLst>
          </p:cNvPr>
          <p:cNvSpPr txBox="1"/>
          <p:nvPr/>
        </p:nvSpPr>
        <p:spPr>
          <a:xfrm>
            <a:off x="4736030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3"/>
                </a:solidFill>
              </a:rPr>
              <a:t>物料说明</a:t>
            </a: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9D905887-53EA-4D72-8CD1-9F21478CF504}"/>
              </a:ext>
            </a:extLst>
          </p:cNvPr>
          <p:cNvSpPr/>
          <p:nvPr/>
        </p:nvSpPr>
        <p:spPr>
          <a:xfrm>
            <a:off x="4695714" y="2258799"/>
            <a:ext cx="208074" cy="208074"/>
          </a:xfrm>
          <a:prstGeom prst="round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cart_155395">
            <a:extLst>
              <a:ext uri="{FF2B5EF4-FFF2-40B4-BE49-F238E27FC236}">
                <a16:creationId xmlns:a16="http://schemas.microsoft.com/office/drawing/2014/main" id="{1D363495-FD9A-4FBF-8371-B9964D0B5BF8}"/>
              </a:ext>
            </a:extLst>
          </p:cNvPr>
          <p:cNvSpPr/>
          <p:nvPr/>
        </p:nvSpPr>
        <p:spPr>
          <a:xfrm>
            <a:off x="4721743" y="2299141"/>
            <a:ext cx="156016" cy="127390"/>
          </a:xfrm>
          <a:custGeom>
            <a:avLst/>
            <a:gdLst>
              <a:gd name="connsiteX0" fmla="*/ 395004 w 607614"/>
              <a:gd name="connsiteY0" fmla="*/ 445323 h 496130"/>
              <a:gd name="connsiteX1" fmla="*/ 455680 w 607614"/>
              <a:gd name="connsiteY1" fmla="*/ 445323 h 496130"/>
              <a:gd name="connsiteX2" fmla="*/ 455680 w 607614"/>
              <a:gd name="connsiteY2" fmla="*/ 465792 h 496130"/>
              <a:gd name="connsiteX3" fmla="*/ 395004 w 607614"/>
              <a:gd name="connsiteY3" fmla="*/ 465792 h 496130"/>
              <a:gd name="connsiteX4" fmla="*/ 233201 w 607614"/>
              <a:gd name="connsiteY4" fmla="*/ 445323 h 496130"/>
              <a:gd name="connsiteX5" fmla="*/ 293999 w 607614"/>
              <a:gd name="connsiteY5" fmla="*/ 445323 h 496130"/>
              <a:gd name="connsiteX6" fmla="*/ 293999 w 607614"/>
              <a:gd name="connsiteY6" fmla="*/ 465792 h 496130"/>
              <a:gd name="connsiteX7" fmla="*/ 233201 w 607614"/>
              <a:gd name="connsiteY7" fmla="*/ 465792 h 496130"/>
              <a:gd name="connsiteX8" fmla="*/ 506562 w 607614"/>
              <a:gd name="connsiteY8" fmla="*/ 435461 h 496130"/>
              <a:gd name="connsiteX9" fmla="*/ 486056 w 607614"/>
              <a:gd name="connsiteY9" fmla="*/ 455178 h 496130"/>
              <a:gd name="connsiteX10" fmla="*/ 506562 w 607614"/>
              <a:gd name="connsiteY10" fmla="*/ 475654 h 496130"/>
              <a:gd name="connsiteX11" fmla="*/ 526309 w 607614"/>
              <a:gd name="connsiteY11" fmla="*/ 455178 h 496130"/>
              <a:gd name="connsiteX12" fmla="*/ 506562 w 607614"/>
              <a:gd name="connsiteY12" fmla="*/ 435461 h 496130"/>
              <a:gd name="connsiteX13" fmla="*/ 344122 w 607614"/>
              <a:gd name="connsiteY13" fmla="*/ 435461 h 496130"/>
              <a:gd name="connsiteX14" fmla="*/ 324375 w 607614"/>
              <a:gd name="connsiteY14" fmla="*/ 455178 h 496130"/>
              <a:gd name="connsiteX15" fmla="*/ 344122 w 607614"/>
              <a:gd name="connsiteY15" fmla="*/ 475654 h 496130"/>
              <a:gd name="connsiteX16" fmla="*/ 364628 w 607614"/>
              <a:gd name="connsiteY16" fmla="*/ 455178 h 496130"/>
              <a:gd name="connsiteX17" fmla="*/ 344122 w 607614"/>
              <a:gd name="connsiteY17" fmla="*/ 435461 h 496130"/>
              <a:gd name="connsiteX18" fmla="*/ 182333 w 607614"/>
              <a:gd name="connsiteY18" fmla="*/ 435461 h 496130"/>
              <a:gd name="connsiteX19" fmla="*/ 161819 w 607614"/>
              <a:gd name="connsiteY19" fmla="*/ 455178 h 496130"/>
              <a:gd name="connsiteX20" fmla="*/ 182333 w 607614"/>
              <a:gd name="connsiteY20" fmla="*/ 475654 h 496130"/>
              <a:gd name="connsiteX21" fmla="*/ 202847 w 607614"/>
              <a:gd name="connsiteY21" fmla="*/ 455178 h 496130"/>
              <a:gd name="connsiteX22" fmla="*/ 182333 w 607614"/>
              <a:gd name="connsiteY22" fmla="*/ 435461 h 496130"/>
              <a:gd name="connsiteX23" fmla="*/ 506562 w 607614"/>
              <a:gd name="connsiteY23" fmla="*/ 414985 h 496130"/>
              <a:gd name="connsiteX24" fmla="*/ 546816 w 607614"/>
              <a:gd name="connsiteY24" fmla="*/ 455178 h 496130"/>
              <a:gd name="connsiteX25" fmla="*/ 506562 w 607614"/>
              <a:gd name="connsiteY25" fmla="*/ 496130 h 496130"/>
              <a:gd name="connsiteX26" fmla="*/ 465549 w 607614"/>
              <a:gd name="connsiteY26" fmla="*/ 455178 h 496130"/>
              <a:gd name="connsiteX27" fmla="*/ 506562 w 607614"/>
              <a:gd name="connsiteY27" fmla="*/ 414985 h 496130"/>
              <a:gd name="connsiteX28" fmla="*/ 344122 w 607614"/>
              <a:gd name="connsiteY28" fmla="*/ 414985 h 496130"/>
              <a:gd name="connsiteX29" fmla="*/ 385135 w 607614"/>
              <a:gd name="connsiteY29" fmla="*/ 455178 h 496130"/>
              <a:gd name="connsiteX30" fmla="*/ 344122 w 607614"/>
              <a:gd name="connsiteY30" fmla="*/ 496130 h 496130"/>
              <a:gd name="connsiteX31" fmla="*/ 303868 w 607614"/>
              <a:gd name="connsiteY31" fmla="*/ 455178 h 496130"/>
              <a:gd name="connsiteX32" fmla="*/ 344122 w 607614"/>
              <a:gd name="connsiteY32" fmla="*/ 414985 h 496130"/>
              <a:gd name="connsiteX33" fmla="*/ 182333 w 607614"/>
              <a:gd name="connsiteY33" fmla="*/ 414985 h 496130"/>
              <a:gd name="connsiteX34" fmla="*/ 222601 w 607614"/>
              <a:gd name="connsiteY34" fmla="*/ 455178 h 496130"/>
              <a:gd name="connsiteX35" fmla="*/ 182333 w 607614"/>
              <a:gd name="connsiteY35" fmla="*/ 496130 h 496130"/>
              <a:gd name="connsiteX36" fmla="*/ 142065 w 607614"/>
              <a:gd name="connsiteY36" fmla="*/ 455178 h 496130"/>
              <a:gd name="connsiteX37" fmla="*/ 182333 w 607614"/>
              <a:gd name="connsiteY37" fmla="*/ 414985 h 496130"/>
              <a:gd name="connsiteX38" fmla="*/ 243070 w 607614"/>
              <a:gd name="connsiteY38" fmla="*/ 314102 h 496130"/>
              <a:gd name="connsiteX39" fmla="*/ 344075 w 607614"/>
              <a:gd name="connsiteY39" fmla="*/ 314102 h 496130"/>
              <a:gd name="connsiteX40" fmla="*/ 344075 w 607614"/>
              <a:gd name="connsiteY40" fmla="*/ 333840 h 496130"/>
              <a:gd name="connsiteX41" fmla="*/ 243070 w 607614"/>
              <a:gd name="connsiteY41" fmla="*/ 333840 h 496130"/>
              <a:gd name="connsiteX42" fmla="*/ 243070 w 607614"/>
              <a:gd name="connsiteY42" fmla="*/ 273164 h 496130"/>
              <a:gd name="connsiteX43" fmla="*/ 283277 w 607614"/>
              <a:gd name="connsiteY43" fmla="*/ 273164 h 496130"/>
              <a:gd name="connsiteX44" fmla="*/ 283277 w 607614"/>
              <a:gd name="connsiteY44" fmla="*/ 293633 h 496130"/>
              <a:gd name="connsiteX45" fmla="*/ 243070 w 607614"/>
              <a:gd name="connsiteY45" fmla="*/ 293633 h 496130"/>
              <a:gd name="connsiteX46" fmla="*/ 445811 w 607614"/>
              <a:gd name="connsiteY46" fmla="*/ 263295 h 496130"/>
              <a:gd name="connsiteX47" fmla="*/ 465565 w 607614"/>
              <a:gd name="connsiteY47" fmla="*/ 263295 h 496130"/>
              <a:gd name="connsiteX48" fmla="*/ 465565 w 607614"/>
              <a:gd name="connsiteY48" fmla="*/ 293637 h 496130"/>
              <a:gd name="connsiteX49" fmla="*/ 506593 w 607614"/>
              <a:gd name="connsiteY49" fmla="*/ 293637 h 496130"/>
              <a:gd name="connsiteX50" fmla="*/ 506593 w 607614"/>
              <a:gd name="connsiteY50" fmla="*/ 263295 h 496130"/>
              <a:gd name="connsiteX51" fmla="*/ 526347 w 607614"/>
              <a:gd name="connsiteY51" fmla="*/ 263295 h 496130"/>
              <a:gd name="connsiteX52" fmla="*/ 526347 w 607614"/>
              <a:gd name="connsiteY52" fmla="*/ 303498 h 496130"/>
              <a:gd name="connsiteX53" fmla="*/ 516470 w 607614"/>
              <a:gd name="connsiteY53" fmla="*/ 314118 h 496130"/>
              <a:gd name="connsiteX54" fmla="*/ 495956 w 607614"/>
              <a:gd name="connsiteY54" fmla="*/ 314118 h 496130"/>
              <a:gd name="connsiteX55" fmla="*/ 495956 w 607614"/>
              <a:gd name="connsiteY55" fmla="*/ 333840 h 496130"/>
              <a:gd name="connsiteX56" fmla="*/ 476202 w 607614"/>
              <a:gd name="connsiteY56" fmla="*/ 333840 h 496130"/>
              <a:gd name="connsiteX57" fmla="*/ 476202 w 607614"/>
              <a:gd name="connsiteY57" fmla="*/ 314118 h 496130"/>
              <a:gd name="connsiteX58" fmla="*/ 455688 w 607614"/>
              <a:gd name="connsiteY58" fmla="*/ 314118 h 496130"/>
              <a:gd name="connsiteX59" fmla="*/ 445811 w 607614"/>
              <a:gd name="connsiteY59" fmla="*/ 303498 h 496130"/>
              <a:gd name="connsiteX60" fmla="*/ 212665 w 607614"/>
              <a:gd name="connsiteY60" fmla="*/ 132000 h 496130"/>
              <a:gd name="connsiteX61" fmla="*/ 212665 w 607614"/>
              <a:gd name="connsiteY61" fmla="*/ 364137 h 496130"/>
              <a:gd name="connsiteX62" fmla="*/ 556726 w 607614"/>
              <a:gd name="connsiteY62" fmla="*/ 364137 h 496130"/>
              <a:gd name="connsiteX63" fmla="*/ 556726 w 607614"/>
              <a:gd name="connsiteY63" fmla="*/ 132000 h 496130"/>
              <a:gd name="connsiteX64" fmla="*/ 445837 w 607614"/>
              <a:gd name="connsiteY64" fmla="*/ 132000 h 496130"/>
              <a:gd name="connsiteX65" fmla="*/ 445837 w 607614"/>
              <a:gd name="connsiteY65" fmla="*/ 172206 h 496130"/>
              <a:gd name="connsiteX66" fmla="*/ 435204 w 607614"/>
              <a:gd name="connsiteY66" fmla="*/ 182069 h 496130"/>
              <a:gd name="connsiteX67" fmla="*/ 334188 w 607614"/>
              <a:gd name="connsiteY67" fmla="*/ 182069 h 496130"/>
              <a:gd name="connsiteX68" fmla="*/ 324314 w 607614"/>
              <a:gd name="connsiteY68" fmla="*/ 172206 h 496130"/>
              <a:gd name="connsiteX69" fmla="*/ 324314 w 607614"/>
              <a:gd name="connsiteY69" fmla="*/ 132000 h 496130"/>
              <a:gd name="connsiteX70" fmla="*/ 445837 w 607614"/>
              <a:gd name="connsiteY70" fmla="*/ 60690 h 496130"/>
              <a:gd name="connsiteX71" fmla="*/ 445837 w 607614"/>
              <a:gd name="connsiteY71" fmla="*/ 111517 h 496130"/>
              <a:gd name="connsiteX72" fmla="*/ 556726 w 607614"/>
              <a:gd name="connsiteY72" fmla="*/ 111517 h 496130"/>
              <a:gd name="connsiteX73" fmla="*/ 556726 w 607614"/>
              <a:gd name="connsiteY73" fmla="*/ 60690 h 496130"/>
              <a:gd name="connsiteX74" fmla="*/ 344061 w 607614"/>
              <a:gd name="connsiteY74" fmla="*/ 60690 h 496130"/>
              <a:gd name="connsiteX75" fmla="*/ 344061 w 607614"/>
              <a:gd name="connsiteY75" fmla="*/ 162344 h 496130"/>
              <a:gd name="connsiteX76" fmla="*/ 425330 w 607614"/>
              <a:gd name="connsiteY76" fmla="*/ 162344 h 496130"/>
              <a:gd name="connsiteX77" fmla="*/ 425330 w 607614"/>
              <a:gd name="connsiteY77" fmla="*/ 60690 h 496130"/>
              <a:gd name="connsiteX78" fmla="*/ 212665 w 607614"/>
              <a:gd name="connsiteY78" fmla="*/ 60690 h 496130"/>
              <a:gd name="connsiteX79" fmla="*/ 212665 w 607614"/>
              <a:gd name="connsiteY79" fmla="*/ 111517 h 496130"/>
              <a:gd name="connsiteX80" fmla="*/ 324314 w 607614"/>
              <a:gd name="connsiteY80" fmla="*/ 111517 h 496130"/>
              <a:gd name="connsiteX81" fmla="*/ 324314 w 607614"/>
              <a:gd name="connsiteY81" fmla="*/ 60690 h 496130"/>
              <a:gd name="connsiteX82" fmla="*/ 20507 w 607614"/>
              <a:gd name="connsiteY82" fmla="*/ 20483 h 496130"/>
              <a:gd name="connsiteX83" fmla="*/ 20507 w 607614"/>
              <a:gd name="connsiteY83" fmla="*/ 50827 h 496130"/>
              <a:gd name="connsiteX84" fmla="*/ 81268 w 607614"/>
              <a:gd name="connsiteY84" fmla="*/ 50827 h 496130"/>
              <a:gd name="connsiteX85" fmla="*/ 81268 w 607614"/>
              <a:gd name="connsiteY85" fmla="*/ 20483 h 496130"/>
              <a:gd name="connsiteX86" fmla="*/ 9874 w 607614"/>
              <a:gd name="connsiteY86" fmla="*/ 0 h 496130"/>
              <a:gd name="connsiteX87" fmla="*/ 91142 w 607614"/>
              <a:gd name="connsiteY87" fmla="*/ 0 h 496130"/>
              <a:gd name="connsiteX88" fmla="*/ 151903 w 607614"/>
              <a:gd name="connsiteY88" fmla="*/ 0 h 496130"/>
              <a:gd name="connsiteX89" fmla="*/ 161777 w 607614"/>
              <a:gd name="connsiteY89" fmla="*/ 10621 h 496130"/>
              <a:gd name="connsiteX90" fmla="*/ 161777 w 607614"/>
              <a:gd name="connsiteY90" fmla="*/ 364137 h 496130"/>
              <a:gd name="connsiteX91" fmla="*/ 192158 w 607614"/>
              <a:gd name="connsiteY91" fmla="*/ 364137 h 496130"/>
              <a:gd name="connsiteX92" fmla="*/ 192158 w 607614"/>
              <a:gd name="connsiteY92" fmla="*/ 50827 h 496130"/>
              <a:gd name="connsiteX93" fmla="*/ 202791 w 607614"/>
              <a:gd name="connsiteY93" fmla="*/ 40965 h 496130"/>
              <a:gd name="connsiteX94" fmla="*/ 334188 w 607614"/>
              <a:gd name="connsiteY94" fmla="*/ 40965 h 496130"/>
              <a:gd name="connsiteX95" fmla="*/ 435204 w 607614"/>
              <a:gd name="connsiteY95" fmla="*/ 40965 h 496130"/>
              <a:gd name="connsiteX96" fmla="*/ 567360 w 607614"/>
              <a:gd name="connsiteY96" fmla="*/ 40965 h 496130"/>
              <a:gd name="connsiteX97" fmla="*/ 577233 w 607614"/>
              <a:gd name="connsiteY97" fmla="*/ 50827 h 496130"/>
              <a:gd name="connsiteX98" fmla="*/ 577233 w 607614"/>
              <a:gd name="connsiteY98" fmla="*/ 364137 h 496130"/>
              <a:gd name="connsiteX99" fmla="*/ 597740 w 607614"/>
              <a:gd name="connsiteY99" fmla="*/ 364137 h 496130"/>
              <a:gd name="connsiteX100" fmla="*/ 607614 w 607614"/>
              <a:gd name="connsiteY100" fmla="*/ 374758 h 496130"/>
              <a:gd name="connsiteX101" fmla="*/ 607614 w 607614"/>
              <a:gd name="connsiteY101" fmla="*/ 455171 h 496130"/>
              <a:gd name="connsiteX102" fmla="*/ 597740 w 607614"/>
              <a:gd name="connsiteY102" fmla="*/ 465792 h 496130"/>
              <a:gd name="connsiteX103" fmla="*/ 556726 w 607614"/>
              <a:gd name="connsiteY103" fmla="*/ 465792 h 496130"/>
              <a:gd name="connsiteX104" fmla="*/ 556726 w 607614"/>
              <a:gd name="connsiteY104" fmla="*/ 445309 h 496130"/>
              <a:gd name="connsiteX105" fmla="*/ 587107 w 607614"/>
              <a:gd name="connsiteY105" fmla="*/ 445309 h 496130"/>
              <a:gd name="connsiteX106" fmla="*/ 587107 w 607614"/>
              <a:gd name="connsiteY106" fmla="*/ 384620 h 496130"/>
              <a:gd name="connsiteX107" fmla="*/ 567360 w 607614"/>
              <a:gd name="connsiteY107" fmla="*/ 384620 h 496130"/>
              <a:gd name="connsiteX108" fmla="*/ 202791 w 607614"/>
              <a:gd name="connsiteY108" fmla="*/ 384620 h 496130"/>
              <a:gd name="connsiteX109" fmla="*/ 151903 w 607614"/>
              <a:gd name="connsiteY109" fmla="*/ 384620 h 496130"/>
              <a:gd name="connsiteX110" fmla="*/ 121523 w 607614"/>
              <a:gd name="connsiteY110" fmla="*/ 384620 h 496130"/>
              <a:gd name="connsiteX111" fmla="*/ 121523 w 607614"/>
              <a:gd name="connsiteY111" fmla="*/ 364137 h 496130"/>
              <a:gd name="connsiteX112" fmla="*/ 142030 w 607614"/>
              <a:gd name="connsiteY112" fmla="*/ 364137 h 496130"/>
              <a:gd name="connsiteX113" fmla="*/ 142030 w 607614"/>
              <a:gd name="connsiteY113" fmla="*/ 20483 h 496130"/>
              <a:gd name="connsiteX114" fmla="*/ 101016 w 607614"/>
              <a:gd name="connsiteY114" fmla="*/ 20483 h 496130"/>
              <a:gd name="connsiteX115" fmla="*/ 101016 w 607614"/>
              <a:gd name="connsiteY115" fmla="*/ 445309 h 496130"/>
              <a:gd name="connsiteX116" fmla="*/ 131397 w 607614"/>
              <a:gd name="connsiteY116" fmla="*/ 445309 h 496130"/>
              <a:gd name="connsiteX117" fmla="*/ 131397 w 607614"/>
              <a:gd name="connsiteY117" fmla="*/ 465792 h 496130"/>
              <a:gd name="connsiteX118" fmla="*/ 91142 w 607614"/>
              <a:gd name="connsiteY118" fmla="*/ 465792 h 496130"/>
              <a:gd name="connsiteX119" fmla="*/ 81268 w 607614"/>
              <a:gd name="connsiteY119" fmla="*/ 455171 h 496130"/>
              <a:gd name="connsiteX120" fmla="*/ 81268 w 607614"/>
              <a:gd name="connsiteY120" fmla="*/ 71310 h 496130"/>
              <a:gd name="connsiteX121" fmla="*/ 9874 w 607614"/>
              <a:gd name="connsiteY121" fmla="*/ 71310 h 496130"/>
              <a:gd name="connsiteX122" fmla="*/ 0 w 607614"/>
              <a:gd name="connsiteY122" fmla="*/ 60690 h 496130"/>
              <a:gd name="connsiteX123" fmla="*/ 0 w 607614"/>
              <a:gd name="connsiteY123" fmla="*/ 10621 h 496130"/>
              <a:gd name="connsiteX124" fmla="*/ 9874 w 607614"/>
              <a:gd name="connsiteY124" fmla="*/ 0 h 496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607614" h="496130">
                <a:moveTo>
                  <a:pt x="395004" y="445323"/>
                </a:moveTo>
                <a:lnTo>
                  <a:pt x="455680" y="445323"/>
                </a:lnTo>
                <a:lnTo>
                  <a:pt x="455680" y="465792"/>
                </a:lnTo>
                <a:lnTo>
                  <a:pt x="395004" y="465792"/>
                </a:lnTo>
                <a:close/>
                <a:moveTo>
                  <a:pt x="233201" y="445323"/>
                </a:moveTo>
                <a:lnTo>
                  <a:pt x="293999" y="445323"/>
                </a:lnTo>
                <a:lnTo>
                  <a:pt x="293999" y="465792"/>
                </a:lnTo>
                <a:lnTo>
                  <a:pt x="233201" y="465792"/>
                </a:lnTo>
                <a:close/>
                <a:moveTo>
                  <a:pt x="506562" y="435461"/>
                </a:moveTo>
                <a:cubicBezTo>
                  <a:pt x="495170" y="435461"/>
                  <a:pt x="486056" y="444561"/>
                  <a:pt x="486056" y="455178"/>
                </a:cubicBezTo>
                <a:cubicBezTo>
                  <a:pt x="486056" y="466554"/>
                  <a:pt x="495170" y="475654"/>
                  <a:pt x="506562" y="475654"/>
                </a:cubicBezTo>
                <a:cubicBezTo>
                  <a:pt x="517195" y="475654"/>
                  <a:pt x="526309" y="466554"/>
                  <a:pt x="526309" y="455178"/>
                </a:cubicBezTo>
                <a:cubicBezTo>
                  <a:pt x="526309" y="444561"/>
                  <a:pt x="517195" y="435461"/>
                  <a:pt x="506562" y="435461"/>
                </a:cubicBezTo>
                <a:close/>
                <a:moveTo>
                  <a:pt x="344122" y="435461"/>
                </a:moveTo>
                <a:cubicBezTo>
                  <a:pt x="333489" y="435461"/>
                  <a:pt x="324375" y="444561"/>
                  <a:pt x="324375" y="455178"/>
                </a:cubicBezTo>
                <a:cubicBezTo>
                  <a:pt x="324375" y="466554"/>
                  <a:pt x="333489" y="475654"/>
                  <a:pt x="344122" y="475654"/>
                </a:cubicBezTo>
                <a:cubicBezTo>
                  <a:pt x="355514" y="475654"/>
                  <a:pt x="364628" y="466554"/>
                  <a:pt x="364628" y="455178"/>
                </a:cubicBezTo>
                <a:cubicBezTo>
                  <a:pt x="364628" y="444561"/>
                  <a:pt x="355514" y="435461"/>
                  <a:pt x="344122" y="435461"/>
                </a:cubicBezTo>
                <a:close/>
                <a:moveTo>
                  <a:pt x="182333" y="435461"/>
                </a:moveTo>
                <a:cubicBezTo>
                  <a:pt x="170936" y="435461"/>
                  <a:pt x="161819" y="444561"/>
                  <a:pt x="161819" y="455178"/>
                </a:cubicBezTo>
                <a:cubicBezTo>
                  <a:pt x="161819" y="466554"/>
                  <a:pt x="170936" y="475654"/>
                  <a:pt x="182333" y="475654"/>
                </a:cubicBezTo>
                <a:cubicBezTo>
                  <a:pt x="193730" y="475654"/>
                  <a:pt x="202847" y="466554"/>
                  <a:pt x="202847" y="455178"/>
                </a:cubicBezTo>
                <a:cubicBezTo>
                  <a:pt x="202847" y="444561"/>
                  <a:pt x="193730" y="435461"/>
                  <a:pt x="182333" y="435461"/>
                </a:cubicBezTo>
                <a:close/>
                <a:moveTo>
                  <a:pt x="506562" y="414985"/>
                </a:moveTo>
                <a:cubicBezTo>
                  <a:pt x="528588" y="414985"/>
                  <a:pt x="546816" y="433186"/>
                  <a:pt x="546816" y="455178"/>
                </a:cubicBezTo>
                <a:cubicBezTo>
                  <a:pt x="546816" y="477929"/>
                  <a:pt x="528588" y="496130"/>
                  <a:pt x="506562" y="496130"/>
                </a:cubicBezTo>
                <a:cubicBezTo>
                  <a:pt x="483777" y="496130"/>
                  <a:pt x="465549" y="477929"/>
                  <a:pt x="465549" y="455178"/>
                </a:cubicBezTo>
                <a:cubicBezTo>
                  <a:pt x="465549" y="433186"/>
                  <a:pt x="483777" y="414985"/>
                  <a:pt x="506562" y="414985"/>
                </a:cubicBezTo>
                <a:close/>
                <a:moveTo>
                  <a:pt x="344122" y="414985"/>
                </a:moveTo>
                <a:cubicBezTo>
                  <a:pt x="366907" y="414985"/>
                  <a:pt x="385135" y="433186"/>
                  <a:pt x="385135" y="455178"/>
                </a:cubicBezTo>
                <a:cubicBezTo>
                  <a:pt x="385135" y="477929"/>
                  <a:pt x="366907" y="496130"/>
                  <a:pt x="344122" y="496130"/>
                </a:cubicBezTo>
                <a:cubicBezTo>
                  <a:pt x="322096" y="496130"/>
                  <a:pt x="303868" y="477929"/>
                  <a:pt x="303868" y="455178"/>
                </a:cubicBezTo>
                <a:cubicBezTo>
                  <a:pt x="303868" y="433186"/>
                  <a:pt x="322096" y="414985"/>
                  <a:pt x="344122" y="414985"/>
                </a:cubicBezTo>
                <a:close/>
                <a:moveTo>
                  <a:pt x="182333" y="414985"/>
                </a:moveTo>
                <a:cubicBezTo>
                  <a:pt x="204366" y="414985"/>
                  <a:pt x="222601" y="433186"/>
                  <a:pt x="222601" y="455178"/>
                </a:cubicBezTo>
                <a:cubicBezTo>
                  <a:pt x="222601" y="477929"/>
                  <a:pt x="204366" y="496130"/>
                  <a:pt x="182333" y="496130"/>
                </a:cubicBezTo>
                <a:cubicBezTo>
                  <a:pt x="160300" y="496130"/>
                  <a:pt x="142065" y="477929"/>
                  <a:pt x="142065" y="455178"/>
                </a:cubicBezTo>
                <a:cubicBezTo>
                  <a:pt x="142065" y="433186"/>
                  <a:pt x="160300" y="414985"/>
                  <a:pt x="182333" y="414985"/>
                </a:cubicBezTo>
                <a:close/>
                <a:moveTo>
                  <a:pt x="243070" y="314102"/>
                </a:moveTo>
                <a:lnTo>
                  <a:pt x="344075" y="314102"/>
                </a:lnTo>
                <a:lnTo>
                  <a:pt x="344075" y="333840"/>
                </a:lnTo>
                <a:lnTo>
                  <a:pt x="243070" y="333840"/>
                </a:lnTo>
                <a:close/>
                <a:moveTo>
                  <a:pt x="243070" y="273164"/>
                </a:moveTo>
                <a:lnTo>
                  <a:pt x="283277" y="273164"/>
                </a:lnTo>
                <a:lnTo>
                  <a:pt x="283277" y="293633"/>
                </a:lnTo>
                <a:lnTo>
                  <a:pt x="243070" y="293633"/>
                </a:lnTo>
                <a:close/>
                <a:moveTo>
                  <a:pt x="445811" y="263295"/>
                </a:moveTo>
                <a:lnTo>
                  <a:pt x="465565" y="263295"/>
                </a:lnTo>
                <a:lnTo>
                  <a:pt x="465565" y="293637"/>
                </a:lnTo>
                <a:lnTo>
                  <a:pt x="506593" y="293637"/>
                </a:lnTo>
                <a:lnTo>
                  <a:pt x="506593" y="263295"/>
                </a:lnTo>
                <a:lnTo>
                  <a:pt x="526347" y="263295"/>
                </a:lnTo>
                <a:lnTo>
                  <a:pt x="526347" y="303498"/>
                </a:lnTo>
                <a:cubicBezTo>
                  <a:pt x="526347" y="309566"/>
                  <a:pt x="522548" y="314118"/>
                  <a:pt x="516470" y="314118"/>
                </a:cubicBezTo>
                <a:lnTo>
                  <a:pt x="495956" y="314118"/>
                </a:lnTo>
                <a:lnTo>
                  <a:pt x="495956" y="333840"/>
                </a:lnTo>
                <a:lnTo>
                  <a:pt x="476202" y="333840"/>
                </a:lnTo>
                <a:lnTo>
                  <a:pt x="476202" y="314118"/>
                </a:lnTo>
                <a:lnTo>
                  <a:pt x="455688" y="314118"/>
                </a:lnTo>
                <a:cubicBezTo>
                  <a:pt x="449610" y="314118"/>
                  <a:pt x="445811" y="309566"/>
                  <a:pt x="445811" y="303498"/>
                </a:cubicBezTo>
                <a:close/>
                <a:moveTo>
                  <a:pt x="212665" y="132000"/>
                </a:moveTo>
                <a:lnTo>
                  <a:pt x="212665" y="364137"/>
                </a:lnTo>
                <a:lnTo>
                  <a:pt x="556726" y="364137"/>
                </a:lnTo>
                <a:lnTo>
                  <a:pt x="556726" y="132000"/>
                </a:lnTo>
                <a:lnTo>
                  <a:pt x="445837" y="132000"/>
                </a:lnTo>
                <a:lnTo>
                  <a:pt x="445837" y="172206"/>
                </a:lnTo>
                <a:cubicBezTo>
                  <a:pt x="445837" y="178275"/>
                  <a:pt x="441280" y="182069"/>
                  <a:pt x="435204" y="182069"/>
                </a:cubicBezTo>
                <a:lnTo>
                  <a:pt x="334188" y="182069"/>
                </a:lnTo>
                <a:cubicBezTo>
                  <a:pt x="328112" y="182069"/>
                  <a:pt x="324314" y="178275"/>
                  <a:pt x="324314" y="172206"/>
                </a:cubicBezTo>
                <a:lnTo>
                  <a:pt x="324314" y="132000"/>
                </a:lnTo>
                <a:close/>
                <a:moveTo>
                  <a:pt x="445837" y="60690"/>
                </a:moveTo>
                <a:lnTo>
                  <a:pt x="445837" y="111517"/>
                </a:lnTo>
                <a:lnTo>
                  <a:pt x="556726" y="111517"/>
                </a:lnTo>
                <a:lnTo>
                  <a:pt x="556726" y="60690"/>
                </a:lnTo>
                <a:close/>
                <a:moveTo>
                  <a:pt x="344061" y="60690"/>
                </a:moveTo>
                <a:lnTo>
                  <a:pt x="344061" y="162344"/>
                </a:lnTo>
                <a:lnTo>
                  <a:pt x="425330" y="162344"/>
                </a:lnTo>
                <a:lnTo>
                  <a:pt x="425330" y="60690"/>
                </a:lnTo>
                <a:close/>
                <a:moveTo>
                  <a:pt x="212665" y="60690"/>
                </a:moveTo>
                <a:lnTo>
                  <a:pt x="212665" y="111517"/>
                </a:lnTo>
                <a:lnTo>
                  <a:pt x="324314" y="111517"/>
                </a:lnTo>
                <a:lnTo>
                  <a:pt x="324314" y="60690"/>
                </a:lnTo>
                <a:close/>
                <a:moveTo>
                  <a:pt x="20507" y="20483"/>
                </a:moveTo>
                <a:lnTo>
                  <a:pt x="20507" y="50827"/>
                </a:lnTo>
                <a:lnTo>
                  <a:pt x="81268" y="50827"/>
                </a:lnTo>
                <a:lnTo>
                  <a:pt x="81268" y="20483"/>
                </a:lnTo>
                <a:close/>
                <a:moveTo>
                  <a:pt x="9874" y="0"/>
                </a:moveTo>
                <a:lnTo>
                  <a:pt x="91142" y="0"/>
                </a:lnTo>
                <a:lnTo>
                  <a:pt x="151903" y="0"/>
                </a:lnTo>
                <a:cubicBezTo>
                  <a:pt x="157980" y="0"/>
                  <a:pt x="161777" y="4552"/>
                  <a:pt x="161777" y="10621"/>
                </a:cubicBezTo>
                <a:lnTo>
                  <a:pt x="161777" y="364137"/>
                </a:lnTo>
                <a:lnTo>
                  <a:pt x="192158" y="364137"/>
                </a:lnTo>
                <a:lnTo>
                  <a:pt x="192158" y="50827"/>
                </a:lnTo>
                <a:cubicBezTo>
                  <a:pt x="192158" y="44759"/>
                  <a:pt x="196715" y="40965"/>
                  <a:pt x="202791" y="40965"/>
                </a:cubicBezTo>
                <a:lnTo>
                  <a:pt x="334188" y="40965"/>
                </a:lnTo>
                <a:lnTo>
                  <a:pt x="435204" y="40965"/>
                </a:lnTo>
                <a:lnTo>
                  <a:pt x="567360" y="40965"/>
                </a:lnTo>
                <a:cubicBezTo>
                  <a:pt x="573436" y="40965"/>
                  <a:pt x="577233" y="44759"/>
                  <a:pt x="577233" y="50827"/>
                </a:cubicBezTo>
                <a:lnTo>
                  <a:pt x="577233" y="364137"/>
                </a:lnTo>
                <a:lnTo>
                  <a:pt x="597740" y="364137"/>
                </a:lnTo>
                <a:cubicBezTo>
                  <a:pt x="603816" y="364137"/>
                  <a:pt x="607614" y="368689"/>
                  <a:pt x="607614" y="374758"/>
                </a:cubicBezTo>
                <a:lnTo>
                  <a:pt x="607614" y="455171"/>
                </a:lnTo>
                <a:cubicBezTo>
                  <a:pt x="607614" y="461240"/>
                  <a:pt x="603816" y="465792"/>
                  <a:pt x="597740" y="465792"/>
                </a:cubicBezTo>
                <a:lnTo>
                  <a:pt x="556726" y="465792"/>
                </a:lnTo>
                <a:lnTo>
                  <a:pt x="556726" y="445309"/>
                </a:lnTo>
                <a:lnTo>
                  <a:pt x="587107" y="445309"/>
                </a:lnTo>
                <a:lnTo>
                  <a:pt x="587107" y="384620"/>
                </a:lnTo>
                <a:lnTo>
                  <a:pt x="567360" y="384620"/>
                </a:lnTo>
                <a:lnTo>
                  <a:pt x="202791" y="384620"/>
                </a:lnTo>
                <a:lnTo>
                  <a:pt x="151903" y="384620"/>
                </a:lnTo>
                <a:lnTo>
                  <a:pt x="121523" y="384620"/>
                </a:lnTo>
                <a:lnTo>
                  <a:pt x="121523" y="364137"/>
                </a:lnTo>
                <a:lnTo>
                  <a:pt x="142030" y="364137"/>
                </a:lnTo>
                <a:lnTo>
                  <a:pt x="142030" y="20483"/>
                </a:lnTo>
                <a:lnTo>
                  <a:pt x="101016" y="20483"/>
                </a:lnTo>
                <a:lnTo>
                  <a:pt x="101016" y="445309"/>
                </a:lnTo>
                <a:lnTo>
                  <a:pt x="131397" y="445309"/>
                </a:lnTo>
                <a:lnTo>
                  <a:pt x="131397" y="465792"/>
                </a:lnTo>
                <a:lnTo>
                  <a:pt x="91142" y="465792"/>
                </a:lnTo>
                <a:cubicBezTo>
                  <a:pt x="85066" y="465792"/>
                  <a:pt x="81268" y="461240"/>
                  <a:pt x="81268" y="455171"/>
                </a:cubicBezTo>
                <a:lnTo>
                  <a:pt x="81268" y="71310"/>
                </a:lnTo>
                <a:lnTo>
                  <a:pt x="9874" y="71310"/>
                </a:lnTo>
                <a:cubicBezTo>
                  <a:pt x="3798" y="71310"/>
                  <a:pt x="0" y="66758"/>
                  <a:pt x="0" y="60690"/>
                </a:cubicBezTo>
                <a:lnTo>
                  <a:pt x="0" y="10621"/>
                </a:lnTo>
                <a:cubicBezTo>
                  <a:pt x="0" y="4552"/>
                  <a:pt x="3798" y="0"/>
                  <a:pt x="98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9427F3A7-C237-4E45-BB1E-B34A4B69B49A}"/>
              </a:ext>
            </a:extLst>
          </p:cNvPr>
          <p:cNvSpPr/>
          <p:nvPr/>
        </p:nvSpPr>
        <p:spPr>
          <a:xfrm>
            <a:off x="330200" y="3728245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1AED2FEF-4D70-42FD-A6CC-6607F9946A4F}"/>
              </a:ext>
            </a:extLst>
          </p:cNvPr>
          <p:cNvSpPr txBox="1"/>
          <p:nvPr/>
        </p:nvSpPr>
        <p:spPr>
          <a:xfrm>
            <a:off x="330200" y="4192197"/>
            <a:ext cx="4201836" cy="874527"/>
          </a:xfrm>
          <a:prstGeom prst="rect">
            <a:avLst/>
          </a:prstGeom>
          <a:noFill/>
        </p:spPr>
        <p:txBody>
          <a:bodyPr wrap="squar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00000"/>
              </a:lnSpc>
              <a:spcBef>
                <a:spcPts val="60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局部识别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只识别部分区域的字符</a:t>
            </a:r>
          </a:p>
          <a:p>
            <a:r>
              <a:rPr lang="zh-CN" altLang="zh-CN" dirty="0"/>
              <a:t>光线差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光线暗淡，取图质量差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E58822E0-C7D9-4FF1-96E6-6223E7B139ED}"/>
              </a:ext>
            </a:extLst>
          </p:cNvPr>
          <p:cNvSpPr txBox="1"/>
          <p:nvPr/>
        </p:nvSpPr>
        <p:spPr>
          <a:xfrm>
            <a:off x="534194" y="3847746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>
            <a:defPPr>
              <a:defRPr lang="zh-CN"/>
            </a:defPPr>
            <a:lvl1pPr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zh-CN" sz="1600" b="1" dirty="0">
                <a:solidFill>
                  <a:schemeClr val="accent2"/>
                </a:solidFill>
              </a:rPr>
              <a:t>项目难点</a:t>
            </a:r>
          </a:p>
        </p:txBody>
      </p: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EE3A312D-8A93-49C6-BC25-67EF3F42732A}"/>
              </a:ext>
            </a:extLst>
          </p:cNvPr>
          <p:cNvSpPr/>
          <p:nvPr/>
        </p:nvSpPr>
        <p:spPr>
          <a:xfrm>
            <a:off x="330200" y="2081667"/>
            <a:ext cx="3996000" cy="1440000"/>
          </a:xfrm>
          <a:prstGeom prst="roundRect">
            <a:avLst>
              <a:gd name="adj" fmla="val 5000"/>
            </a:avLst>
          </a:prstGeom>
          <a:solidFill>
            <a:srgbClr val="F5F5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E59F2A75-6AC2-4CA7-9074-123A02F72840}"/>
              </a:ext>
            </a:extLst>
          </p:cNvPr>
          <p:cNvSpPr txBox="1"/>
          <p:nvPr/>
        </p:nvSpPr>
        <p:spPr>
          <a:xfrm>
            <a:off x="330200" y="2524664"/>
            <a:ext cx="3995308" cy="754053"/>
          </a:xfrm>
          <a:prstGeom prst="rect">
            <a:avLst/>
          </a:prstGeom>
          <a:noFill/>
        </p:spPr>
        <p:txBody>
          <a:bodyPr wrap="none" lIns="180000">
            <a:noAutofit/>
          </a:bodyPr>
          <a:lstStyle>
            <a:defPPr>
              <a:defRPr lang="zh-CN"/>
            </a:defPPr>
            <a:lvl1pPr lvl="0" defTabSz="825500">
              <a:lnSpc>
                <a:spcPct val="130000"/>
              </a:lnSpc>
              <a:spcBef>
                <a:spcPts val="0"/>
              </a:spcBef>
              <a:defRPr sz="1100" b="1" kern="0">
                <a:latin typeface="+mj-ea"/>
                <a:ea typeface="+mj-ea"/>
              </a:defRPr>
            </a:lvl1pPr>
            <a:lvl2pPr lvl="1">
              <a:defRPr>
                <a:latin typeface="Calibri" panose="020F0502020204030204"/>
                <a:ea typeface="微软雅黑" panose="020B0503020204020204" charset="-122"/>
              </a:defRPr>
            </a:lvl2pPr>
            <a:lvl3pPr lvl="2">
              <a:defRPr>
                <a:latin typeface="Calibri" panose="020F0502020204030204"/>
                <a:ea typeface="微软雅黑" panose="020B0503020204020204" charset="-122"/>
              </a:defRPr>
            </a:lvl3pPr>
            <a:lvl4pPr lvl="3">
              <a:defRPr>
                <a:latin typeface="Calibri" panose="020F0502020204030204"/>
                <a:ea typeface="微软雅黑" panose="020B0503020204020204" charset="-122"/>
              </a:defRPr>
            </a:lvl4pPr>
            <a:lvl5pPr lvl="4">
              <a:defRPr>
                <a:latin typeface="Calibri" panose="020F0502020204030204"/>
                <a:ea typeface="微软雅黑" panose="020B0503020204020204" charset="-122"/>
              </a:defRPr>
            </a:lvl5pPr>
            <a:lvl6pPr lvl="5">
              <a:defRPr>
                <a:latin typeface="Calibri" panose="020F0502020204030204"/>
                <a:ea typeface="微软雅黑" panose="020B0503020204020204" charset="-122"/>
              </a:defRPr>
            </a:lvl6pPr>
            <a:lvl7pPr lvl="6">
              <a:defRPr>
                <a:latin typeface="Calibri" panose="020F0502020204030204"/>
                <a:ea typeface="微软雅黑" panose="020B0503020204020204" charset="-122"/>
              </a:defRPr>
            </a:lvl7pPr>
            <a:lvl8pPr lvl="7">
              <a:defRPr>
                <a:latin typeface="Calibri" panose="020F0502020204030204"/>
                <a:ea typeface="微软雅黑" panose="020B0503020204020204" charset="-122"/>
              </a:defRPr>
            </a:lvl8pPr>
            <a:lvl9pPr lvl="8">
              <a:defRPr>
                <a:latin typeface="Calibri" panose="020F0502020204030204"/>
                <a:ea typeface="微软雅黑" panose="020B0503020204020204" charset="-122"/>
              </a:defRPr>
            </a:lvl9pPr>
          </a:lstStyle>
          <a:p>
            <a:r>
              <a:rPr lang="zh-CN" altLang="zh-CN" dirty="0"/>
              <a:t>项目内容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DHL快递单编号识别</a:t>
            </a:r>
          </a:p>
          <a:p>
            <a:r>
              <a:rPr lang="zh-CN" altLang="zh-CN" dirty="0"/>
              <a:t>字符组成</a:t>
            </a:r>
            <a:r>
              <a:rPr lang="zh-CN" altLang="zh-CN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US-CID-CID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0D583106-6F55-4DEC-9E37-83B5DFF9FFD2}"/>
              </a:ext>
            </a:extLst>
          </p:cNvPr>
          <p:cNvSpPr txBox="1"/>
          <p:nvPr/>
        </p:nvSpPr>
        <p:spPr>
          <a:xfrm>
            <a:off x="534194" y="2186563"/>
            <a:ext cx="1167531" cy="338554"/>
          </a:xfrm>
          <a:prstGeom prst="rect">
            <a:avLst/>
          </a:prstGeom>
          <a:noFill/>
        </p:spPr>
        <p:txBody>
          <a:bodyPr wrap="none" lIns="252000">
            <a:spAutoFit/>
          </a:bodyPr>
          <a:lstStyle/>
          <a:p>
            <a:r>
              <a:rPr lang="zh-CN" altLang="zh-CN" sz="1600" b="1" dirty="0">
                <a:solidFill>
                  <a:schemeClr val="accent1"/>
                </a:solidFill>
                <a:latin typeface="+mj-ea"/>
                <a:ea typeface="+mj-ea"/>
              </a:rPr>
              <a:t>项目内容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9A4A1B77-2FDE-400B-AEB2-334E0971D56B}"/>
              </a:ext>
            </a:extLst>
          </p:cNvPr>
          <p:cNvGrpSpPr/>
          <p:nvPr/>
        </p:nvGrpSpPr>
        <p:grpSpPr>
          <a:xfrm>
            <a:off x="511064" y="2258799"/>
            <a:ext cx="208074" cy="208074"/>
            <a:chOff x="804750" y="1099366"/>
            <a:chExt cx="377825" cy="377825"/>
          </a:xfrm>
        </p:grpSpPr>
        <p:sp>
          <p:nvSpPr>
            <p:cNvPr id="68" name="矩形: 圆角 67">
              <a:extLst>
                <a:ext uri="{FF2B5EF4-FFF2-40B4-BE49-F238E27FC236}">
                  <a16:creationId xmlns:a16="http://schemas.microsoft.com/office/drawing/2014/main" id="{37F9CF5F-5757-4141-8E6D-7C8D61006836}"/>
                </a:ext>
              </a:extLst>
            </p:cNvPr>
            <p:cNvSpPr/>
            <p:nvPr/>
          </p:nvSpPr>
          <p:spPr>
            <a:xfrm>
              <a:off x="804750" y="1099366"/>
              <a:ext cx="377825" cy="377825"/>
            </a:xfrm>
            <a:prstGeom prst="round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" name="iconfont-11673-5560736">
              <a:extLst>
                <a:ext uri="{FF2B5EF4-FFF2-40B4-BE49-F238E27FC236}">
                  <a16:creationId xmlns:a16="http://schemas.microsoft.com/office/drawing/2014/main" id="{D348D02A-AD52-4A02-A2A6-A1168BEE3367}"/>
                </a:ext>
              </a:extLst>
            </p:cNvPr>
            <p:cNvSpPr/>
            <p:nvPr/>
          </p:nvSpPr>
          <p:spPr>
            <a:xfrm>
              <a:off x="857024" y="1150778"/>
              <a:ext cx="273276" cy="275000"/>
            </a:xfrm>
            <a:custGeom>
              <a:avLst/>
              <a:gdLst>
                <a:gd name="connsiteX0" fmla="*/ 25955 w 601085"/>
                <a:gd name="connsiteY0" fmla="*/ 393335 h 604881"/>
                <a:gd name="connsiteX1" fmla="*/ 39810 w 601085"/>
                <a:gd name="connsiteY1" fmla="*/ 397178 h 604881"/>
                <a:gd name="connsiteX2" fmla="*/ 35967 w 601085"/>
                <a:gd name="connsiteY2" fmla="*/ 411035 h 604881"/>
                <a:gd name="connsiteX3" fmla="*/ 20308 w 601085"/>
                <a:gd name="connsiteY3" fmla="*/ 430680 h 604881"/>
                <a:gd name="connsiteX4" fmla="*/ 35967 w 601085"/>
                <a:gd name="connsiteY4" fmla="*/ 450373 h 604881"/>
                <a:gd name="connsiteX5" fmla="*/ 255039 w 601085"/>
                <a:gd name="connsiteY5" fmla="*/ 574084 h 604881"/>
                <a:gd name="connsiteX6" fmla="*/ 345999 w 601085"/>
                <a:gd name="connsiteY6" fmla="*/ 574084 h 604881"/>
                <a:gd name="connsiteX7" fmla="*/ 565119 w 601085"/>
                <a:gd name="connsiteY7" fmla="*/ 450373 h 604881"/>
                <a:gd name="connsiteX8" fmla="*/ 580777 w 601085"/>
                <a:gd name="connsiteY8" fmla="*/ 430680 h 604881"/>
                <a:gd name="connsiteX9" fmla="*/ 565119 w 601085"/>
                <a:gd name="connsiteY9" fmla="*/ 411035 h 604881"/>
                <a:gd name="connsiteX10" fmla="*/ 561845 w 601085"/>
                <a:gd name="connsiteY10" fmla="*/ 397558 h 604881"/>
                <a:gd name="connsiteX11" fmla="*/ 575083 w 601085"/>
                <a:gd name="connsiteY11" fmla="*/ 393382 h 604881"/>
                <a:gd name="connsiteX12" fmla="*/ 601085 w 601085"/>
                <a:gd name="connsiteY12" fmla="*/ 430680 h 604881"/>
                <a:gd name="connsiteX13" fmla="*/ 575083 w 601085"/>
                <a:gd name="connsiteY13" fmla="*/ 468026 h 604881"/>
                <a:gd name="connsiteX14" fmla="*/ 356011 w 601085"/>
                <a:gd name="connsiteY14" fmla="*/ 591737 h 604881"/>
                <a:gd name="connsiteX15" fmla="*/ 300543 w 601085"/>
                <a:gd name="connsiteY15" fmla="*/ 604881 h 604881"/>
                <a:gd name="connsiteX16" fmla="*/ 245075 w 601085"/>
                <a:gd name="connsiteY16" fmla="*/ 591737 h 604881"/>
                <a:gd name="connsiteX17" fmla="*/ 26002 w 601085"/>
                <a:gd name="connsiteY17" fmla="*/ 468026 h 604881"/>
                <a:gd name="connsiteX18" fmla="*/ 0 w 601085"/>
                <a:gd name="connsiteY18" fmla="*/ 430680 h 604881"/>
                <a:gd name="connsiteX19" fmla="*/ 25955 w 601085"/>
                <a:gd name="connsiteY19" fmla="*/ 393335 h 604881"/>
                <a:gd name="connsiteX20" fmla="*/ 25953 w 601085"/>
                <a:gd name="connsiteY20" fmla="*/ 266067 h 604881"/>
                <a:gd name="connsiteX21" fmla="*/ 39807 w 601085"/>
                <a:gd name="connsiteY21" fmla="*/ 269911 h 604881"/>
                <a:gd name="connsiteX22" fmla="*/ 35964 w 601085"/>
                <a:gd name="connsiteY22" fmla="*/ 283720 h 604881"/>
                <a:gd name="connsiteX23" fmla="*/ 20307 w 601085"/>
                <a:gd name="connsiteY23" fmla="*/ 303366 h 604881"/>
                <a:gd name="connsiteX24" fmla="*/ 35964 w 601085"/>
                <a:gd name="connsiteY24" fmla="*/ 323059 h 604881"/>
                <a:gd name="connsiteX25" fmla="*/ 255017 w 601085"/>
                <a:gd name="connsiteY25" fmla="*/ 446723 h 604881"/>
                <a:gd name="connsiteX26" fmla="*/ 345969 w 601085"/>
                <a:gd name="connsiteY26" fmla="*/ 446723 h 604881"/>
                <a:gd name="connsiteX27" fmla="*/ 565070 w 601085"/>
                <a:gd name="connsiteY27" fmla="*/ 323059 h 604881"/>
                <a:gd name="connsiteX28" fmla="*/ 580727 w 601085"/>
                <a:gd name="connsiteY28" fmla="*/ 303366 h 604881"/>
                <a:gd name="connsiteX29" fmla="*/ 565070 w 601085"/>
                <a:gd name="connsiteY29" fmla="*/ 283720 h 604881"/>
                <a:gd name="connsiteX30" fmla="*/ 561797 w 601085"/>
                <a:gd name="connsiteY30" fmla="*/ 270243 h 604881"/>
                <a:gd name="connsiteX31" fmla="*/ 575034 w 601085"/>
                <a:gd name="connsiteY31" fmla="*/ 266067 h 604881"/>
                <a:gd name="connsiteX32" fmla="*/ 600986 w 601085"/>
                <a:gd name="connsiteY32" fmla="*/ 303366 h 604881"/>
                <a:gd name="connsiteX33" fmla="*/ 575034 w 601085"/>
                <a:gd name="connsiteY33" fmla="*/ 340712 h 604881"/>
                <a:gd name="connsiteX34" fmla="*/ 355933 w 601085"/>
                <a:gd name="connsiteY34" fmla="*/ 464423 h 604881"/>
                <a:gd name="connsiteX35" fmla="*/ 300470 w 601085"/>
                <a:gd name="connsiteY35" fmla="*/ 477567 h 604881"/>
                <a:gd name="connsiteX36" fmla="*/ 245006 w 601085"/>
                <a:gd name="connsiteY36" fmla="*/ 464423 h 604881"/>
                <a:gd name="connsiteX37" fmla="*/ 25953 w 601085"/>
                <a:gd name="connsiteY37" fmla="*/ 340712 h 604881"/>
                <a:gd name="connsiteX38" fmla="*/ 0 w 601085"/>
                <a:gd name="connsiteY38" fmla="*/ 303366 h 604881"/>
                <a:gd name="connsiteX39" fmla="*/ 25953 w 601085"/>
                <a:gd name="connsiteY39" fmla="*/ 266067 h 604881"/>
                <a:gd name="connsiteX40" fmla="*/ 300495 w 601085"/>
                <a:gd name="connsiteY40" fmla="*/ 19799 h 604881"/>
                <a:gd name="connsiteX41" fmla="*/ 255039 w 601085"/>
                <a:gd name="connsiteY41" fmla="*/ 30238 h 604881"/>
                <a:gd name="connsiteX42" fmla="*/ 35967 w 601085"/>
                <a:gd name="connsiteY42" fmla="*/ 153941 h 604881"/>
                <a:gd name="connsiteX43" fmla="*/ 20308 w 601085"/>
                <a:gd name="connsiteY43" fmla="*/ 173633 h 604881"/>
                <a:gd name="connsiteX44" fmla="*/ 35967 w 601085"/>
                <a:gd name="connsiteY44" fmla="*/ 193278 h 604881"/>
                <a:gd name="connsiteX45" fmla="*/ 255039 w 601085"/>
                <a:gd name="connsiteY45" fmla="*/ 316934 h 604881"/>
                <a:gd name="connsiteX46" fmla="*/ 345999 w 601085"/>
                <a:gd name="connsiteY46" fmla="*/ 316934 h 604881"/>
                <a:gd name="connsiteX47" fmla="*/ 565119 w 601085"/>
                <a:gd name="connsiteY47" fmla="*/ 193278 h 604881"/>
                <a:gd name="connsiteX48" fmla="*/ 580730 w 601085"/>
                <a:gd name="connsiteY48" fmla="*/ 173633 h 604881"/>
                <a:gd name="connsiteX49" fmla="*/ 565071 w 601085"/>
                <a:gd name="connsiteY49" fmla="*/ 153941 h 604881"/>
                <a:gd name="connsiteX50" fmla="*/ 345999 w 601085"/>
                <a:gd name="connsiteY50" fmla="*/ 30238 h 604881"/>
                <a:gd name="connsiteX51" fmla="*/ 300495 w 601085"/>
                <a:gd name="connsiteY51" fmla="*/ 19799 h 604881"/>
                <a:gd name="connsiteX52" fmla="*/ 300543 w 601085"/>
                <a:gd name="connsiteY52" fmla="*/ 0 h 604881"/>
                <a:gd name="connsiteX53" fmla="*/ 356011 w 601085"/>
                <a:gd name="connsiteY53" fmla="*/ 12634 h 604881"/>
                <a:gd name="connsiteX54" fmla="*/ 575083 w 601085"/>
                <a:gd name="connsiteY54" fmla="*/ 136290 h 604881"/>
                <a:gd name="connsiteX55" fmla="*/ 601085 w 601085"/>
                <a:gd name="connsiteY55" fmla="*/ 173633 h 604881"/>
                <a:gd name="connsiteX56" fmla="*/ 575083 w 601085"/>
                <a:gd name="connsiteY56" fmla="*/ 210929 h 604881"/>
                <a:gd name="connsiteX57" fmla="*/ 356011 w 601085"/>
                <a:gd name="connsiteY57" fmla="*/ 334585 h 604881"/>
                <a:gd name="connsiteX58" fmla="*/ 300543 w 601085"/>
                <a:gd name="connsiteY58" fmla="*/ 347682 h 604881"/>
                <a:gd name="connsiteX59" fmla="*/ 245075 w 601085"/>
                <a:gd name="connsiteY59" fmla="*/ 334585 h 604881"/>
                <a:gd name="connsiteX60" fmla="*/ 26002 w 601085"/>
                <a:gd name="connsiteY60" fmla="*/ 210929 h 604881"/>
                <a:gd name="connsiteX61" fmla="*/ 0 w 601085"/>
                <a:gd name="connsiteY61" fmla="*/ 173633 h 604881"/>
                <a:gd name="connsiteX62" fmla="*/ 26002 w 601085"/>
                <a:gd name="connsiteY62" fmla="*/ 136290 h 604881"/>
                <a:gd name="connsiteX63" fmla="*/ 245075 w 601085"/>
                <a:gd name="connsiteY63" fmla="*/ 12634 h 604881"/>
                <a:gd name="connsiteX64" fmla="*/ 300543 w 601085"/>
                <a:gd name="connsiteY64" fmla="*/ 0 h 60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01085" h="604881">
                  <a:moveTo>
                    <a:pt x="25955" y="393335"/>
                  </a:moveTo>
                  <a:cubicBezTo>
                    <a:pt x="30842" y="390582"/>
                    <a:pt x="37011" y="392291"/>
                    <a:pt x="39810" y="397178"/>
                  </a:cubicBezTo>
                  <a:cubicBezTo>
                    <a:pt x="42562" y="402066"/>
                    <a:pt x="40806" y="408235"/>
                    <a:pt x="35967" y="411035"/>
                  </a:cubicBezTo>
                  <a:cubicBezTo>
                    <a:pt x="26002" y="416634"/>
                    <a:pt x="20308" y="423800"/>
                    <a:pt x="20308" y="430680"/>
                  </a:cubicBezTo>
                  <a:cubicBezTo>
                    <a:pt x="20308" y="437561"/>
                    <a:pt x="26002" y="444726"/>
                    <a:pt x="35967" y="450373"/>
                  </a:cubicBezTo>
                  <a:lnTo>
                    <a:pt x="255039" y="574084"/>
                  </a:lnTo>
                  <a:cubicBezTo>
                    <a:pt x="279713" y="587988"/>
                    <a:pt x="321373" y="587988"/>
                    <a:pt x="345999" y="574084"/>
                  </a:cubicBezTo>
                  <a:lnTo>
                    <a:pt x="565119" y="450373"/>
                  </a:lnTo>
                  <a:cubicBezTo>
                    <a:pt x="575036" y="444726"/>
                    <a:pt x="580777" y="437561"/>
                    <a:pt x="580777" y="430680"/>
                  </a:cubicBezTo>
                  <a:cubicBezTo>
                    <a:pt x="580777" y="423847"/>
                    <a:pt x="575036" y="416634"/>
                    <a:pt x="565119" y="411035"/>
                  </a:cubicBezTo>
                  <a:cubicBezTo>
                    <a:pt x="560659" y="408093"/>
                    <a:pt x="559235" y="402208"/>
                    <a:pt x="561845" y="397558"/>
                  </a:cubicBezTo>
                  <a:cubicBezTo>
                    <a:pt x="564502" y="392907"/>
                    <a:pt x="570243" y="391057"/>
                    <a:pt x="575083" y="393382"/>
                  </a:cubicBezTo>
                  <a:cubicBezTo>
                    <a:pt x="591833" y="402825"/>
                    <a:pt x="601085" y="416065"/>
                    <a:pt x="601085" y="430680"/>
                  </a:cubicBezTo>
                  <a:cubicBezTo>
                    <a:pt x="601085" y="445296"/>
                    <a:pt x="591833" y="458583"/>
                    <a:pt x="575083" y="468026"/>
                  </a:cubicBezTo>
                  <a:lnTo>
                    <a:pt x="356011" y="591737"/>
                  </a:lnTo>
                  <a:cubicBezTo>
                    <a:pt x="340447" y="600516"/>
                    <a:pt x="320471" y="604881"/>
                    <a:pt x="300543" y="604881"/>
                  </a:cubicBezTo>
                  <a:cubicBezTo>
                    <a:pt x="280567" y="604881"/>
                    <a:pt x="260591" y="600468"/>
                    <a:pt x="245075" y="591737"/>
                  </a:cubicBezTo>
                  <a:lnTo>
                    <a:pt x="26002" y="468026"/>
                  </a:lnTo>
                  <a:cubicBezTo>
                    <a:pt x="9205" y="458583"/>
                    <a:pt x="0" y="445343"/>
                    <a:pt x="0" y="430680"/>
                  </a:cubicBezTo>
                  <a:cubicBezTo>
                    <a:pt x="0" y="416065"/>
                    <a:pt x="9253" y="402825"/>
                    <a:pt x="25955" y="393335"/>
                  </a:cubicBezTo>
                  <a:close/>
                  <a:moveTo>
                    <a:pt x="25953" y="266067"/>
                  </a:moveTo>
                  <a:cubicBezTo>
                    <a:pt x="30840" y="263268"/>
                    <a:pt x="37007" y="265024"/>
                    <a:pt x="39807" y="269911"/>
                  </a:cubicBezTo>
                  <a:cubicBezTo>
                    <a:pt x="42558" y="274751"/>
                    <a:pt x="40803" y="280968"/>
                    <a:pt x="35964" y="283720"/>
                  </a:cubicBezTo>
                  <a:cubicBezTo>
                    <a:pt x="26000" y="289320"/>
                    <a:pt x="20307" y="296532"/>
                    <a:pt x="20307" y="303366"/>
                  </a:cubicBezTo>
                  <a:cubicBezTo>
                    <a:pt x="20307" y="310246"/>
                    <a:pt x="26000" y="317412"/>
                    <a:pt x="35964" y="323059"/>
                  </a:cubicBezTo>
                  <a:lnTo>
                    <a:pt x="255017" y="446723"/>
                  </a:lnTo>
                  <a:cubicBezTo>
                    <a:pt x="279689" y="460674"/>
                    <a:pt x="321345" y="460626"/>
                    <a:pt x="345969" y="446723"/>
                  </a:cubicBezTo>
                  <a:lnTo>
                    <a:pt x="565070" y="323059"/>
                  </a:lnTo>
                  <a:cubicBezTo>
                    <a:pt x="574986" y="317412"/>
                    <a:pt x="580727" y="310246"/>
                    <a:pt x="580727" y="303366"/>
                  </a:cubicBezTo>
                  <a:cubicBezTo>
                    <a:pt x="580727" y="296532"/>
                    <a:pt x="574986" y="289320"/>
                    <a:pt x="565070" y="283720"/>
                  </a:cubicBezTo>
                  <a:cubicBezTo>
                    <a:pt x="560611" y="280778"/>
                    <a:pt x="559187" y="274894"/>
                    <a:pt x="561797" y="270243"/>
                  </a:cubicBezTo>
                  <a:cubicBezTo>
                    <a:pt x="564454" y="265593"/>
                    <a:pt x="570194" y="263742"/>
                    <a:pt x="575034" y="266067"/>
                  </a:cubicBezTo>
                  <a:cubicBezTo>
                    <a:pt x="591782" y="275511"/>
                    <a:pt x="600986" y="288750"/>
                    <a:pt x="600986" y="303366"/>
                  </a:cubicBezTo>
                  <a:cubicBezTo>
                    <a:pt x="600986" y="317981"/>
                    <a:pt x="591782" y="331268"/>
                    <a:pt x="575034" y="340712"/>
                  </a:cubicBezTo>
                  <a:lnTo>
                    <a:pt x="355933" y="464423"/>
                  </a:lnTo>
                  <a:cubicBezTo>
                    <a:pt x="340418" y="473202"/>
                    <a:pt x="320444" y="477567"/>
                    <a:pt x="300470" y="477567"/>
                  </a:cubicBezTo>
                  <a:cubicBezTo>
                    <a:pt x="280543" y="477567"/>
                    <a:pt x="260568" y="473154"/>
                    <a:pt x="245006" y="464423"/>
                  </a:cubicBezTo>
                  <a:lnTo>
                    <a:pt x="25953" y="340712"/>
                  </a:lnTo>
                  <a:cubicBezTo>
                    <a:pt x="9205" y="331268"/>
                    <a:pt x="0" y="317981"/>
                    <a:pt x="0" y="303366"/>
                  </a:cubicBezTo>
                  <a:cubicBezTo>
                    <a:pt x="0" y="288750"/>
                    <a:pt x="9205" y="275511"/>
                    <a:pt x="25953" y="266067"/>
                  </a:cubicBezTo>
                  <a:close/>
                  <a:moveTo>
                    <a:pt x="300495" y="19799"/>
                  </a:moveTo>
                  <a:cubicBezTo>
                    <a:pt x="283366" y="19799"/>
                    <a:pt x="266759" y="23595"/>
                    <a:pt x="255039" y="30238"/>
                  </a:cubicBezTo>
                  <a:lnTo>
                    <a:pt x="35967" y="153941"/>
                  </a:lnTo>
                  <a:cubicBezTo>
                    <a:pt x="26002" y="159588"/>
                    <a:pt x="20308" y="166706"/>
                    <a:pt x="20308" y="173633"/>
                  </a:cubicBezTo>
                  <a:cubicBezTo>
                    <a:pt x="20308" y="180466"/>
                    <a:pt x="26002" y="187679"/>
                    <a:pt x="35967" y="193278"/>
                  </a:cubicBezTo>
                  <a:lnTo>
                    <a:pt x="255039" y="316934"/>
                  </a:lnTo>
                  <a:cubicBezTo>
                    <a:pt x="278526" y="330220"/>
                    <a:pt x="322512" y="330220"/>
                    <a:pt x="345999" y="316934"/>
                  </a:cubicBezTo>
                  <a:lnTo>
                    <a:pt x="565119" y="193278"/>
                  </a:lnTo>
                  <a:cubicBezTo>
                    <a:pt x="575083" y="187679"/>
                    <a:pt x="580777" y="180466"/>
                    <a:pt x="580730" y="173633"/>
                  </a:cubicBezTo>
                  <a:cubicBezTo>
                    <a:pt x="580730" y="166706"/>
                    <a:pt x="575036" y="159540"/>
                    <a:pt x="565071" y="153941"/>
                  </a:cubicBezTo>
                  <a:lnTo>
                    <a:pt x="345999" y="30238"/>
                  </a:lnTo>
                  <a:cubicBezTo>
                    <a:pt x="334232" y="23642"/>
                    <a:pt x="317672" y="19799"/>
                    <a:pt x="300495" y="19799"/>
                  </a:cubicBezTo>
                  <a:close/>
                  <a:moveTo>
                    <a:pt x="300543" y="0"/>
                  </a:moveTo>
                  <a:cubicBezTo>
                    <a:pt x="320815" y="0"/>
                    <a:pt x="341088" y="4211"/>
                    <a:pt x="356011" y="12634"/>
                  </a:cubicBezTo>
                  <a:lnTo>
                    <a:pt x="575083" y="136290"/>
                  </a:lnTo>
                  <a:cubicBezTo>
                    <a:pt x="591833" y="145732"/>
                    <a:pt x="601085" y="159019"/>
                    <a:pt x="601085" y="173633"/>
                  </a:cubicBezTo>
                  <a:cubicBezTo>
                    <a:pt x="601085" y="188248"/>
                    <a:pt x="591833" y="201487"/>
                    <a:pt x="575083" y="210929"/>
                  </a:cubicBezTo>
                  <a:lnTo>
                    <a:pt x="356011" y="334585"/>
                  </a:lnTo>
                  <a:cubicBezTo>
                    <a:pt x="341064" y="343032"/>
                    <a:pt x="321373" y="347682"/>
                    <a:pt x="300543" y="347682"/>
                  </a:cubicBezTo>
                  <a:cubicBezTo>
                    <a:pt x="279665" y="347682"/>
                    <a:pt x="259974" y="343032"/>
                    <a:pt x="245075" y="334585"/>
                  </a:cubicBezTo>
                  <a:lnTo>
                    <a:pt x="26002" y="210929"/>
                  </a:lnTo>
                  <a:cubicBezTo>
                    <a:pt x="9253" y="201487"/>
                    <a:pt x="0" y="188248"/>
                    <a:pt x="0" y="173633"/>
                  </a:cubicBezTo>
                  <a:cubicBezTo>
                    <a:pt x="0" y="159019"/>
                    <a:pt x="9205" y="145732"/>
                    <a:pt x="26002" y="136290"/>
                  </a:cubicBezTo>
                  <a:lnTo>
                    <a:pt x="245075" y="12634"/>
                  </a:lnTo>
                  <a:cubicBezTo>
                    <a:pt x="259998" y="4211"/>
                    <a:pt x="280270" y="0"/>
                    <a:pt x="300543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A841E978-C584-4F71-86B8-A85692BD681A}"/>
              </a:ext>
            </a:extLst>
          </p:cNvPr>
          <p:cNvSpPr/>
          <p:nvPr/>
        </p:nvSpPr>
        <p:spPr>
          <a:xfrm>
            <a:off x="511064" y="3914879"/>
            <a:ext cx="208074" cy="20807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07C7C9D6-0973-479B-BB93-DEBC125D2F55}"/>
              </a:ext>
            </a:extLst>
          </p:cNvPr>
          <p:cNvSpPr/>
          <p:nvPr/>
        </p:nvSpPr>
        <p:spPr>
          <a:xfrm>
            <a:off x="584351" y="3959964"/>
            <a:ext cx="61501" cy="117905"/>
          </a:xfrm>
          <a:custGeom>
            <a:avLst/>
            <a:gdLst>
              <a:gd name="connsiteX0" fmla="*/ 94525 w 189052"/>
              <a:gd name="connsiteY0" fmla="*/ 313101 h 362437"/>
              <a:gd name="connsiteX1" fmla="*/ 119229 w 189052"/>
              <a:gd name="connsiteY1" fmla="*/ 337769 h 362437"/>
              <a:gd name="connsiteX2" fmla="*/ 94525 w 189052"/>
              <a:gd name="connsiteY2" fmla="*/ 362437 h 362437"/>
              <a:gd name="connsiteX3" fmla="*/ 69821 w 189052"/>
              <a:gd name="connsiteY3" fmla="*/ 337769 h 362437"/>
              <a:gd name="connsiteX4" fmla="*/ 94525 w 189052"/>
              <a:gd name="connsiteY4" fmla="*/ 313101 h 362437"/>
              <a:gd name="connsiteX5" fmla="*/ 94468 w 189052"/>
              <a:gd name="connsiteY5" fmla="*/ 0 h 362437"/>
              <a:gd name="connsiteX6" fmla="*/ 189052 w 189052"/>
              <a:gd name="connsiteY6" fmla="*/ 94417 h 362437"/>
              <a:gd name="connsiteX7" fmla="*/ 141008 w 189052"/>
              <a:gd name="connsiteY7" fmla="*/ 171152 h 362437"/>
              <a:gd name="connsiteX8" fmla="*/ 113802 w 189052"/>
              <a:gd name="connsiteY8" fmla="*/ 204089 h 362437"/>
              <a:gd name="connsiteX9" fmla="*/ 113802 w 189052"/>
              <a:gd name="connsiteY9" fmla="*/ 265801 h 362437"/>
              <a:gd name="connsiteX10" fmla="*/ 94468 w 189052"/>
              <a:gd name="connsiteY10" fmla="*/ 285100 h 362437"/>
              <a:gd name="connsiteX11" fmla="*/ 75250 w 189052"/>
              <a:gd name="connsiteY11" fmla="*/ 265801 h 362437"/>
              <a:gd name="connsiteX12" fmla="*/ 75250 w 189052"/>
              <a:gd name="connsiteY12" fmla="*/ 204089 h 362437"/>
              <a:gd name="connsiteX13" fmla="*/ 116464 w 189052"/>
              <a:gd name="connsiteY13" fmla="*/ 141337 h 362437"/>
              <a:gd name="connsiteX14" fmla="*/ 150501 w 189052"/>
              <a:gd name="connsiteY14" fmla="*/ 94417 h 362437"/>
              <a:gd name="connsiteX15" fmla="*/ 94468 w 189052"/>
              <a:gd name="connsiteY15" fmla="*/ 38599 h 362437"/>
              <a:gd name="connsiteX16" fmla="*/ 38551 w 189052"/>
              <a:gd name="connsiteY16" fmla="*/ 94417 h 362437"/>
              <a:gd name="connsiteX17" fmla="*/ 19218 w 189052"/>
              <a:gd name="connsiteY17" fmla="*/ 113716 h 362437"/>
              <a:gd name="connsiteX18" fmla="*/ 0 w 189052"/>
              <a:gd name="connsiteY18" fmla="*/ 94417 h 362437"/>
              <a:gd name="connsiteX19" fmla="*/ 94468 w 189052"/>
              <a:gd name="connsiteY19" fmla="*/ 0 h 3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9052" h="362437">
                <a:moveTo>
                  <a:pt x="94525" y="313101"/>
                </a:moveTo>
                <a:cubicBezTo>
                  <a:pt x="108169" y="313101"/>
                  <a:pt x="119229" y="324145"/>
                  <a:pt x="119229" y="337769"/>
                </a:cubicBezTo>
                <a:cubicBezTo>
                  <a:pt x="119229" y="351392"/>
                  <a:pt x="108169" y="362437"/>
                  <a:pt x="94525" y="362437"/>
                </a:cubicBezTo>
                <a:cubicBezTo>
                  <a:pt x="80881" y="362437"/>
                  <a:pt x="69821" y="351392"/>
                  <a:pt x="69821" y="337769"/>
                </a:cubicBezTo>
                <a:cubicBezTo>
                  <a:pt x="69821" y="324145"/>
                  <a:pt x="80881" y="313101"/>
                  <a:pt x="94525" y="313101"/>
                </a:cubicBezTo>
                <a:close/>
                <a:moveTo>
                  <a:pt x="94468" y="0"/>
                </a:moveTo>
                <a:cubicBezTo>
                  <a:pt x="146680" y="0"/>
                  <a:pt x="189052" y="42412"/>
                  <a:pt x="189052" y="94417"/>
                </a:cubicBezTo>
                <a:cubicBezTo>
                  <a:pt x="189052" y="131629"/>
                  <a:pt x="162424" y="153471"/>
                  <a:pt x="141008" y="171152"/>
                </a:cubicBezTo>
                <a:cubicBezTo>
                  <a:pt x="126421" y="183171"/>
                  <a:pt x="113802" y="193572"/>
                  <a:pt x="113802" y="204089"/>
                </a:cubicBezTo>
                <a:lnTo>
                  <a:pt x="113802" y="265801"/>
                </a:lnTo>
                <a:cubicBezTo>
                  <a:pt x="113802" y="276433"/>
                  <a:pt x="105119" y="285100"/>
                  <a:pt x="94468" y="285100"/>
                </a:cubicBezTo>
                <a:cubicBezTo>
                  <a:pt x="83818" y="285100"/>
                  <a:pt x="75250" y="276433"/>
                  <a:pt x="75250" y="265801"/>
                </a:cubicBezTo>
                <a:lnTo>
                  <a:pt x="75250" y="204089"/>
                </a:lnTo>
                <a:cubicBezTo>
                  <a:pt x="75250" y="175313"/>
                  <a:pt x="97131" y="157284"/>
                  <a:pt x="116464" y="141337"/>
                </a:cubicBezTo>
                <a:cubicBezTo>
                  <a:pt x="137650" y="124001"/>
                  <a:pt x="150501" y="112099"/>
                  <a:pt x="150501" y="94417"/>
                </a:cubicBezTo>
                <a:cubicBezTo>
                  <a:pt x="150501" y="63676"/>
                  <a:pt x="125378" y="38599"/>
                  <a:pt x="94468" y="38599"/>
                </a:cubicBezTo>
                <a:cubicBezTo>
                  <a:pt x="63674" y="38599"/>
                  <a:pt x="38551" y="63676"/>
                  <a:pt x="38551" y="94417"/>
                </a:cubicBezTo>
                <a:cubicBezTo>
                  <a:pt x="38551" y="105049"/>
                  <a:pt x="29869" y="113716"/>
                  <a:pt x="19218" y="113716"/>
                </a:cubicBezTo>
                <a:cubicBezTo>
                  <a:pt x="8567" y="113716"/>
                  <a:pt x="0" y="105049"/>
                  <a:pt x="0" y="94417"/>
                </a:cubicBezTo>
                <a:cubicBezTo>
                  <a:pt x="0" y="42412"/>
                  <a:pt x="42372" y="0"/>
                  <a:pt x="944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1A21FF30-229D-4C7F-96CE-5CA8947CCB61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" t="2583" r="699" b="2583"/>
          <a:stretch/>
        </p:blipFill>
        <p:spPr>
          <a:xfrm>
            <a:off x="4695716" y="2568064"/>
            <a:ext cx="2609860" cy="828341"/>
          </a:xfrm>
          <a:prstGeom prst="rect">
            <a:avLst/>
          </a:prstGeom>
        </p:spPr>
      </p:pic>
      <p:pic>
        <p:nvPicPr>
          <p:cNvPr id="72" name="图片 71">
            <a:extLst>
              <a:ext uri="{FF2B5EF4-FFF2-40B4-BE49-F238E27FC236}">
                <a16:creationId xmlns:a16="http://schemas.microsoft.com/office/drawing/2014/main" id="{65058025-6972-45F9-9451-FA026AAF8F8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" t="18666" r="38921"/>
          <a:stretch/>
        </p:blipFill>
        <p:spPr>
          <a:xfrm>
            <a:off x="8761443" y="2081666"/>
            <a:ext cx="3430557" cy="307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061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16C3F6B-E2CD-4483-8330-43218CE2F8EC}"/>
              </a:ext>
            </a:extLst>
          </p:cNvPr>
          <p:cNvSpPr txBox="1"/>
          <p:nvPr/>
        </p:nvSpPr>
        <p:spPr>
          <a:xfrm>
            <a:off x="2301420" y="-920992"/>
            <a:ext cx="50282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526267093?source=search&amp;term=%E9%A3%9F%E5%93%81%E6%97%A5%E6%9C%9F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623A14-298F-4669-AA2D-461725D75F2A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2" b="4962"/>
          <a:stretch/>
        </p:blipFill>
        <p:spPr>
          <a:xfrm>
            <a:off x="250944" y="-920992"/>
            <a:ext cx="1534314" cy="1022712"/>
          </a:xfrm>
          <a:prstGeom prst="roundRect">
            <a:avLst>
              <a:gd name="adj" fmla="val 404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A82320-C160-4D2F-A012-7CEAE34A41C6}"/>
              </a:ext>
            </a:extLst>
          </p:cNvPr>
          <p:cNvSpPr txBox="1"/>
          <p:nvPr/>
        </p:nvSpPr>
        <p:spPr>
          <a:xfrm>
            <a:off x="2301420" y="799448"/>
            <a:ext cx="63282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1645378.htm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5959861-9ED8-474D-9920-536BD0B0FA03}"/>
              </a:ext>
            </a:extLst>
          </p:cNvPr>
          <p:cNvSpPr txBox="1"/>
          <p:nvPr/>
        </p:nvSpPr>
        <p:spPr>
          <a:xfrm>
            <a:off x="2301420" y="384867"/>
            <a:ext cx="94705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0891669.html</a:t>
            </a:r>
          </a:p>
        </p:txBody>
      </p:sp>
      <p:pic>
        <p:nvPicPr>
          <p:cNvPr id="6" name="图片 5" descr="图片包含 人, 室内, 病房, 男人&#10;&#10;描述已自动生成">
            <a:extLst>
              <a:ext uri="{FF2B5EF4-FFF2-40B4-BE49-F238E27FC236}">
                <a16:creationId xmlns:a16="http://schemas.microsoft.com/office/drawing/2014/main" id="{8B16D03B-1524-4C06-B017-31B180C1DC5B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70" t="479" r="8737" b="-1"/>
          <a:stretch/>
        </p:blipFill>
        <p:spPr>
          <a:xfrm flipH="1">
            <a:off x="1262503" y="287742"/>
            <a:ext cx="893460" cy="1043943"/>
          </a:xfrm>
          <a:prstGeom prst="roundRect">
            <a:avLst>
              <a:gd name="adj" fmla="val 246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7" name="图片 6" descr="图片包含 集装箱, 游戏机, 电路, 绿色&#10;&#10;描述已自动生成">
            <a:extLst>
              <a:ext uri="{FF2B5EF4-FFF2-40B4-BE49-F238E27FC236}">
                <a16:creationId xmlns:a16="http://schemas.microsoft.com/office/drawing/2014/main" id="{AB9285DD-4F49-4B22-BBB8-936120816AD3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7" t="15562" r="42325"/>
          <a:stretch/>
        </p:blipFill>
        <p:spPr>
          <a:xfrm>
            <a:off x="250943" y="287741"/>
            <a:ext cx="893461" cy="1043944"/>
          </a:xfrm>
          <a:prstGeom prst="roundRect">
            <a:avLst>
              <a:gd name="adj" fmla="val 2464"/>
            </a:avLst>
          </a:prstGeom>
          <a:ln w="3175">
            <a:noFill/>
          </a:ln>
          <a:effectLst>
            <a:outerShdw blurRad="127000" dist="635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8" name="图片 7" descr="图片包含 建筑, 食物, 盒子, 书&#10;&#10;描述已自动生成">
            <a:extLst>
              <a:ext uri="{FF2B5EF4-FFF2-40B4-BE49-F238E27FC236}">
                <a16:creationId xmlns:a16="http://schemas.microsoft.com/office/drawing/2014/main" id="{3E2720A7-0C95-4FC5-BC1A-1E1135FD493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8" t="7458" r="24590" b="1846"/>
          <a:stretch/>
        </p:blipFill>
        <p:spPr>
          <a:xfrm>
            <a:off x="30844" y="1364879"/>
            <a:ext cx="1638299" cy="1668956"/>
          </a:xfrm>
          <a:custGeom>
            <a:avLst/>
            <a:gdLst>
              <a:gd name="connsiteX0" fmla="*/ 0 w 3975100"/>
              <a:gd name="connsiteY0" fmla="*/ 0 h 4049486"/>
              <a:gd name="connsiteX1" fmla="*/ 3975100 w 3975100"/>
              <a:gd name="connsiteY1" fmla="*/ 0 h 4049486"/>
              <a:gd name="connsiteX2" fmla="*/ 3975100 w 3975100"/>
              <a:gd name="connsiteY2" fmla="*/ 4049486 h 4049486"/>
              <a:gd name="connsiteX3" fmla="*/ 0 w 3975100"/>
              <a:gd name="connsiteY3" fmla="*/ 4049486 h 404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5100" h="4049486">
                <a:moveTo>
                  <a:pt x="0" y="0"/>
                </a:moveTo>
                <a:lnTo>
                  <a:pt x="3975100" y="0"/>
                </a:lnTo>
                <a:lnTo>
                  <a:pt x="3975100" y="4049486"/>
                </a:lnTo>
                <a:lnTo>
                  <a:pt x="0" y="40494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0D7AAE56-2426-483F-956A-E75C2C9C70E8}"/>
              </a:ext>
            </a:extLst>
          </p:cNvPr>
          <p:cNvSpPr txBox="1"/>
          <p:nvPr/>
        </p:nvSpPr>
        <p:spPr>
          <a:xfrm>
            <a:off x="2301420" y="19305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400964420.html</a:t>
            </a:r>
          </a:p>
        </p:txBody>
      </p:sp>
      <p:pic>
        <p:nvPicPr>
          <p:cNvPr id="10" name="Picture 189">
            <a:extLst>
              <a:ext uri="{FF2B5EF4-FFF2-40B4-BE49-F238E27FC236}">
                <a16:creationId xmlns:a16="http://schemas.microsoft.com/office/drawing/2014/main" id="{F0A8B383-95AA-468C-94D9-EC8DD812A1BD}"/>
              </a:ext>
            </a:extLst>
          </p:cNvPr>
          <p:cNvPicPr/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55" r="17065"/>
          <a:stretch/>
        </p:blipFill>
        <p:spPr>
          <a:xfrm>
            <a:off x="250943" y="3099822"/>
            <a:ext cx="1098886" cy="139349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92E0648D-BF77-4C3B-9657-0979D263F1C1}"/>
              </a:ext>
            </a:extLst>
          </p:cNvPr>
          <p:cNvSpPr txBox="1"/>
          <p:nvPr/>
        </p:nvSpPr>
        <p:spPr>
          <a:xfrm>
            <a:off x="1408791" y="358084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862120746?source=search&amp;term=sim%E5%8D%A1%E6%A7%BD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141A6B3-1B45-4541-9F71-0BD2247E855C}"/>
              </a:ext>
            </a:extLst>
          </p:cNvPr>
          <p:cNvSpPr txBox="1"/>
          <p:nvPr/>
        </p:nvSpPr>
        <p:spPr>
          <a:xfrm>
            <a:off x="2001301" y="5142766"/>
            <a:ext cx="6908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303332783.html</a:t>
            </a:r>
          </a:p>
        </p:txBody>
      </p:sp>
      <p:pic>
        <p:nvPicPr>
          <p:cNvPr id="13" name="图片 12" descr="图片包含 黑暗&#10;&#10;描述已自动生成">
            <a:extLst>
              <a:ext uri="{FF2B5EF4-FFF2-40B4-BE49-F238E27FC236}">
                <a16:creationId xmlns:a16="http://schemas.microsoft.com/office/drawing/2014/main" id="{1AF67800-CF5F-467A-B7A7-57522AEC92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97171" y="4503830"/>
            <a:ext cx="2118638" cy="1588978"/>
          </a:xfrm>
          <a:custGeom>
            <a:avLst/>
            <a:gdLst>
              <a:gd name="connsiteX0" fmla="*/ 0 w 3975100"/>
              <a:gd name="connsiteY0" fmla="*/ 0 h 4049486"/>
              <a:gd name="connsiteX1" fmla="*/ 3975100 w 3975100"/>
              <a:gd name="connsiteY1" fmla="*/ 0 h 4049486"/>
              <a:gd name="connsiteX2" fmla="*/ 3975100 w 3975100"/>
              <a:gd name="connsiteY2" fmla="*/ 4049486 h 4049486"/>
              <a:gd name="connsiteX3" fmla="*/ 0 w 3975100"/>
              <a:gd name="connsiteY3" fmla="*/ 4049486 h 4049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5100" h="4049486">
                <a:moveTo>
                  <a:pt x="0" y="0"/>
                </a:moveTo>
                <a:lnTo>
                  <a:pt x="3975100" y="0"/>
                </a:lnTo>
                <a:lnTo>
                  <a:pt x="3975100" y="4049486"/>
                </a:lnTo>
                <a:lnTo>
                  <a:pt x="0" y="404948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4" name="Picture 189">
            <a:extLst>
              <a:ext uri="{FF2B5EF4-FFF2-40B4-BE49-F238E27FC236}">
                <a16:creationId xmlns:a16="http://schemas.microsoft.com/office/drawing/2014/main" id="{789597A2-6C0A-4963-8C48-B8714BB31DAF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85" r="14885"/>
          <a:stretch/>
        </p:blipFill>
        <p:spPr>
          <a:xfrm>
            <a:off x="-113927" y="6281863"/>
            <a:ext cx="899628" cy="1140816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CDFC680E-ED83-414F-A688-5217BE47E825}"/>
              </a:ext>
            </a:extLst>
          </p:cNvPr>
          <p:cNvSpPr txBox="1"/>
          <p:nvPr/>
        </p:nvSpPr>
        <p:spPr>
          <a:xfrm>
            <a:off x="1785258" y="645457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304458603.html</a:t>
            </a:r>
          </a:p>
        </p:txBody>
      </p:sp>
      <p:pic>
        <p:nvPicPr>
          <p:cNvPr id="16" name="Picture 189">
            <a:extLst>
              <a:ext uri="{FF2B5EF4-FFF2-40B4-BE49-F238E27FC236}">
                <a16:creationId xmlns:a16="http://schemas.microsoft.com/office/drawing/2014/main" id="{9273F732-76A7-4F18-A292-190D94B1EC44}"/>
              </a:ext>
            </a:extLst>
          </p:cNvPr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1" r="14921"/>
          <a:stretch/>
        </p:blipFill>
        <p:spPr>
          <a:xfrm>
            <a:off x="877578" y="6302612"/>
            <a:ext cx="907680" cy="115102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A98F9FA8-8E45-4CF3-876E-8E20BB803E7B}"/>
              </a:ext>
            </a:extLst>
          </p:cNvPr>
          <p:cNvSpPr txBox="1"/>
          <p:nvPr/>
        </p:nvSpPr>
        <p:spPr>
          <a:xfrm>
            <a:off x="1785258" y="686972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1138727.html</a:t>
            </a:r>
          </a:p>
        </p:txBody>
      </p:sp>
      <p:pic>
        <p:nvPicPr>
          <p:cNvPr id="18" name="Picture 189">
            <a:extLst>
              <a:ext uri="{FF2B5EF4-FFF2-40B4-BE49-F238E27FC236}">
                <a16:creationId xmlns:a16="http://schemas.microsoft.com/office/drawing/2014/main" id="{707962F5-78A5-4BD3-B3C1-441E4DDCED4B}"/>
              </a:ext>
            </a:extLst>
          </p:cNvPr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90" t="14791" r="14990" b="6378"/>
          <a:stretch/>
        </p:blipFill>
        <p:spPr>
          <a:xfrm>
            <a:off x="8235651" y="-1770098"/>
            <a:ext cx="825244" cy="82495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30356C98-0643-46E3-947E-A54B6854D8D9}"/>
              </a:ext>
            </a:extLst>
          </p:cNvPr>
          <p:cNvSpPr txBox="1"/>
          <p:nvPr/>
        </p:nvSpPr>
        <p:spPr>
          <a:xfrm>
            <a:off x="10143558" y="-169904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1123328.html</a:t>
            </a:r>
          </a:p>
        </p:txBody>
      </p:sp>
      <p:pic>
        <p:nvPicPr>
          <p:cNvPr id="20" name="Picture 189">
            <a:extLst>
              <a:ext uri="{FF2B5EF4-FFF2-40B4-BE49-F238E27FC236}">
                <a16:creationId xmlns:a16="http://schemas.microsoft.com/office/drawing/2014/main" id="{0A6EF072-95BD-478E-A279-E53B45837BC5}"/>
              </a:ext>
            </a:extLst>
          </p:cNvPr>
          <p:cNvPicPr/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57" r="25271"/>
          <a:stretch/>
        </p:blipFill>
        <p:spPr>
          <a:xfrm>
            <a:off x="9235878" y="-1775962"/>
            <a:ext cx="992157" cy="1258152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B893254F-E006-4C98-A37F-6C6B86DA9B90}"/>
              </a:ext>
            </a:extLst>
          </p:cNvPr>
          <p:cNvSpPr txBox="1"/>
          <p:nvPr/>
        </p:nvSpPr>
        <p:spPr>
          <a:xfrm>
            <a:off x="10143558" y="-141050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1123322.html</a:t>
            </a:r>
          </a:p>
        </p:txBody>
      </p:sp>
      <p:pic>
        <p:nvPicPr>
          <p:cNvPr id="22" name="图片 21" descr="卡车停在路边&#10;&#10;低可信度描述已自动生成">
            <a:extLst>
              <a:ext uri="{FF2B5EF4-FFF2-40B4-BE49-F238E27FC236}">
                <a16:creationId xmlns:a16="http://schemas.microsoft.com/office/drawing/2014/main" id="{F04B2925-7FB9-4395-8AF9-3F3F02748E7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22" r="6903"/>
          <a:stretch/>
        </p:blipFill>
        <p:spPr>
          <a:xfrm>
            <a:off x="8098843" y="-259657"/>
            <a:ext cx="1190687" cy="1067287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A627BE23-05AA-4688-913C-A246C0A37797}"/>
              </a:ext>
            </a:extLst>
          </p:cNvPr>
          <p:cNvSpPr txBox="1"/>
          <p:nvPr/>
        </p:nvSpPr>
        <p:spPr>
          <a:xfrm>
            <a:off x="10707121" y="-318010"/>
            <a:ext cx="75342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1644536.html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B3F0E108-00A5-4A68-975B-C797042337C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9384536" y="-252646"/>
            <a:ext cx="1157257" cy="1037321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37C97895-E325-4068-9D9F-C67E95660C44}"/>
              </a:ext>
            </a:extLst>
          </p:cNvPr>
          <p:cNvSpPr txBox="1"/>
          <p:nvPr/>
        </p:nvSpPr>
        <p:spPr>
          <a:xfrm>
            <a:off x="10707909" y="161299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655310457?source=search&amp;term=%E9%92%A2%E5%8D%B7</a:t>
            </a: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C057B5A8-C49C-455D-A090-339D8C65C0D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7979226" y="1331685"/>
            <a:ext cx="1506507" cy="1350376"/>
          </a:xfrm>
          <a:prstGeom prst="rect">
            <a:avLst/>
          </a:prstGeom>
        </p:spPr>
      </p:pic>
      <p:sp>
        <p:nvSpPr>
          <p:cNvPr id="27" name="文本框 26">
            <a:extLst>
              <a:ext uri="{FF2B5EF4-FFF2-40B4-BE49-F238E27FC236}">
                <a16:creationId xmlns:a16="http://schemas.microsoft.com/office/drawing/2014/main" id="{46AA47DC-93EA-40CC-8D0E-230E5099D05D}"/>
              </a:ext>
            </a:extLst>
          </p:cNvPr>
          <p:cNvSpPr txBox="1"/>
          <p:nvPr/>
        </p:nvSpPr>
        <p:spPr>
          <a:xfrm>
            <a:off x="9616354" y="1425420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571344177?source=search&amp;term=%E7%81%AB%E8%BD%A6%E5%88%B6%E9%80%A0</a:t>
            </a: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C5D2C815-C4DA-405E-BC15-FCB3495B844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098843" y="2980270"/>
            <a:ext cx="1307974" cy="1172418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31E627C5-EC9C-4DFF-BBD6-048F9D8F109A}"/>
              </a:ext>
            </a:extLst>
          </p:cNvPr>
          <p:cNvSpPr txBox="1"/>
          <p:nvPr/>
        </p:nvSpPr>
        <p:spPr>
          <a:xfrm>
            <a:off x="10722556" y="291139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323773190</a:t>
            </a:r>
          </a:p>
        </p:txBody>
      </p:sp>
      <p:pic>
        <p:nvPicPr>
          <p:cNvPr id="30" name="Picture 189">
            <a:extLst>
              <a:ext uri="{FF2B5EF4-FFF2-40B4-BE49-F238E27FC236}">
                <a16:creationId xmlns:a16="http://schemas.microsoft.com/office/drawing/2014/main" id="{165ED6E6-7643-4E8B-9EF8-A352C997D3BE}"/>
              </a:ext>
            </a:extLst>
          </p:cNvPr>
          <p:cNvPicPr/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4" r="2636"/>
          <a:stretch/>
        </p:blipFill>
        <p:spPr>
          <a:xfrm flipH="1">
            <a:off x="9500887" y="2949757"/>
            <a:ext cx="1204997" cy="1202932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7BB1B98C-D54D-4F6C-BDFA-8C5402F77DB5}"/>
              </a:ext>
            </a:extLst>
          </p:cNvPr>
          <p:cNvSpPr txBox="1"/>
          <p:nvPr/>
        </p:nvSpPr>
        <p:spPr>
          <a:xfrm>
            <a:off x="10722556" y="347404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xsj.699pic.com/tupian/0ut738.html</a:t>
            </a:r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C3954C5B-8BAF-4E2C-91C3-4CE522A433F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3" r="12813"/>
          <a:stretch/>
        </p:blipFill>
        <p:spPr>
          <a:xfrm flipH="1">
            <a:off x="8055159" y="4450897"/>
            <a:ext cx="1307973" cy="1172417"/>
          </a:xfrm>
          <a:prstGeom prst="rect">
            <a:avLst/>
          </a:prstGeom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0512844F-A370-4A20-A82B-EE3A5AAC205A}"/>
              </a:ext>
            </a:extLst>
          </p:cNvPr>
          <p:cNvSpPr txBox="1"/>
          <p:nvPr/>
        </p:nvSpPr>
        <p:spPr>
          <a:xfrm>
            <a:off x="10705884" y="443674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0903500.html</a:t>
            </a:r>
          </a:p>
        </p:txBody>
      </p:sp>
      <p:pic>
        <p:nvPicPr>
          <p:cNvPr id="34" name="图片 33">
            <a:extLst>
              <a:ext uri="{FF2B5EF4-FFF2-40B4-BE49-F238E27FC236}">
                <a16:creationId xmlns:a16="http://schemas.microsoft.com/office/drawing/2014/main" id="{F74FE85C-82A7-4702-BEA2-088A016EEC44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9485733" y="4522267"/>
            <a:ext cx="1258857" cy="1128392"/>
          </a:xfrm>
          <a:prstGeom prst="rect">
            <a:avLst/>
          </a:prstGeom>
        </p:spPr>
      </p:pic>
      <p:sp>
        <p:nvSpPr>
          <p:cNvPr id="35" name="文本框 34">
            <a:extLst>
              <a:ext uri="{FF2B5EF4-FFF2-40B4-BE49-F238E27FC236}">
                <a16:creationId xmlns:a16="http://schemas.microsoft.com/office/drawing/2014/main" id="{A18AF4A4-4559-4085-9EBA-CF1CBE9B85B3}"/>
              </a:ext>
            </a:extLst>
          </p:cNvPr>
          <p:cNvSpPr txBox="1"/>
          <p:nvPr/>
        </p:nvSpPr>
        <p:spPr>
          <a:xfrm>
            <a:off x="10705884" y="4891599"/>
            <a:ext cx="609108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158046873?source=search&amp;term=%E8%8D%AF%E5%93%81%E6%97%A5%E6%9C%9F</a:t>
            </a: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444E3A50-6079-48AD-9D67-DAE416C68A08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" r="444"/>
          <a:stretch/>
        </p:blipFill>
        <p:spPr>
          <a:xfrm>
            <a:off x="8055159" y="5990525"/>
            <a:ext cx="1307973" cy="1172417"/>
          </a:xfrm>
          <a:prstGeom prst="rect">
            <a:avLst/>
          </a:prstGeom>
        </p:spPr>
      </p:pic>
      <p:sp>
        <p:nvSpPr>
          <p:cNvPr id="37" name="文本框 36">
            <a:extLst>
              <a:ext uri="{FF2B5EF4-FFF2-40B4-BE49-F238E27FC236}">
                <a16:creationId xmlns:a16="http://schemas.microsoft.com/office/drawing/2014/main" id="{A5FCB386-1566-4A63-94BC-F1F7B105EB44}"/>
              </a:ext>
            </a:extLst>
          </p:cNvPr>
          <p:cNvSpPr txBox="1"/>
          <p:nvPr/>
        </p:nvSpPr>
        <p:spPr>
          <a:xfrm>
            <a:off x="10722556" y="5962095"/>
            <a:ext cx="6097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hellorf.com/image/show/116622685?source=search&amp;term=%E6%88%92%E6%8C%87</a:t>
            </a: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8E095D48-E0C4-4BB3-AF0B-0B2FDE04C92C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4" t="40059" r="43110" b="7861"/>
          <a:stretch/>
        </p:blipFill>
        <p:spPr>
          <a:xfrm>
            <a:off x="9432752" y="5963446"/>
            <a:ext cx="1307973" cy="1172418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AACB7518-6CCD-4CB1-A89B-759234C690BF}"/>
              </a:ext>
            </a:extLst>
          </p:cNvPr>
          <p:cNvSpPr txBox="1"/>
          <p:nvPr/>
        </p:nvSpPr>
        <p:spPr>
          <a:xfrm>
            <a:off x="10810345" y="674013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500121958.html</a:t>
            </a: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DB598C2D-AE35-48A2-9981-0DCB02E6F8A9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3" r="12813"/>
          <a:stretch/>
        </p:blipFill>
        <p:spPr>
          <a:xfrm>
            <a:off x="7614512" y="7392150"/>
            <a:ext cx="2097091" cy="1879753"/>
          </a:xfrm>
          <a:prstGeom prst="rect">
            <a:avLst/>
          </a:prstGeom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F91D9888-840C-4B78-B870-7A214E5AB2E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" t="18666" r="38921"/>
          <a:stretch/>
        </p:blipFill>
        <p:spPr>
          <a:xfrm>
            <a:off x="9886131" y="7711664"/>
            <a:ext cx="1639505" cy="1469590"/>
          </a:xfrm>
          <a:prstGeom prst="rect">
            <a:avLst/>
          </a:prstGeom>
        </p:spPr>
      </p:pic>
      <p:sp>
        <p:nvSpPr>
          <p:cNvPr id="42" name="文本框 41">
            <a:extLst>
              <a:ext uri="{FF2B5EF4-FFF2-40B4-BE49-F238E27FC236}">
                <a16:creationId xmlns:a16="http://schemas.microsoft.com/office/drawing/2014/main" id="{8C86EAF7-5342-4A84-8636-2852CB676576}"/>
              </a:ext>
            </a:extLst>
          </p:cNvPr>
          <p:cNvSpPr txBox="1"/>
          <p:nvPr/>
        </p:nvSpPr>
        <p:spPr>
          <a:xfrm>
            <a:off x="11771990" y="789019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https://699pic.com/tupian-501278213.html</a:t>
            </a:r>
            <a:endParaRPr lang="zh-CN" altLang="en-US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9B2E1FAA-0263-4272-BA14-659BA9108A79}"/>
              </a:ext>
            </a:extLst>
          </p:cNvPr>
          <p:cNvSpPr txBox="1"/>
          <p:nvPr/>
        </p:nvSpPr>
        <p:spPr>
          <a:xfrm>
            <a:off x="11776906" y="8542479"/>
            <a:ext cx="60910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699pic.com/tupian-302651880.html</a:t>
            </a:r>
          </a:p>
        </p:txBody>
      </p:sp>
    </p:spTree>
    <p:extLst>
      <p:ext uri="{BB962C8B-B14F-4D97-AF65-F5344CB8AC3E}">
        <p14:creationId xmlns:p14="http://schemas.microsoft.com/office/powerpoint/2010/main" val="3478591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标题 1">
            <a:extLst>
              <a:ext uri="{FF2B5EF4-FFF2-40B4-BE49-F238E27FC236}">
                <a16:creationId xmlns:a16="http://schemas.microsoft.com/office/drawing/2014/main" id="{22F25019-037F-4ECF-B43C-A9602DF72329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传统 </a:t>
            </a:r>
            <a:r>
              <a:rPr lang="en-US" altLang="zh-CN" dirty="0"/>
              <a:t>OCR </a:t>
            </a:r>
            <a:r>
              <a:rPr lang="zh-CN" altLang="en-US" dirty="0"/>
              <a:t>的局限性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F57A677E-7104-43C9-9270-D9DD7F249641}"/>
              </a:ext>
            </a:extLst>
          </p:cNvPr>
          <p:cNvSpPr/>
          <p:nvPr/>
        </p:nvSpPr>
        <p:spPr>
          <a:xfrm>
            <a:off x="0" y="1576036"/>
            <a:ext cx="12192000" cy="1764000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59DD0626-25E2-414D-95BE-36FCFA9EA737}"/>
              </a:ext>
            </a:extLst>
          </p:cNvPr>
          <p:cNvSpPr txBox="1"/>
          <p:nvPr/>
        </p:nvSpPr>
        <p:spPr>
          <a:xfrm>
            <a:off x="500201" y="2497297"/>
            <a:ext cx="1338828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zh-CN" altLang="en-US" sz="1800" b="1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j-ea"/>
                <a:cs typeface="Helvetica Neue Medium"/>
                <a:sym typeface="Helvetica Neue Medium"/>
              </a:rPr>
              <a:t>可识别场景</a:t>
            </a:r>
            <a:endParaRPr lang="zh-CN" altLang="en-US" b="1" dirty="0">
              <a:solidFill>
                <a:schemeClr val="accent1"/>
              </a:solidFill>
            </a:endParaRPr>
          </a:p>
        </p:txBody>
      </p:sp>
      <p:sp>
        <p:nvSpPr>
          <p:cNvPr id="100" name="iconfont-1043-167523">
            <a:extLst>
              <a:ext uri="{FF2B5EF4-FFF2-40B4-BE49-F238E27FC236}">
                <a16:creationId xmlns:a16="http://schemas.microsoft.com/office/drawing/2014/main" id="{CF4A978E-6A71-47BB-994D-164D05ADBE31}"/>
              </a:ext>
            </a:extLst>
          </p:cNvPr>
          <p:cNvSpPr/>
          <p:nvPr/>
        </p:nvSpPr>
        <p:spPr>
          <a:xfrm>
            <a:off x="976039" y="2021315"/>
            <a:ext cx="387152" cy="387152"/>
          </a:xfrm>
          <a:custGeom>
            <a:avLst/>
            <a:gdLst>
              <a:gd name="connsiteX0" fmla="*/ 317840 w 452651"/>
              <a:gd name="connsiteY0" fmla="*/ 140666 h 452651"/>
              <a:gd name="connsiteX1" fmla="*/ 336984 w 452651"/>
              <a:gd name="connsiteY1" fmla="*/ 160238 h 452651"/>
              <a:gd name="connsiteX2" fmla="*/ 191499 w 452651"/>
              <a:gd name="connsiteY2" fmla="*/ 306481 h 452651"/>
              <a:gd name="connsiteX3" fmla="*/ 181927 w 452651"/>
              <a:gd name="connsiteY3" fmla="*/ 311291 h 452651"/>
              <a:gd name="connsiteX4" fmla="*/ 172212 w 452651"/>
              <a:gd name="connsiteY4" fmla="*/ 306386 h 452651"/>
              <a:gd name="connsiteX5" fmla="*/ 111303 w 452651"/>
              <a:gd name="connsiteY5" fmla="*/ 245432 h 452651"/>
              <a:gd name="connsiteX6" fmla="*/ 130638 w 452651"/>
              <a:gd name="connsiteY6" fmla="*/ 226050 h 452651"/>
              <a:gd name="connsiteX7" fmla="*/ 182022 w 452651"/>
              <a:gd name="connsiteY7" fmla="*/ 277433 h 452651"/>
              <a:gd name="connsiteX8" fmla="*/ 226326 w 452651"/>
              <a:gd name="connsiteY8" fmla="*/ 18809 h 452651"/>
              <a:gd name="connsiteX9" fmla="*/ 18809 w 452651"/>
              <a:gd name="connsiteY9" fmla="*/ 226325 h 452651"/>
              <a:gd name="connsiteX10" fmla="*/ 226326 w 452651"/>
              <a:gd name="connsiteY10" fmla="*/ 433842 h 452651"/>
              <a:gd name="connsiteX11" fmla="*/ 433842 w 452651"/>
              <a:gd name="connsiteY11" fmla="*/ 226325 h 452651"/>
              <a:gd name="connsiteX12" fmla="*/ 226326 w 452651"/>
              <a:gd name="connsiteY12" fmla="*/ 18809 h 452651"/>
              <a:gd name="connsiteX13" fmla="*/ 226326 w 452651"/>
              <a:gd name="connsiteY13" fmla="*/ 0 h 452651"/>
              <a:gd name="connsiteX14" fmla="*/ 452651 w 452651"/>
              <a:gd name="connsiteY14" fmla="*/ 226325 h 452651"/>
              <a:gd name="connsiteX15" fmla="*/ 226326 w 452651"/>
              <a:gd name="connsiteY15" fmla="*/ 452651 h 452651"/>
              <a:gd name="connsiteX16" fmla="*/ 0 w 452651"/>
              <a:gd name="connsiteY16" fmla="*/ 226325 h 452651"/>
              <a:gd name="connsiteX17" fmla="*/ 226326 w 452651"/>
              <a:gd name="connsiteY17" fmla="*/ 0 h 452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52651" h="452651">
                <a:moveTo>
                  <a:pt x="317840" y="140666"/>
                </a:moveTo>
                <a:lnTo>
                  <a:pt x="336984" y="160238"/>
                </a:lnTo>
                <a:lnTo>
                  <a:pt x="191499" y="306481"/>
                </a:lnTo>
                <a:cubicBezTo>
                  <a:pt x="188784" y="309100"/>
                  <a:pt x="185165" y="311291"/>
                  <a:pt x="181927" y="311291"/>
                </a:cubicBezTo>
                <a:cubicBezTo>
                  <a:pt x="178641" y="311291"/>
                  <a:pt x="174926" y="309100"/>
                  <a:pt x="172212" y="306386"/>
                </a:cubicBezTo>
                <a:lnTo>
                  <a:pt x="111303" y="245432"/>
                </a:lnTo>
                <a:lnTo>
                  <a:pt x="130638" y="226050"/>
                </a:lnTo>
                <a:lnTo>
                  <a:pt x="182022" y="277433"/>
                </a:lnTo>
                <a:close/>
                <a:moveTo>
                  <a:pt x="226326" y="18809"/>
                </a:moveTo>
                <a:cubicBezTo>
                  <a:pt x="111853" y="18809"/>
                  <a:pt x="18809" y="111949"/>
                  <a:pt x="18809" y="226325"/>
                </a:cubicBezTo>
                <a:cubicBezTo>
                  <a:pt x="18809" y="340798"/>
                  <a:pt x="111949" y="433842"/>
                  <a:pt x="226326" y="433842"/>
                </a:cubicBezTo>
                <a:cubicBezTo>
                  <a:pt x="340702" y="433842"/>
                  <a:pt x="433842" y="340703"/>
                  <a:pt x="433842" y="226325"/>
                </a:cubicBezTo>
                <a:cubicBezTo>
                  <a:pt x="433842" y="111853"/>
                  <a:pt x="340702" y="18809"/>
                  <a:pt x="226326" y="18809"/>
                </a:cubicBezTo>
                <a:close/>
                <a:moveTo>
                  <a:pt x="226326" y="0"/>
                </a:moveTo>
                <a:cubicBezTo>
                  <a:pt x="351369" y="0"/>
                  <a:pt x="452651" y="101282"/>
                  <a:pt x="452651" y="226325"/>
                </a:cubicBezTo>
                <a:cubicBezTo>
                  <a:pt x="452651" y="351369"/>
                  <a:pt x="351369" y="452651"/>
                  <a:pt x="226326" y="452651"/>
                </a:cubicBezTo>
                <a:cubicBezTo>
                  <a:pt x="101282" y="452651"/>
                  <a:pt x="0" y="351369"/>
                  <a:pt x="0" y="226325"/>
                </a:cubicBezTo>
                <a:cubicBezTo>
                  <a:pt x="0" y="101282"/>
                  <a:pt x="101282" y="0"/>
                  <a:pt x="2263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9" name="iconfont-1177-634404">
            <a:extLst>
              <a:ext uri="{FF2B5EF4-FFF2-40B4-BE49-F238E27FC236}">
                <a16:creationId xmlns:a16="http://schemas.microsoft.com/office/drawing/2014/main" id="{23569B3C-03A0-4B96-805E-682452CB19AA}"/>
              </a:ext>
            </a:extLst>
          </p:cNvPr>
          <p:cNvSpPr/>
          <p:nvPr/>
        </p:nvSpPr>
        <p:spPr>
          <a:xfrm>
            <a:off x="976039" y="4598614"/>
            <a:ext cx="387152" cy="387152"/>
          </a:xfrm>
          <a:custGeom>
            <a:avLst/>
            <a:gdLst>
              <a:gd name="T0" fmla="*/ 8869 w 12800"/>
              <a:gd name="T1" fmla="*/ 9280 h 12800"/>
              <a:gd name="T2" fmla="*/ 9280 w 12800"/>
              <a:gd name="T3" fmla="*/ 8869 h 12800"/>
              <a:gd name="T4" fmla="*/ 6811 w 12800"/>
              <a:gd name="T5" fmla="*/ 6400 h 12800"/>
              <a:gd name="T6" fmla="*/ 9280 w 12800"/>
              <a:gd name="T7" fmla="*/ 3931 h 12800"/>
              <a:gd name="T8" fmla="*/ 8869 w 12800"/>
              <a:gd name="T9" fmla="*/ 3520 h 12800"/>
              <a:gd name="T10" fmla="*/ 6400 w 12800"/>
              <a:gd name="T11" fmla="*/ 5989 h 12800"/>
              <a:gd name="T12" fmla="*/ 3931 w 12800"/>
              <a:gd name="T13" fmla="*/ 3520 h 12800"/>
              <a:gd name="T14" fmla="*/ 3520 w 12800"/>
              <a:gd name="T15" fmla="*/ 3931 h 12800"/>
              <a:gd name="T16" fmla="*/ 5989 w 12800"/>
              <a:gd name="T17" fmla="*/ 6400 h 12800"/>
              <a:gd name="T18" fmla="*/ 3520 w 12800"/>
              <a:gd name="T19" fmla="*/ 8869 h 12800"/>
              <a:gd name="T20" fmla="*/ 3931 w 12800"/>
              <a:gd name="T21" fmla="*/ 9280 h 12800"/>
              <a:gd name="T22" fmla="*/ 6400 w 12800"/>
              <a:gd name="T23" fmla="*/ 6811 h 12800"/>
              <a:gd name="T24" fmla="*/ 8869 w 12800"/>
              <a:gd name="T25" fmla="*/ 9280 h 12800"/>
              <a:gd name="T26" fmla="*/ 12800 w 12800"/>
              <a:gd name="T27" fmla="*/ 6400 h 12800"/>
              <a:gd name="T28" fmla="*/ 6400 w 12800"/>
              <a:gd name="T29" fmla="*/ 0 h 12800"/>
              <a:gd name="T30" fmla="*/ 0 w 12800"/>
              <a:gd name="T31" fmla="*/ 6400 h 12800"/>
              <a:gd name="T32" fmla="*/ 6400 w 12800"/>
              <a:gd name="T33" fmla="*/ 12800 h 12800"/>
              <a:gd name="T34" fmla="*/ 12800 w 12800"/>
              <a:gd name="T35" fmla="*/ 6400 h 12800"/>
              <a:gd name="T36" fmla="*/ 582 w 12800"/>
              <a:gd name="T37" fmla="*/ 6400 h 12800"/>
              <a:gd name="T38" fmla="*/ 6400 w 12800"/>
              <a:gd name="T39" fmla="*/ 582 h 12800"/>
              <a:gd name="T40" fmla="*/ 12218 w 12800"/>
              <a:gd name="T41" fmla="*/ 6400 h 12800"/>
              <a:gd name="T42" fmla="*/ 6400 w 12800"/>
              <a:gd name="T43" fmla="*/ 12218 h 12800"/>
              <a:gd name="T44" fmla="*/ 582 w 12800"/>
              <a:gd name="T45" fmla="*/ 6400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2800" h="12800">
                <a:moveTo>
                  <a:pt x="8869" y="9280"/>
                </a:moveTo>
                <a:lnTo>
                  <a:pt x="9280" y="8869"/>
                </a:lnTo>
                <a:lnTo>
                  <a:pt x="6811" y="6400"/>
                </a:lnTo>
                <a:lnTo>
                  <a:pt x="9280" y="3931"/>
                </a:lnTo>
                <a:lnTo>
                  <a:pt x="8869" y="3520"/>
                </a:lnTo>
                <a:lnTo>
                  <a:pt x="6400" y="5989"/>
                </a:lnTo>
                <a:lnTo>
                  <a:pt x="3931" y="3520"/>
                </a:lnTo>
                <a:lnTo>
                  <a:pt x="3520" y="3931"/>
                </a:lnTo>
                <a:lnTo>
                  <a:pt x="5989" y="6400"/>
                </a:lnTo>
                <a:lnTo>
                  <a:pt x="3520" y="8869"/>
                </a:lnTo>
                <a:lnTo>
                  <a:pt x="3931" y="9280"/>
                </a:lnTo>
                <a:lnTo>
                  <a:pt x="6400" y="6811"/>
                </a:lnTo>
                <a:lnTo>
                  <a:pt x="8869" y="9280"/>
                </a:lnTo>
                <a:close/>
                <a:moveTo>
                  <a:pt x="12800" y="6400"/>
                </a:moveTo>
                <a:cubicBezTo>
                  <a:pt x="12800" y="2865"/>
                  <a:pt x="9935" y="0"/>
                  <a:pt x="6400" y="0"/>
                </a:cubicBezTo>
                <a:cubicBezTo>
                  <a:pt x="2865" y="0"/>
                  <a:pt x="0" y="2865"/>
                  <a:pt x="0" y="6400"/>
                </a:cubicBezTo>
                <a:cubicBezTo>
                  <a:pt x="0" y="9935"/>
                  <a:pt x="2865" y="12800"/>
                  <a:pt x="6400" y="12800"/>
                </a:cubicBezTo>
                <a:cubicBezTo>
                  <a:pt x="9935" y="12800"/>
                  <a:pt x="12800" y="9935"/>
                  <a:pt x="12800" y="6400"/>
                </a:cubicBezTo>
                <a:close/>
                <a:moveTo>
                  <a:pt x="582" y="6400"/>
                </a:moveTo>
                <a:cubicBezTo>
                  <a:pt x="582" y="3187"/>
                  <a:pt x="3187" y="582"/>
                  <a:pt x="6400" y="582"/>
                </a:cubicBezTo>
                <a:cubicBezTo>
                  <a:pt x="9613" y="582"/>
                  <a:pt x="12218" y="3187"/>
                  <a:pt x="12218" y="6400"/>
                </a:cubicBezTo>
                <a:cubicBezTo>
                  <a:pt x="12218" y="9613"/>
                  <a:pt x="9613" y="12218"/>
                  <a:pt x="6400" y="12218"/>
                </a:cubicBezTo>
                <a:cubicBezTo>
                  <a:pt x="3187" y="12218"/>
                  <a:pt x="582" y="9613"/>
                  <a:pt x="582" y="64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文本框 100">
            <a:extLst>
              <a:ext uri="{FF2B5EF4-FFF2-40B4-BE49-F238E27FC236}">
                <a16:creationId xmlns:a16="http://schemas.microsoft.com/office/drawing/2014/main" id="{BAA9B24B-3773-4613-BB0D-BE2E20ED06AF}"/>
              </a:ext>
            </a:extLst>
          </p:cNvPr>
          <p:cNvSpPr txBox="1"/>
          <p:nvPr/>
        </p:nvSpPr>
        <p:spPr>
          <a:xfrm>
            <a:off x="384785" y="5097298"/>
            <a:ext cx="1569660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zh-CN" altLang="en-US" sz="1800" b="1" dirty="0">
                <a:ln>
                  <a:noFill/>
                </a:ln>
                <a:solidFill>
                  <a:schemeClr val="accent2"/>
                </a:solidFill>
                <a:effectLst/>
                <a:uFillTx/>
                <a:latin typeface="+mj-ea"/>
                <a:cs typeface="Helvetica Neue Medium"/>
                <a:sym typeface="Helvetica Neue Medium"/>
              </a:rPr>
              <a:t>无法识别场景</a:t>
            </a:r>
            <a:endParaRPr lang="zh-CN" altLang="en-US" b="1" dirty="0">
              <a:solidFill>
                <a:schemeClr val="accent2"/>
              </a:solidFill>
            </a:endParaRPr>
          </a:p>
        </p:txBody>
      </p:sp>
      <p:sp>
        <p:nvSpPr>
          <p:cNvPr id="106" name="文本框 105">
            <a:extLst>
              <a:ext uri="{FF2B5EF4-FFF2-40B4-BE49-F238E27FC236}">
                <a16:creationId xmlns:a16="http://schemas.microsoft.com/office/drawing/2014/main" id="{746BD02E-E624-468E-9C78-B014A806E54A}"/>
              </a:ext>
            </a:extLst>
          </p:cNvPr>
          <p:cNvSpPr txBox="1"/>
          <p:nvPr/>
        </p:nvSpPr>
        <p:spPr>
          <a:xfrm>
            <a:off x="342900" y="1096482"/>
            <a:ext cx="11506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ym typeface="Helvetica Neue Medium"/>
              </a:rPr>
              <a:t>可识别规则文字，复杂场景文字识别难</a:t>
            </a:r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46DDD9E-9EC1-4CEE-A4CE-23292D221E58}"/>
              </a:ext>
            </a:extLst>
          </p:cNvPr>
          <p:cNvGrpSpPr/>
          <p:nvPr/>
        </p:nvGrpSpPr>
        <p:grpSpPr>
          <a:xfrm>
            <a:off x="2316043" y="1820813"/>
            <a:ext cx="7443106" cy="1274447"/>
            <a:chOff x="2316043" y="1820813"/>
            <a:chExt cx="7443106" cy="1274447"/>
          </a:xfrm>
        </p:grpSpPr>
        <p:pic>
          <p:nvPicPr>
            <p:cNvPr id="73" name="图片 72" descr="C:/Users/32394/AppData/Local/Temp/picturecompress_20210916101317/output_1.jpgoutput_1">
              <a:extLst>
                <a:ext uri="{FF2B5EF4-FFF2-40B4-BE49-F238E27FC236}">
                  <a16:creationId xmlns:a16="http://schemas.microsoft.com/office/drawing/2014/main" id="{9E26E228-29D0-4D3C-B4E7-2B6F8D3945F0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16043" y="2047595"/>
              <a:ext cx="1687609" cy="1047665"/>
            </a:xfrm>
            <a:prstGeom prst="rect">
              <a:avLst/>
            </a:prstGeom>
            <a:ln w="3175">
              <a:noFill/>
            </a:ln>
          </p:spPr>
        </p:pic>
        <p:pic>
          <p:nvPicPr>
            <p:cNvPr id="81" name="图片 80" descr="C:/Users/32394/AppData/Local/Temp/picturecompress_20210916103609/output_1.jpgoutput_1">
              <a:extLst>
                <a:ext uri="{FF2B5EF4-FFF2-40B4-BE49-F238E27FC236}">
                  <a16:creationId xmlns:a16="http://schemas.microsoft.com/office/drawing/2014/main" id="{5B820D77-3C12-47B7-AA11-547370488645}"/>
                </a:ext>
              </a:extLst>
            </p:cNvPr>
            <p:cNvPicPr>
              <a:picLocks/>
            </p:cNvPicPr>
            <p:nvPr/>
          </p:nvPicPr>
          <p:blipFill rotWithShape="1">
            <a:blip r:embed="rId4"/>
            <a:srcRect l="1195" r="1195"/>
            <a:stretch/>
          </p:blipFill>
          <p:spPr>
            <a:xfrm>
              <a:off x="4234542" y="2047595"/>
              <a:ext cx="1687609" cy="1047665"/>
            </a:xfrm>
            <a:prstGeom prst="rect">
              <a:avLst/>
            </a:prstGeom>
          </p:spPr>
        </p:pic>
        <p:pic>
          <p:nvPicPr>
            <p:cNvPr id="82" name="图片 81" descr="C:/Users/32394/AppData/Local/Temp/picturecompress_20210916104959/output_1.jpgoutput_1">
              <a:extLst>
                <a:ext uri="{FF2B5EF4-FFF2-40B4-BE49-F238E27FC236}">
                  <a16:creationId xmlns:a16="http://schemas.microsoft.com/office/drawing/2014/main" id="{C385F5E7-F59D-484F-A97E-9AD4BE024566}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9673" t="12194" r="2469" b="11722"/>
            <a:stretch>
              <a:fillRect/>
            </a:stretch>
          </p:blipFill>
          <p:spPr>
            <a:xfrm>
              <a:off x="6153041" y="2047595"/>
              <a:ext cx="1687609" cy="1047665"/>
            </a:xfrm>
            <a:prstGeom prst="rect">
              <a:avLst/>
            </a:prstGeom>
          </p:spPr>
        </p:pic>
        <p:pic>
          <p:nvPicPr>
            <p:cNvPr id="83" name="图片 82" descr="营业执照">
              <a:extLst>
                <a:ext uri="{FF2B5EF4-FFF2-40B4-BE49-F238E27FC236}">
                  <a16:creationId xmlns:a16="http://schemas.microsoft.com/office/drawing/2014/main" id="{A64FCF74-2754-4A0B-B68E-7D642EDAAB74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71540" y="2047595"/>
              <a:ext cx="1687609" cy="1047665"/>
            </a:xfrm>
            <a:prstGeom prst="rect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DD3977A2-072A-44BA-A984-C2695D09A0D9}"/>
                </a:ext>
              </a:extLst>
            </p:cNvPr>
            <p:cNvSpPr txBox="1"/>
            <p:nvPr/>
          </p:nvSpPr>
          <p:spPr>
            <a:xfrm>
              <a:off x="6153041" y="1820902"/>
              <a:ext cx="1687609" cy="234587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>
              <a:defPPr>
                <a:defRPr lang="zh-CN"/>
              </a:defPPr>
              <a:lvl1pPr algn="ctr" defTabSz="825500" hangingPunct="0">
                <a:defRPr sz="120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Helvetica Neue Medium"/>
                </a:defRPr>
              </a:lvl1pPr>
            </a:lstStyle>
            <a:p>
              <a:r>
                <a:rPr lang="zh-CN" altLang="en-US" dirty="0">
                  <a:sym typeface="Helvetica Neue Medium"/>
                </a:rPr>
                <a:t>银行卡</a:t>
              </a:r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F3AB4C11-79C9-499D-8CE6-AB15607360B0}"/>
                </a:ext>
              </a:extLst>
            </p:cNvPr>
            <p:cNvSpPr txBox="1"/>
            <p:nvPr/>
          </p:nvSpPr>
          <p:spPr>
            <a:xfrm>
              <a:off x="8071540" y="1820902"/>
              <a:ext cx="1687096" cy="234499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>
              <a:defPPr>
                <a:defRPr lang="zh-CN"/>
              </a:defPPr>
              <a:lvl1pPr algn="ctr" defTabSz="825500" hangingPunct="0">
                <a:defRPr sz="120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Helvetica Neue Medium"/>
                </a:defRPr>
              </a:lvl1pPr>
            </a:lstStyle>
            <a:p>
              <a:r>
                <a:rPr lang="zh-CN" altLang="en-US" dirty="0">
                  <a:sym typeface="Helvetica Neue Medium"/>
                </a:rPr>
                <a:t>营业执照</a:t>
              </a: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F1612335-446E-4274-9ED3-7DB8863243C6}"/>
                </a:ext>
              </a:extLst>
            </p:cNvPr>
            <p:cNvSpPr txBox="1"/>
            <p:nvPr/>
          </p:nvSpPr>
          <p:spPr>
            <a:xfrm>
              <a:off x="4234542" y="1820902"/>
              <a:ext cx="1687609" cy="234499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>
              <a:defPPr>
                <a:defRPr lang="zh-CN"/>
              </a:defPPr>
              <a:lvl1pPr algn="ctr" defTabSz="825500" hangingPunct="0">
                <a:defRPr sz="120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Helvetica Neue Medium"/>
                </a:defRPr>
              </a:lvl1pPr>
            </a:lstStyle>
            <a:p>
              <a:r>
                <a:rPr lang="zh-CN" altLang="en-US" dirty="0">
                  <a:sym typeface="Helvetica Neue Medium"/>
                </a:rPr>
                <a:t>证件</a:t>
              </a:r>
            </a:p>
          </p:txBody>
        </p:sp>
        <p:sp>
          <p:nvSpPr>
            <p:cNvPr id="74" name="文本框 73">
              <a:extLst>
                <a:ext uri="{FF2B5EF4-FFF2-40B4-BE49-F238E27FC236}">
                  <a16:creationId xmlns:a16="http://schemas.microsoft.com/office/drawing/2014/main" id="{FD785D1A-BB5A-4603-9C8D-1602419B0A47}"/>
                </a:ext>
              </a:extLst>
            </p:cNvPr>
            <p:cNvSpPr txBox="1"/>
            <p:nvPr/>
          </p:nvSpPr>
          <p:spPr>
            <a:xfrm>
              <a:off x="2316043" y="1820813"/>
              <a:ext cx="1687609" cy="234587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>
              <a:defPPr>
                <a:defRPr lang="zh-CN"/>
              </a:defPPr>
              <a:lvl1pPr algn="ctr" defTabSz="825500" hangingPunct="0">
                <a:defRPr sz="1200">
                  <a:solidFill>
                    <a:schemeClr val="bg1"/>
                  </a:solidFill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Helvetica Neue Medium"/>
                </a:defRPr>
              </a:lvl1pPr>
            </a:lstStyle>
            <a:p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sym typeface="Helvetica Neue Medium"/>
                </a:rPr>
                <a:t>印刷文档</a:t>
              </a:r>
            </a:p>
          </p:txBody>
        </p:sp>
      </p:grpSp>
      <p:pic>
        <p:nvPicPr>
          <p:cNvPr id="133" name="图片 132">
            <a:extLst>
              <a:ext uri="{FF2B5EF4-FFF2-40B4-BE49-F238E27FC236}">
                <a16:creationId xmlns:a16="http://schemas.microsoft.com/office/drawing/2014/main" id="{427B8EC9-02BD-4901-91D5-B63C890BFA7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468" y="3847820"/>
            <a:ext cx="1684758" cy="1047665"/>
          </a:xfrm>
          <a:prstGeom prst="rect">
            <a:avLst/>
          </a:prstGeom>
          <a:ln w="3175">
            <a:noFill/>
          </a:ln>
        </p:spPr>
      </p:pic>
      <p:pic>
        <p:nvPicPr>
          <p:cNvPr id="134" name="图片 133">
            <a:extLst>
              <a:ext uri="{FF2B5EF4-FFF2-40B4-BE49-F238E27FC236}">
                <a16:creationId xmlns:a16="http://schemas.microsoft.com/office/drawing/2014/main" id="{D75B63FF-96FE-460F-8D01-E61E854027DB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4234542" y="3847820"/>
            <a:ext cx="1687609" cy="1047665"/>
          </a:xfrm>
          <a:prstGeom prst="rect">
            <a:avLst/>
          </a:prstGeom>
        </p:spPr>
      </p:pic>
      <p:pic>
        <p:nvPicPr>
          <p:cNvPr id="135" name="图片 134">
            <a:extLst>
              <a:ext uri="{FF2B5EF4-FFF2-40B4-BE49-F238E27FC236}">
                <a16:creationId xmlns:a16="http://schemas.microsoft.com/office/drawing/2014/main" id="{2EE72573-8170-4DCD-9629-001E5445F0E1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" t="336" r="1021" b="336"/>
          <a:stretch/>
        </p:blipFill>
        <p:spPr>
          <a:xfrm>
            <a:off x="6153041" y="3847820"/>
            <a:ext cx="1687609" cy="1047665"/>
          </a:xfrm>
          <a:prstGeom prst="rect">
            <a:avLst/>
          </a:prstGeom>
        </p:spPr>
      </p:pic>
      <p:pic>
        <p:nvPicPr>
          <p:cNvPr id="136" name="图片 135">
            <a:extLst>
              <a:ext uri="{FF2B5EF4-FFF2-40B4-BE49-F238E27FC236}">
                <a16:creationId xmlns:a16="http://schemas.microsoft.com/office/drawing/2014/main" id="{0A5816FF-AADE-404B-835F-9DC8422391A3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2965" y="3847820"/>
            <a:ext cx="1684758" cy="104766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pic>
        <p:nvPicPr>
          <p:cNvPr id="137" name="图片 136">
            <a:extLst>
              <a:ext uri="{FF2B5EF4-FFF2-40B4-BE49-F238E27FC236}">
                <a16:creationId xmlns:a16="http://schemas.microsoft.com/office/drawing/2014/main" id="{32EE3ADC-BA94-40A9-A362-14862133616C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90041" y="3848892"/>
            <a:ext cx="1687609" cy="104552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38" name="文本框 137">
            <a:extLst>
              <a:ext uri="{FF2B5EF4-FFF2-40B4-BE49-F238E27FC236}">
                <a16:creationId xmlns:a16="http://schemas.microsoft.com/office/drawing/2014/main" id="{B6CC90B1-120C-4690-B964-6C6648E8562C}"/>
              </a:ext>
            </a:extLst>
          </p:cNvPr>
          <p:cNvSpPr txBox="1"/>
          <p:nvPr/>
        </p:nvSpPr>
        <p:spPr>
          <a:xfrm>
            <a:off x="6153041" y="3621127"/>
            <a:ext cx="1687609" cy="23458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不均匀光照</a:t>
            </a:r>
          </a:p>
        </p:txBody>
      </p:sp>
      <p:sp>
        <p:nvSpPr>
          <p:cNvPr id="139" name="文本框 138">
            <a:extLst>
              <a:ext uri="{FF2B5EF4-FFF2-40B4-BE49-F238E27FC236}">
                <a16:creationId xmlns:a16="http://schemas.microsoft.com/office/drawing/2014/main" id="{7E3886E1-8D15-4F22-92C3-F79131C20E25}"/>
              </a:ext>
            </a:extLst>
          </p:cNvPr>
          <p:cNvSpPr txBox="1"/>
          <p:nvPr/>
        </p:nvSpPr>
        <p:spPr>
          <a:xfrm>
            <a:off x="8071540" y="3621127"/>
            <a:ext cx="1687096" cy="23449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尺寸太小</a:t>
            </a:r>
          </a:p>
        </p:txBody>
      </p:sp>
      <p:sp>
        <p:nvSpPr>
          <p:cNvPr id="140" name="文本框 139">
            <a:extLst>
              <a:ext uri="{FF2B5EF4-FFF2-40B4-BE49-F238E27FC236}">
                <a16:creationId xmlns:a16="http://schemas.microsoft.com/office/drawing/2014/main" id="{541EEA55-FF83-4F42-A917-5C8AD323A267}"/>
              </a:ext>
            </a:extLst>
          </p:cNvPr>
          <p:cNvSpPr txBox="1"/>
          <p:nvPr/>
        </p:nvSpPr>
        <p:spPr>
          <a:xfrm>
            <a:off x="4234542" y="3621127"/>
            <a:ext cx="1687609" cy="23449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低对比度</a:t>
            </a:r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8D90BC59-0120-486C-A5F6-968251A9C361}"/>
              </a:ext>
            </a:extLst>
          </p:cNvPr>
          <p:cNvSpPr txBox="1"/>
          <p:nvPr/>
        </p:nvSpPr>
        <p:spPr>
          <a:xfrm>
            <a:off x="2316043" y="3621038"/>
            <a:ext cx="1687609" cy="23458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透视变换</a:t>
            </a: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34CD2E5D-0B96-41CF-AC5F-34EA76A5CAE9}"/>
              </a:ext>
            </a:extLst>
          </p:cNvPr>
          <p:cNvSpPr txBox="1"/>
          <p:nvPr/>
        </p:nvSpPr>
        <p:spPr>
          <a:xfrm>
            <a:off x="9990040" y="3621127"/>
            <a:ext cx="1687096" cy="23449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文本弯曲排列</a:t>
            </a:r>
          </a:p>
        </p:txBody>
      </p:sp>
      <p:pic>
        <p:nvPicPr>
          <p:cNvPr id="144" name="图片 143">
            <a:extLst>
              <a:ext uri="{FF2B5EF4-FFF2-40B4-BE49-F238E27FC236}">
                <a16:creationId xmlns:a16="http://schemas.microsoft.com/office/drawing/2014/main" id="{6C91B8B1-830D-41FE-8A12-30986773948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468" y="5343245"/>
            <a:ext cx="1684758" cy="1047665"/>
          </a:xfrm>
          <a:prstGeom prst="rect">
            <a:avLst/>
          </a:prstGeom>
          <a:ln w="3175">
            <a:noFill/>
          </a:ln>
        </p:spPr>
      </p:pic>
      <p:pic>
        <p:nvPicPr>
          <p:cNvPr id="145" name="图片 144">
            <a:extLst>
              <a:ext uri="{FF2B5EF4-FFF2-40B4-BE49-F238E27FC236}">
                <a16:creationId xmlns:a16="http://schemas.microsoft.com/office/drawing/2014/main" id="{CD5F8AAE-F82B-4E13-9855-E9B0D249C12B}"/>
              </a:ext>
            </a:extLst>
          </p:cNvPr>
          <p:cNvPicPr>
            <a:picLocks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4234542" y="5343245"/>
            <a:ext cx="1687609" cy="1047665"/>
          </a:xfrm>
          <a:prstGeom prst="rect">
            <a:avLst/>
          </a:prstGeom>
        </p:spPr>
      </p:pic>
      <p:pic>
        <p:nvPicPr>
          <p:cNvPr id="146" name="图片 145">
            <a:extLst>
              <a:ext uri="{FF2B5EF4-FFF2-40B4-BE49-F238E27FC236}">
                <a16:creationId xmlns:a16="http://schemas.microsoft.com/office/drawing/2014/main" id="{5B85F3B2-5843-41FC-89E7-DD19011B9DC7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6153041" y="5343245"/>
            <a:ext cx="1687609" cy="1047665"/>
          </a:xfrm>
          <a:prstGeom prst="rect">
            <a:avLst/>
          </a:prstGeom>
        </p:spPr>
      </p:pic>
      <p:pic>
        <p:nvPicPr>
          <p:cNvPr id="147" name="图片 146">
            <a:extLst>
              <a:ext uri="{FF2B5EF4-FFF2-40B4-BE49-F238E27FC236}">
                <a16:creationId xmlns:a16="http://schemas.microsoft.com/office/drawing/2014/main" id="{B2CB82EB-F54A-48B0-AE65-6012CF090F80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2965" y="5343245"/>
            <a:ext cx="1684758" cy="104766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49" name="文本框 148">
            <a:extLst>
              <a:ext uri="{FF2B5EF4-FFF2-40B4-BE49-F238E27FC236}">
                <a16:creationId xmlns:a16="http://schemas.microsoft.com/office/drawing/2014/main" id="{A77725D8-C50E-47BD-A265-D72FC922695F}"/>
              </a:ext>
            </a:extLst>
          </p:cNvPr>
          <p:cNvSpPr txBox="1"/>
          <p:nvPr/>
        </p:nvSpPr>
        <p:spPr>
          <a:xfrm>
            <a:off x="6153041" y="5116552"/>
            <a:ext cx="1687609" cy="23458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外文</a:t>
            </a: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F8939B6B-DC15-4470-92B7-7D3C09414C84}"/>
              </a:ext>
            </a:extLst>
          </p:cNvPr>
          <p:cNvSpPr txBox="1"/>
          <p:nvPr/>
        </p:nvSpPr>
        <p:spPr>
          <a:xfrm>
            <a:off x="8071540" y="5116552"/>
            <a:ext cx="1687096" cy="23449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艺术字体</a:t>
            </a:r>
          </a:p>
        </p:txBody>
      </p:sp>
      <p:sp>
        <p:nvSpPr>
          <p:cNvPr id="151" name="文本框 150">
            <a:extLst>
              <a:ext uri="{FF2B5EF4-FFF2-40B4-BE49-F238E27FC236}">
                <a16:creationId xmlns:a16="http://schemas.microsoft.com/office/drawing/2014/main" id="{294BE042-AA48-4B98-BFB1-D18369B89CB1}"/>
              </a:ext>
            </a:extLst>
          </p:cNvPr>
          <p:cNvSpPr txBox="1"/>
          <p:nvPr/>
        </p:nvSpPr>
        <p:spPr>
          <a:xfrm>
            <a:off x="4234542" y="5116552"/>
            <a:ext cx="1687609" cy="23449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残缺</a:t>
            </a:r>
          </a:p>
        </p:txBody>
      </p:sp>
      <p:sp>
        <p:nvSpPr>
          <p:cNvPr id="152" name="文本框 151">
            <a:extLst>
              <a:ext uri="{FF2B5EF4-FFF2-40B4-BE49-F238E27FC236}">
                <a16:creationId xmlns:a16="http://schemas.microsoft.com/office/drawing/2014/main" id="{A3D69989-96F3-43A9-9175-1CF1688BE08B}"/>
              </a:ext>
            </a:extLst>
          </p:cNvPr>
          <p:cNvSpPr txBox="1"/>
          <p:nvPr/>
        </p:nvSpPr>
        <p:spPr>
          <a:xfrm>
            <a:off x="2316043" y="5116463"/>
            <a:ext cx="1687609" cy="23458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>
            <a:defPPr>
              <a:defRPr lang="zh-CN"/>
            </a:defPPr>
            <a:lvl1pPr algn="ctr" defTabSz="825500" hangingPunct="0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文本弯曲排列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76612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0" name="图片 629" descr="http://km.oa.com/files/photos/pictures/201903/1553749250_87_w1269_h707.png">
            <a:extLst>
              <a:ext uri="{FF2B5EF4-FFF2-40B4-BE49-F238E27FC236}">
                <a16:creationId xmlns:a16="http://schemas.microsoft.com/office/drawing/2014/main" id="{03B899AD-0ADA-4744-B5D6-FAE175B34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t="830" r="75858" b="67686"/>
          <a:stretch>
            <a:fillRect/>
          </a:stretch>
        </p:blipFill>
        <p:spPr bwMode="auto">
          <a:xfrm>
            <a:off x="8411979" y="1754374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9" name="图片 628" descr="http://km.oa.com/files/photos/pictures/201903/1553749250_87_w1269_h707.png">
            <a:extLst>
              <a:ext uri="{FF2B5EF4-FFF2-40B4-BE49-F238E27FC236}">
                <a16:creationId xmlns:a16="http://schemas.microsoft.com/office/drawing/2014/main" id="{4ACBAC7D-7940-4D2D-B9F1-3CFB86938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74" t="830" r="50746" b="67686"/>
          <a:stretch>
            <a:fillRect/>
          </a:stretch>
        </p:blipFill>
        <p:spPr bwMode="auto">
          <a:xfrm>
            <a:off x="9262175" y="1754374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" name="图片 627" descr="http://km.oa.com/files/photos/pictures/201903/1553749250_87_w1269_h707.png">
            <a:extLst>
              <a:ext uri="{FF2B5EF4-FFF2-40B4-BE49-F238E27FC236}">
                <a16:creationId xmlns:a16="http://schemas.microsoft.com/office/drawing/2014/main" id="{749DE04A-918B-4F3C-85E5-E91E3239A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14" t="830" r="25706" b="67686"/>
          <a:stretch>
            <a:fillRect/>
          </a:stretch>
        </p:blipFill>
        <p:spPr bwMode="auto">
          <a:xfrm>
            <a:off x="10176543" y="1754374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" name="图片 626" descr="http://km.oa.com/files/photos/pictures/201903/1553749250_87_w1269_h707.png">
            <a:extLst>
              <a:ext uri="{FF2B5EF4-FFF2-40B4-BE49-F238E27FC236}">
                <a16:creationId xmlns:a16="http://schemas.microsoft.com/office/drawing/2014/main" id="{E22892A6-E4F9-4712-A5CD-C6C688C9D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55" t="830" r="666" b="67686"/>
          <a:stretch>
            <a:fillRect/>
          </a:stretch>
        </p:blipFill>
        <p:spPr bwMode="auto">
          <a:xfrm>
            <a:off x="11024228" y="1754374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" name="图片 625" descr="http://km.oa.com/files/photos/pictures/201903/1553749250_87_w1269_h707.png">
            <a:extLst>
              <a:ext uri="{FF2B5EF4-FFF2-40B4-BE49-F238E27FC236}">
                <a16:creationId xmlns:a16="http://schemas.microsoft.com/office/drawing/2014/main" id="{F000D448-F042-4C67-B115-9D095C648F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t="33995" r="75858" b="34521"/>
          <a:stretch>
            <a:fillRect/>
          </a:stretch>
        </p:blipFill>
        <p:spPr bwMode="auto">
          <a:xfrm>
            <a:off x="8411979" y="2456867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" name="图片 624" descr="http://km.oa.com/files/photos/pictures/201903/1553749250_87_w1269_h707.png">
            <a:extLst>
              <a:ext uri="{FF2B5EF4-FFF2-40B4-BE49-F238E27FC236}">
                <a16:creationId xmlns:a16="http://schemas.microsoft.com/office/drawing/2014/main" id="{28D093FC-E9DA-4D1C-8517-BA34B935E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74" t="33995" r="50746" b="34521"/>
          <a:stretch>
            <a:fillRect/>
          </a:stretch>
        </p:blipFill>
        <p:spPr bwMode="auto">
          <a:xfrm>
            <a:off x="9262175" y="2456867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" name="图片 623" descr="http://km.oa.com/files/photos/pictures/201903/1553749250_87_w1269_h707.png">
            <a:extLst>
              <a:ext uri="{FF2B5EF4-FFF2-40B4-BE49-F238E27FC236}">
                <a16:creationId xmlns:a16="http://schemas.microsoft.com/office/drawing/2014/main" id="{A4B83314-3848-4A4B-9D2D-BF4D31D2F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14" t="33995" r="25706" b="34521"/>
          <a:stretch>
            <a:fillRect/>
          </a:stretch>
        </p:blipFill>
        <p:spPr bwMode="auto">
          <a:xfrm>
            <a:off x="10176543" y="2456867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3" name="图片 622" descr="http://km.oa.com/files/photos/pictures/201903/1553749250_87_w1269_h707.png">
            <a:extLst>
              <a:ext uri="{FF2B5EF4-FFF2-40B4-BE49-F238E27FC236}">
                <a16:creationId xmlns:a16="http://schemas.microsoft.com/office/drawing/2014/main" id="{C8B62B12-3B97-4FCF-87C6-75756D1A3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55" t="33995" r="666" b="34521"/>
          <a:stretch>
            <a:fillRect/>
          </a:stretch>
        </p:blipFill>
        <p:spPr bwMode="auto">
          <a:xfrm>
            <a:off x="11024228" y="2456867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2" name="图片 621" descr="http://km.oa.com/files/photos/pictures/201903/1553749250_87_w1269_h707.png">
            <a:extLst>
              <a:ext uri="{FF2B5EF4-FFF2-40B4-BE49-F238E27FC236}">
                <a16:creationId xmlns:a16="http://schemas.microsoft.com/office/drawing/2014/main" id="{16B880A2-7B51-42B0-B84F-8D2DAE844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t="67031" r="75858" b="1485"/>
          <a:stretch>
            <a:fillRect/>
          </a:stretch>
        </p:blipFill>
        <p:spPr bwMode="auto">
          <a:xfrm>
            <a:off x="8411979" y="3153533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1" name="图片 620" descr="http://km.oa.com/files/photos/pictures/201903/1553749250_87_w1269_h707.png">
            <a:extLst>
              <a:ext uri="{FF2B5EF4-FFF2-40B4-BE49-F238E27FC236}">
                <a16:creationId xmlns:a16="http://schemas.microsoft.com/office/drawing/2014/main" id="{5D933A84-BE9B-4855-AEBC-0B8695576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74" t="67031" r="50746" b="1485"/>
          <a:stretch>
            <a:fillRect/>
          </a:stretch>
        </p:blipFill>
        <p:spPr bwMode="auto">
          <a:xfrm>
            <a:off x="9262175" y="3153533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0" name="图片 619" descr="http://km.oa.com/files/photos/pictures/201903/1553749250_87_w1269_h707.png">
            <a:extLst>
              <a:ext uri="{FF2B5EF4-FFF2-40B4-BE49-F238E27FC236}">
                <a16:creationId xmlns:a16="http://schemas.microsoft.com/office/drawing/2014/main" id="{1F5A8A43-0B75-49CC-A9CE-DF415B6C86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14" t="67031" r="25706" b="1485"/>
          <a:stretch>
            <a:fillRect/>
          </a:stretch>
        </p:blipFill>
        <p:spPr bwMode="auto">
          <a:xfrm>
            <a:off x="10176543" y="3153533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9" name="图片 618" descr="http://km.oa.com/files/photos/pictures/201903/1553749250_87_w1269_h707.png">
            <a:extLst>
              <a:ext uri="{FF2B5EF4-FFF2-40B4-BE49-F238E27FC236}">
                <a16:creationId xmlns:a16="http://schemas.microsoft.com/office/drawing/2014/main" id="{7DDA9FC8-C09E-4ABE-9839-4E7A4FBD8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55" t="67031" r="666" b="1485"/>
          <a:stretch>
            <a:fillRect/>
          </a:stretch>
        </p:blipFill>
        <p:spPr bwMode="auto">
          <a:xfrm>
            <a:off x="11024228" y="3153533"/>
            <a:ext cx="829632" cy="617156"/>
          </a:xfrm>
          <a:custGeom>
            <a:avLst/>
            <a:gdLst>
              <a:gd name="connsiteX0" fmla="*/ 0 w 787061"/>
              <a:gd name="connsiteY0" fmla="*/ 0 h 585488"/>
              <a:gd name="connsiteX1" fmla="*/ 787061 w 787061"/>
              <a:gd name="connsiteY1" fmla="*/ 0 h 585488"/>
              <a:gd name="connsiteX2" fmla="*/ 787061 w 787061"/>
              <a:gd name="connsiteY2" fmla="*/ 585488 h 585488"/>
              <a:gd name="connsiteX3" fmla="*/ 0 w 787061"/>
              <a:gd name="connsiteY3" fmla="*/ 585488 h 585488"/>
              <a:gd name="connsiteX4" fmla="*/ 0 w 787061"/>
              <a:gd name="connsiteY4" fmla="*/ 0 h 58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7061" h="585488">
                <a:moveTo>
                  <a:pt x="0" y="0"/>
                </a:moveTo>
                <a:lnTo>
                  <a:pt x="787061" y="0"/>
                </a:lnTo>
                <a:lnTo>
                  <a:pt x="787061" y="585488"/>
                </a:lnTo>
                <a:lnTo>
                  <a:pt x="0" y="585488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4" name="流程图: 过程 263">
            <a:extLst>
              <a:ext uri="{FF2B5EF4-FFF2-40B4-BE49-F238E27FC236}">
                <a16:creationId xmlns:a16="http://schemas.microsoft.com/office/drawing/2014/main" id="{E05995E5-5B6E-4C2A-8F52-483958598425}"/>
              </a:ext>
            </a:extLst>
          </p:cNvPr>
          <p:cNvSpPr/>
          <p:nvPr/>
        </p:nvSpPr>
        <p:spPr>
          <a:xfrm>
            <a:off x="1427788" y="2459179"/>
            <a:ext cx="359073" cy="21544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输入</a:t>
            </a: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374" name="标题 1">
            <a:extLst>
              <a:ext uri="{FF2B5EF4-FFF2-40B4-BE49-F238E27FC236}">
                <a16:creationId xmlns:a16="http://schemas.microsoft.com/office/drawing/2014/main" id="{7225AF94-A528-4CF7-92E3-693A11DEE127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I OCR </a:t>
            </a:r>
            <a:r>
              <a:rPr lang="zh-CN" altLang="en-US" dirty="0"/>
              <a:t>原理</a:t>
            </a:r>
          </a:p>
        </p:txBody>
      </p:sp>
      <p:sp>
        <p:nvSpPr>
          <p:cNvPr id="376" name="矩形: 圆角 375">
            <a:extLst>
              <a:ext uri="{FF2B5EF4-FFF2-40B4-BE49-F238E27FC236}">
                <a16:creationId xmlns:a16="http://schemas.microsoft.com/office/drawing/2014/main" id="{A015F4D3-B68E-46E9-B010-D21C8C45F9BF}"/>
              </a:ext>
            </a:extLst>
          </p:cNvPr>
          <p:cNvSpPr/>
          <p:nvPr/>
        </p:nvSpPr>
        <p:spPr>
          <a:xfrm>
            <a:off x="330200" y="2272054"/>
            <a:ext cx="980954" cy="9809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grpSp>
        <p:nvGrpSpPr>
          <p:cNvPr id="377" name="组合 376">
            <a:extLst>
              <a:ext uri="{FF2B5EF4-FFF2-40B4-BE49-F238E27FC236}">
                <a16:creationId xmlns:a16="http://schemas.microsoft.com/office/drawing/2014/main" id="{1260467B-87C9-496F-8EAB-2F8FF97F2A4E}"/>
              </a:ext>
            </a:extLst>
          </p:cNvPr>
          <p:cNvGrpSpPr/>
          <p:nvPr/>
        </p:nvGrpSpPr>
        <p:grpSpPr>
          <a:xfrm>
            <a:off x="578213" y="2542582"/>
            <a:ext cx="484927" cy="439898"/>
            <a:chOff x="584253" y="2422328"/>
            <a:chExt cx="484927" cy="439898"/>
          </a:xfrm>
          <a:solidFill>
            <a:schemeClr val="bg1"/>
          </a:solidFill>
        </p:grpSpPr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3E444269-7998-4E16-A9C4-C4B1526C80D2}"/>
                </a:ext>
              </a:extLst>
            </p:cNvPr>
            <p:cNvSpPr/>
            <p:nvPr/>
          </p:nvSpPr>
          <p:spPr>
            <a:xfrm>
              <a:off x="605035" y="2467357"/>
              <a:ext cx="439898" cy="20782"/>
            </a:xfrm>
            <a:custGeom>
              <a:avLst/>
              <a:gdLst>
                <a:gd name="connsiteX0" fmla="*/ 0 w 439898"/>
                <a:gd name="connsiteY0" fmla="*/ 0 h 20782"/>
                <a:gd name="connsiteX1" fmla="*/ 439899 w 439898"/>
                <a:gd name="connsiteY1" fmla="*/ 0 h 20782"/>
                <a:gd name="connsiteX2" fmla="*/ 439899 w 439898"/>
                <a:gd name="connsiteY2" fmla="*/ 20783 h 20782"/>
                <a:gd name="connsiteX3" fmla="*/ 0 w 439898"/>
                <a:gd name="connsiteY3" fmla="*/ 20783 h 2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898" h="20782">
                  <a:moveTo>
                    <a:pt x="0" y="0"/>
                  </a:moveTo>
                  <a:lnTo>
                    <a:pt x="439899" y="0"/>
                  </a:lnTo>
                  <a:lnTo>
                    <a:pt x="439899" y="20783"/>
                  </a:lnTo>
                  <a:lnTo>
                    <a:pt x="0" y="20783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C2355557-6D69-4D33-9A5E-47CF9DF53A8A}"/>
                </a:ext>
              </a:extLst>
            </p:cNvPr>
            <p:cNvSpPr/>
            <p:nvPr/>
          </p:nvSpPr>
          <p:spPr>
            <a:xfrm>
              <a:off x="629282" y="2422328"/>
              <a:ext cx="398333" cy="20782"/>
            </a:xfrm>
            <a:custGeom>
              <a:avLst/>
              <a:gdLst>
                <a:gd name="connsiteX0" fmla="*/ 0 w 398333"/>
                <a:gd name="connsiteY0" fmla="*/ 0 h 20782"/>
                <a:gd name="connsiteX1" fmla="*/ 398334 w 398333"/>
                <a:gd name="connsiteY1" fmla="*/ 0 h 20782"/>
                <a:gd name="connsiteX2" fmla="*/ 398334 w 398333"/>
                <a:gd name="connsiteY2" fmla="*/ 20783 h 20782"/>
                <a:gd name="connsiteX3" fmla="*/ 0 w 398333"/>
                <a:gd name="connsiteY3" fmla="*/ 20783 h 2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333" h="20782">
                  <a:moveTo>
                    <a:pt x="0" y="0"/>
                  </a:moveTo>
                  <a:lnTo>
                    <a:pt x="398334" y="0"/>
                  </a:lnTo>
                  <a:lnTo>
                    <a:pt x="398334" y="20783"/>
                  </a:lnTo>
                  <a:lnTo>
                    <a:pt x="0" y="20783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31E3C3DE-46F1-4190-ACAB-581C85FA43FE}"/>
                </a:ext>
              </a:extLst>
            </p:cNvPr>
            <p:cNvSpPr/>
            <p:nvPr/>
          </p:nvSpPr>
          <p:spPr>
            <a:xfrm>
              <a:off x="629282" y="2596382"/>
              <a:ext cx="394869" cy="220815"/>
            </a:xfrm>
            <a:custGeom>
              <a:avLst/>
              <a:gdLst>
                <a:gd name="connsiteX0" fmla="*/ 284029 w 394869"/>
                <a:gd name="connsiteY0" fmla="*/ 85728 h 220815"/>
                <a:gd name="connsiteX1" fmla="*/ 277102 w 394869"/>
                <a:gd name="connsiteY1" fmla="*/ 85728 h 220815"/>
                <a:gd name="connsiteX2" fmla="*/ 214754 w 394869"/>
                <a:gd name="connsiteY2" fmla="*/ 127294 h 220815"/>
                <a:gd name="connsiteX3" fmla="*/ 211290 w 394869"/>
                <a:gd name="connsiteY3" fmla="*/ 127294 h 220815"/>
                <a:gd name="connsiteX4" fmla="*/ 138551 w 394869"/>
                <a:gd name="connsiteY4" fmla="*/ 2598 h 220815"/>
                <a:gd name="connsiteX5" fmla="*/ 131623 w 394869"/>
                <a:gd name="connsiteY5" fmla="*/ 2598 h 220815"/>
                <a:gd name="connsiteX6" fmla="*/ 0 w 394869"/>
                <a:gd name="connsiteY6" fmla="*/ 213888 h 220815"/>
                <a:gd name="connsiteX7" fmla="*/ 3464 w 394869"/>
                <a:gd name="connsiteY7" fmla="*/ 220815 h 220815"/>
                <a:gd name="connsiteX8" fmla="*/ 391406 w 394869"/>
                <a:gd name="connsiteY8" fmla="*/ 220815 h 220815"/>
                <a:gd name="connsiteX9" fmla="*/ 394870 w 394869"/>
                <a:gd name="connsiteY9" fmla="*/ 213888 h 220815"/>
                <a:gd name="connsiteX10" fmla="*/ 284029 w 394869"/>
                <a:gd name="connsiteY10" fmla="*/ 85728 h 220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4869" h="220815">
                  <a:moveTo>
                    <a:pt x="284029" y="85728"/>
                  </a:moveTo>
                  <a:cubicBezTo>
                    <a:pt x="280565" y="82265"/>
                    <a:pt x="277102" y="82265"/>
                    <a:pt x="277102" y="85728"/>
                  </a:cubicBezTo>
                  <a:lnTo>
                    <a:pt x="214754" y="127294"/>
                  </a:lnTo>
                  <a:cubicBezTo>
                    <a:pt x="214754" y="127294"/>
                    <a:pt x="211290" y="127294"/>
                    <a:pt x="211290" y="127294"/>
                  </a:cubicBezTo>
                  <a:lnTo>
                    <a:pt x="138551" y="2598"/>
                  </a:lnTo>
                  <a:cubicBezTo>
                    <a:pt x="138551" y="-866"/>
                    <a:pt x="135087" y="-866"/>
                    <a:pt x="131623" y="2598"/>
                  </a:cubicBezTo>
                  <a:lnTo>
                    <a:pt x="0" y="213888"/>
                  </a:lnTo>
                  <a:cubicBezTo>
                    <a:pt x="0" y="217352"/>
                    <a:pt x="0" y="220815"/>
                    <a:pt x="3464" y="220815"/>
                  </a:cubicBezTo>
                  <a:lnTo>
                    <a:pt x="391406" y="220815"/>
                  </a:lnTo>
                  <a:cubicBezTo>
                    <a:pt x="394870" y="220815"/>
                    <a:pt x="394870" y="217352"/>
                    <a:pt x="394870" y="213888"/>
                  </a:cubicBezTo>
                  <a:lnTo>
                    <a:pt x="284029" y="85728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9FAC543B-EAB2-455E-B2A5-34613320C485}"/>
                </a:ext>
              </a:extLst>
            </p:cNvPr>
            <p:cNvSpPr/>
            <p:nvPr/>
          </p:nvSpPr>
          <p:spPr>
            <a:xfrm>
              <a:off x="937557" y="2553951"/>
              <a:ext cx="69275" cy="69275"/>
            </a:xfrm>
            <a:custGeom>
              <a:avLst/>
              <a:gdLst>
                <a:gd name="connsiteX0" fmla="*/ 0 w 69275"/>
                <a:gd name="connsiteY0" fmla="*/ 34638 h 69275"/>
                <a:gd name="connsiteX1" fmla="*/ 34638 w 69275"/>
                <a:gd name="connsiteY1" fmla="*/ 69275 h 69275"/>
                <a:gd name="connsiteX2" fmla="*/ 69275 w 69275"/>
                <a:gd name="connsiteY2" fmla="*/ 34638 h 69275"/>
                <a:gd name="connsiteX3" fmla="*/ 34638 w 69275"/>
                <a:gd name="connsiteY3" fmla="*/ 0 h 69275"/>
                <a:gd name="connsiteX4" fmla="*/ 0 w 69275"/>
                <a:gd name="connsiteY4" fmla="*/ 34638 h 69275"/>
                <a:gd name="connsiteX5" fmla="*/ 0 w 69275"/>
                <a:gd name="connsiteY5" fmla="*/ 34638 h 6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275" h="69275">
                  <a:moveTo>
                    <a:pt x="0" y="34638"/>
                  </a:moveTo>
                  <a:cubicBezTo>
                    <a:pt x="0" y="51957"/>
                    <a:pt x="13855" y="69275"/>
                    <a:pt x="34638" y="69275"/>
                  </a:cubicBezTo>
                  <a:cubicBezTo>
                    <a:pt x="51957" y="69275"/>
                    <a:pt x="69275" y="55420"/>
                    <a:pt x="69275" y="34638"/>
                  </a:cubicBezTo>
                  <a:cubicBezTo>
                    <a:pt x="69275" y="17319"/>
                    <a:pt x="55420" y="0"/>
                    <a:pt x="34638" y="0"/>
                  </a:cubicBezTo>
                  <a:cubicBezTo>
                    <a:pt x="13855" y="0"/>
                    <a:pt x="0" y="13855"/>
                    <a:pt x="0" y="34638"/>
                  </a:cubicBezTo>
                  <a:lnTo>
                    <a:pt x="0" y="34638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F7DBCCAF-E8BA-40BC-8841-D6F06961B9F6}"/>
                </a:ext>
              </a:extLst>
            </p:cNvPr>
            <p:cNvSpPr/>
            <p:nvPr/>
          </p:nvSpPr>
          <p:spPr>
            <a:xfrm>
              <a:off x="584253" y="2508922"/>
              <a:ext cx="484927" cy="353304"/>
            </a:xfrm>
            <a:custGeom>
              <a:avLst/>
              <a:gdLst>
                <a:gd name="connsiteX0" fmla="*/ 0 w 484927"/>
                <a:gd name="connsiteY0" fmla="*/ 3464 h 353304"/>
                <a:gd name="connsiteX1" fmla="*/ 0 w 484927"/>
                <a:gd name="connsiteY1" fmla="*/ 349841 h 353304"/>
                <a:gd name="connsiteX2" fmla="*/ 3464 w 484927"/>
                <a:gd name="connsiteY2" fmla="*/ 353304 h 353304"/>
                <a:gd name="connsiteX3" fmla="*/ 481464 w 484927"/>
                <a:gd name="connsiteY3" fmla="*/ 353304 h 353304"/>
                <a:gd name="connsiteX4" fmla="*/ 484928 w 484927"/>
                <a:gd name="connsiteY4" fmla="*/ 349841 h 353304"/>
                <a:gd name="connsiteX5" fmla="*/ 484928 w 484927"/>
                <a:gd name="connsiteY5" fmla="*/ 3464 h 353304"/>
                <a:gd name="connsiteX6" fmla="*/ 481464 w 484927"/>
                <a:gd name="connsiteY6" fmla="*/ 0 h 353304"/>
                <a:gd name="connsiteX7" fmla="*/ 0 w 484927"/>
                <a:gd name="connsiteY7" fmla="*/ 3464 h 353304"/>
                <a:gd name="connsiteX8" fmla="*/ 0 w 484927"/>
                <a:gd name="connsiteY8" fmla="*/ 3464 h 353304"/>
                <a:gd name="connsiteX9" fmla="*/ 0 w 484927"/>
                <a:gd name="connsiteY9" fmla="*/ 3464 h 353304"/>
                <a:gd name="connsiteX10" fmla="*/ 20783 w 484927"/>
                <a:gd name="connsiteY10" fmla="*/ 24246 h 353304"/>
                <a:gd name="connsiteX11" fmla="*/ 460682 w 484927"/>
                <a:gd name="connsiteY11" fmla="*/ 24246 h 353304"/>
                <a:gd name="connsiteX12" fmla="*/ 460682 w 484927"/>
                <a:gd name="connsiteY12" fmla="*/ 332522 h 353304"/>
                <a:gd name="connsiteX13" fmla="*/ 20783 w 484927"/>
                <a:gd name="connsiteY13" fmla="*/ 332522 h 353304"/>
                <a:gd name="connsiteX14" fmla="*/ 20783 w 484927"/>
                <a:gd name="connsiteY14" fmla="*/ 24246 h 35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4927" h="353304">
                  <a:moveTo>
                    <a:pt x="0" y="3464"/>
                  </a:moveTo>
                  <a:lnTo>
                    <a:pt x="0" y="349841"/>
                  </a:lnTo>
                  <a:cubicBezTo>
                    <a:pt x="0" y="349841"/>
                    <a:pt x="0" y="353304"/>
                    <a:pt x="3464" y="353304"/>
                  </a:cubicBezTo>
                  <a:lnTo>
                    <a:pt x="481464" y="353304"/>
                  </a:lnTo>
                  <a:cubicBezTo>
                    <a:pt x="481464" y="353304"/>
                    <a:pt x="484928" y="353304"/>
                    <a:pt x="484928" y="349841"/>
                  </a:cubicBezTo>
                  <a:lnTo>
                    <a:pt x="484928" y="3464"/>
                  </a:lnTo>
                  <a:cubicBezTo>
                    <a:pt x="484928" y="3464"/>
                    <a:pt x="484928" y="0"/>
                    <a:pt x="481464" y="0"/>
                  </a:cubicBezTo>
                  <a:lnTo>
                    <a:pt x="0" y="3464"/>
                  </a:lnTo>
                  <a:cubicBezTo>
                    <a:pt x="0" y="0"/>
                    <a:pt x="0" y="3464"/>
                    <a:pt x="0" y="3464"/>
                  </a:cubicBezTo>
                  <a:lnTo>
                    <a:pt x="0" y="3464"/>
                  </a:lnTo>
                  <a:close/>
                  <a:moveTo>
                    <a:pt x="20783" y="24246"/>
                  </a:moveTo>
                  <a:lnTo>
                    <a:pt x="460682" y="24246"/>
                  </a:lnTo>
                  <a:lnTo>
                    <a:pt x="460682" y="332522"/>
                  </a:lnTo>
                  <a:lnTo>
                    <a:pt x="20783" y="332522"/>
                  </a:lnTo>
                  <a:lnTo>
                    <a:pt x="20783" y="24246"/>
                  </a:lnTo>
                  <a:close/>
                </a:path>
              </a:pathLst>
            </a:custGeom>
            <a:grpFill/>
            <a:ln w="340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ED43E6BC-D093-401D-A3E8-0D2742580D54}"/>
              </a:ext>
            </a:extLst>
          </p:cNvPr>
          <p:cNvGrpSpPr/>
          <p:nvPr/>
        </p:nvGrpSpPr>
        <p:grpSpPr>
          <a:xfrm>
            <a:off x="3995733" y="2254291"/>
            <a:ext cx="820085" cy="1016480"/>
            <a:chOff x="4633654" y="2101891"/>
            <a:chExt cx="820085" cy="1016480"/>
          </a:xfrm>
        </p:grpSpPr>
        <p:sp>
          <p:nvSpPr>
            <p:cNvPr id="494" name="任意多边形: 形状 493">
              <a:extLst>
                <a:ext uri="{FF2B5EF4-FFF2-40B4-BE49-F238E27FC236}">
                  <a16:creationId xmlns:a16="http://schemas.microsoft.com/office/drawing/2014/main" id="{347F4416-A44C-4FB3-950C-2330FF9B4469}"/>
                </a:ext>
              </a:extLst>
            </p:cNvPr>
            <p:cNvSpPr/>
            <p:nvPr/>
          </p:nvSpPr>
          <p:spPr>
            <a:xfrm>
              <a:off x="4633654" y="2101891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5" name="任意多边形: 形状 494">
              <a:extLst>
                <a:ext uri="{FF2B5EF4-FFF2-40B4-BE49-F238E27FC236}">
                  <a16:creationId xmlns:a16="http://schemas.microsoft.com/office/drawing/2014/main" id="{5301CF43-CFF8-452C-8BEF-885479A7BD93}"/>
                </a:ext>
              </a:extLst>
            </p:cNvPr>
            <p:cNvSpPr/>
            <p:nvPr/>
          </p:nvSpPr>
          <p:spPr>
            <a:xfrm>
              <a:off x="4678862" y="2150902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6" name="任意多边形: 形状 495">
              <a:extLst>
                <a:ext uri="{FF2B5EF4-FFF2-40B4-BE49-F238E27FC236}">
                  <a16:creationId xmlns:a16="http://schemas.microsoft.com/office/drawing/2014/main" id="{361EE1DC-0498-41FB-9C13-28777FF246CC}"/>
                </a:ext>
              </a:extLst>
            </p:cNvPr>
            <p:cNvSpPr/>
            <p:nvPr/>
          </p:nvSpPr>
          <p:spPr>
            <a:xfrm>
              <a:off x="4724070" y="2198773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7" name="任意多边形: 形状 496">
              <a:extLst>
                <a:ext uri="{FF2B5EF4-FFF2-40B4-BE49-F238E27FC236}">
                  <a16:creationId xmlns:a16="http://schemas.microsoft.com/office/drawing/2014/main" id="{F7018F34-AAC6-429D-954C-B66D1E25DB1A}"/>
                </a:ext>
              </a:extLst>
            </p:cNvPr>
            <p:cNvSpPr/>
            <p:nvPr/>
          </p:nvSpPr>
          <p:spPr>
            <a:xfrm>
              <a:off x="4769278" y="2245639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8" name="任意多边形: 形状 497">
              <a:extLst>
                <a:ext uri="{FF2B5EF4-FFF2-40B4-BE49-F238E27FC236}">
                  <a16:creationId xmlns:a16="http://schemas.microsoft.com/office/drawing/2014/main" id="{744647D9-7978-46DE-AED2-C79915F8FC24}"/>
                </a:ext>
              </a:extLst>
            </p:cNvPr>
            <p:cNvSpPr/>
            <p:nvPr/>
          </p:nvSpPr>
          <p:spPr>
            <a:xfrm>
              <a:off x="4814486" y="2292505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9" name="任意多边形: 形状 498">
              <a:extLst>
                <a:ext uri="{FF2B5EF4-FFF2-40B4-BE49-F238E27FC236}">
                  <a16:creationId xmlns:a16="http://schemas.microsoft.com/office/drawing/2014/main" id="{AE7D8587-026A-4051-AE45-A5513DE85CBE}"/>
                </a:ext>
              </a:extLst>
            </p:cNvPr>
            <p:cNvSpPr/>
            <p:nvPr/>
          </p:nvSpPr>
          <p:spPr>
            <a:xfrm>
              <a:off x="4859694" y="2339371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0" name="任意多边形: 形状 499">
              <a:extLst>
                <a:ext uri="{FF2B5EF4-FFF2-40B4-BE49-F238E27FC236}">
                  <a16:creationId xmlns:a16="http://schemas.microsoft.com/office/drawing/2014/main" id="{D3EE489F-2850-40B0-931A-3A0396D27C90}"/>
                </a:ext>
              </a:extLst>
            </p:cNvPr>
            <p:cNvSpPr/>
            <p:nvPr/>
          </p:nvSpPr>
          <p:spPr>
            <a:xfrm>
              <a:off x="4904902" y="2386237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1" name="任意多边形: 形状 500">
              <a:extLst>
                <a:ext uri="{FF2B5EF4-FFF2-40B4-BE49-F238E27FC236}">
                  <a16:creationId xmlns:a16="http://schemas.microsoft.com/office/drawing/2014/main" id="{13E63954-FDF4-4E71-961D-4725D863FB2B}"/>
                </a:ext>
              </a:extLst>
            </p:cNvPr>
            <p:cNvSpPr/>
            <p:nvPr/>
          </p:nvSpPr>
          <p:spPr>
            <a:xfrm>
              <a:off x="4950110" y="2433103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90E4FD">
                <a:alpha val="80000"/>
              </a:srgbClr>
            </a:solidFill>
            <a:ln w="5344" cap="flat">
              <a:solidFill>
                <a:srgbClr val="16C2D4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BC90A132-6986-4E6F-9F72-71B2F9E67A60}"/>
                </a:ext>
              </a:extLst>
            </p:cNvPr>
            <p:cNvGrpSpPr/>
            <p:nvPr/>
          </p:nvGrpSpPr>
          <p:grpSpPr>
            <a:xfrm>
              <a:off x="4995318" y="2479969"/>
              <a:ext cx="458421" cy="638008"/>
              <a:chOff x="5526545" y="2519063"/>
              <a:chExt cx="458421" cy="638008"/>
            </a:xfrm>
          </p:grpSpPr>
          <p:sp>
            <p:nvSpPr>
              <p:cNvPr id="503" name="任意多边形: 形状 502">
                <a:extLst>
                  <a:ext uri="{FF2B5EF4-FFF2-40B4-BE49-F238E27FC236}">
                    <a16:creationId xmlns:a16="http://schemas.microsoft.com/office/drawing/2014/main" id="{D1F87462-059C-475A-B845-243E1425B5B8}"/>
                  </a:ext>
                </a:extLst>
              </p:cNvPr>
              <p:cNvSpPr/>
              <p:nvPr/>
            </p:nvSpPr>
            <p:spPr>
              <a:xfrm>
                <a:off x="5845549" y="2519063"/>
                <a:ext cx="139416" cy="122875"/>
              </a:xfrm>
              <a:custGeom>
                <a:avLst/>
                <a:gdLst>
                  <a:gd name="connsiteX0" fmla="*/ 11815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2876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1815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2876"/>
                    </a:lnTo>
                    <a:close/>
                  </a:path>
                </a:pathLst>
              </a:custGeom>
              <a:solidFill>
                <a:srgbClr val="90E4FD"/>
              </a:solidFill>
              <a:ln w="10688" cap="flat">
                <a:solidFill>
                  <a:srgbClr val="16C2D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" name="组合 6">
                <a:extLst>
                  <a:ext uri="{FF2B5EF4-FFF2-40B4-BE49-F238E27FC236}">
                    <a16:creationId xmlns:a16="http://schemas.microsoft.com/office/drawing/2014/main" id="{2D2FFEC7-A8F8-49C5-A56F-BE18198908A8}"/>
                  </a:ext>
                </a:extLst>
              </p:cNvPr>
              <p:cNvGrpSpPr/>
              <p:nvPr/>
            </p:nvGrpSpPr>
            <p:grpSpPr>
              <a:xfrm>
                <a:off x="5526545" y="2519063"/>
                <a:ext cx="458421" cy="638008"/>
                <a:chOff x="5526545" y="2519063"/>
                <a:chExt cx="458421" cy="638008"/>
              </a:xfrm>
            </p:grpSpPr>
            <p:sp>
              <p:nvSpPr>
                <p:cNvPr id="502" name="任意多边形: 形状 501">
                  <a:extLst>
                    <a:ext uri="{FF2B5EF4-FFF2-40B4-BE49-F238E27FC236}">
                      <a16:creationId xmlns:a16="http://schemas.microsoft.com/office/drawing/2014/main" id="{38D26A38-EB94-4533-864E-2B95C39B0BED}"/>
                    </a:ext>
                  </a:extLst>
                </p:cNvPr>
                <p:cNvSpPr/>
                <p:nvPr/>
              </p:nvSpPr>
              <p:spPr>
                <a:xfrm>
                  <a:off x="5526545" y="2519063"/>
                  <a:ext cx="458421" cy="638008"/>
                </a:xfrm>
                <a:custGeom>
                  <a:avLst/>
                  <a:gdLst>
                    <a:gd name="connsiteX0" fmla="*/ 319005 w 458421"/>
                    <a:gd name="connsiteY0" fmla="*/ 0 h 638008"/>
                    <a:gd name="connsiteX1" fmla="*/ 0 w 458421"/>
                    <a:gd name="connsiteY1" fmla="*/ 0 h 638008"/>
                    <a:gd name="connsiteX2" fmla="*/ 0 w 458421"/>
                    <a:gd name="connsiteY2" fmla="*/ 638009 h 638008"/>
                    <a:gd name="connsiteX3" fmla="*/ 458421 w 458421"/>
                    <a:gd name="connsiteY3" fmla="*/ 638009 h 638008"/>
                    <a:gd name="connsiteX4" fmla="*/ 458421 w 458421"/>
                    <a:gd name="connsiteY4" fmla="*/ 122876 h 638008"/>
                    <a:gd name="connsiteX5" fmla="*/ 319005 w 458421"/>
                    <a:gd name="connsiteY5" fmla="*/ 122876 h 638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8008">
                      <a:moveTo>
                        <a:pt x="319005" y="0"/>
                      </a:moveTo>
                      <a:lnTo>
                        <a:pt x="0" y="0"/>
                      </a:lnTo>
                      <a:lnTo>
                        <a:pt x="0" y="638009"/>
                      </a:lnTo>
                      <a:lnTo>
                        <a:pt x="458421" y="638009"/>
                      </a:lnTo>
                      <a:lnTo>
                        <a:pt x="458421" y="122876"/>
                      </a:lnTo>
                      <a:lnTo>
                        <a:pt x="319005" y="122876"/>
                      </a:lnTo>
                      <a:close/>
                    </a:path>
                  </a:pathLst>
                </a:custGeom>
                <a:solidFill>
                  <a:srgbClr val="90E4FD"/>
                </a:solidFill>
                <a:ln w="10688" cap="flat">
                  <a:solidFill>
                    <a:srgbClr val="16C2D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4" name="任意多边形: 形状 503">
                  <a:extLst>
                    <a:ext uri="{FF2B5EF4-FFF2-40B4-BE49-F238E27FC236}">
                      <a16:creationId xmlns:a16="http://schemas.microsoft.com/office/drawing/2014/main" id="{D0040C1D-7E52-4BCB-9E04-CEC196939765}"/>
                    </a:ext>
                  </a:extLst>
                </p:cNvPr>
                <p:cNvSpPr/>
                <p:nvPr/>
              </p:nvSpPr>
              <p:spPr>
                <a:xfrm>
                  <a:off x="5632575" y="2741185"/>
                  <a:ext cx="246360" cy="193765"/>
                </a:xfrm>
                <a:custGeom>
                  <a:avLst/>
                  <a:gdLst>
                    <a:gd name="connsiteX0" fmla="*/ 19457 w 246360"/>
                    <a:gd name="connsiteY0" fmla="*/ 25993 h 193765"/>
                    <a:gd name="connsiteX1" fmla="*/ 45450 w 246360"/>
                    <a:gd name="connsiteY1" fmla="*/ 51986 h 193765"/>
                    <a:gd name="connsiteX2" fmla="*/ 71443 w 246360"/>
                    <a:gd name="connsiteY2" fmla="*/ 25993 h 193765"/>
                    <a:gd name="connsiteX3" fmla="*/ 45450 w 246360"/>
                    <a:gd name="connsiteY3" fmla="*/ 0 h 193765"/>
                    <a:gd name="connsiteX4" fmla="*/ 19457 w 246360"/>
                    <a:gd name="connsiteY4" fmla="*/ 25993 h 193765"/>
                    <a:gd name="connsiteX5" fmla="*/ 19457 w 246360"/>
                    <a:gd name="connsiteY5" fmla="*/ 25993 h 193765"/>
                    <a:gd name="connsiteX6" fmla="*/ 54902 w 246360"/>
                    <a:gd name="connsiteY6" fmla="*/ 99246 h 193765"/>
                    <a:gd name="connsiteX7" fmla="*/ 118703 w 246360"/>
                    <a:gd name="connsiteY7" fmla="*/ 146506 h 193765"/>
                    <a:gd name="connsiteX8" fmla="*/ 182504 w 246360"/>
                    <a:gd name="connsiteY8" fmla="*/ 66164 h 193765"/>
                    <a:gd name="connsiteX9" fmla="*/ 243941 w 246360"/>
                    <a:gd name="connsiteY9" fmla="*/ 158321 h 193765"/>
                    <a:gd name="connsiteX10" fmla="*/ 203771 w 246360"/>
                    <a:gd name="connsiteY10" fmla="*/ 193766 h 193765"/>
                    <a:gd name="connsiteX11" fmla="*/ 19457 w 246360"/>
                    <a:gd name="connsiteY11" fmla="*/ 191403 h 193765"/>
                    <a:gd name="connsiteX12" fmla="*/ 5279 w 246360"/>
                    <a:gd name="connsiteY12" fmla="*/ 155958 h 193765"/>
                    <a:gd name="connsiteX13" fmla="*/ 54902 w 246360"/>
                    <a:gd name="connsiteY13" fmla="*/ 99246 h 193765"/>
                    <a:gd name="connsiteX14" fmla="*/ 54902 w 246360"/>
                    <a:gd name="connsiteY14" fmla="*/ 99246 h 193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3765">
                      <a:moveTo>
                        <a:pt x="19457" y="25993"/>
                      </a:moveTo>
                      <a:cubicBezTo>
                        <a:pt x="19457" y="40171"/>
                        <a:pt x="31272" y="51986"/>
                        <a:pt x="45450" y="51986"/>
                      </a:cubicBezTo>
                      <a:cubicBezTo>
                        <a:pt x="59628" y="51986"/>
                        <a:pt x="71443" y="40171"/>
                        <a:pt x="71443" y="25993"/>
                      </a:cubicBezTo>
                      <a:cubicBezTo>
                        <a:pt x="71443" y="11815"/>
                        <a:pt x="59628" y="0"/>
                        <a:pt x="45450" y="0"/>
                      </a:cubicBezTo>
                      <a:cubicBezTo>
                        <a:pt x="31272" y="0"/>
                        <a:pt x="19457" y="11815"/>
                        <a:pt x="19457" y="25993"/>
                      </a:cubicBezTo>
                      <a:lnTo>
                        <a:pt x="19457" y="25993"/>
                      </a:lnTo>
                      <a:close/>
                      <a:moveTo>
                        <a:pt x="54902" y="99246"/>
                      </a:moveTo>
                      <a:cubicBezTo>
                        <a:pt x="73806" y="99246"/>
                        <a:pt x="92710" y="146506"/>
                        <a:pt x="118703" y="146506"/>
                      </a:cubicBezTo>
                      <a:cubicBezTo>
                        <a:pt x="144696" y="146506"/>
                        <a:pt x="154148" y="66164"/>
                        <a:pt x="182504" y="66164"/>
                      </a:cubicBezTo>
                      <a:cubicBezTo>
                        <a:pt x="213222" y="66164"/>
                        <a:pt x="234490" y="129965"/>
                        <a:pt x="243941" y="158321"/>
                      </a:cubicBezTo>
                      <a:cubicBezTo>
                        <a:pt x="251030" y="186677"/>
                        <a:pt x="243941" y="193766"/>
                        <a:pt x="203771" y="193766"/>
                      </a:cubicBezTo>
                      <a:cubicBezTo>
                        <a:pt x="163600" y="193766"/>
                        <a:pt x="35998" y="191403"/>
                        <a:pt x="19457" y="191403"/>
                      </a:cubicBezTo>
                      <a:cubicBezTo>
                        <a:pt x="2916" y="191403"/>
                        <a:pt x="-6536" y="179588"/>
                        <a:pt x="5279" y="155958"/>
                      </a:cubicBezTo>
                      <a:cubicBezTo>
                        <a:pt x="14731" y="134691"/>
                        <a:pt x="35998" y="99246"/>
                        <a:pt x="54902" y="99246"/>
                      </a:cubicBezTo>
                      <a:lnTo>
                        <a:pt x="54902" y="99246"/>
                      </a:lnTo>
                      <a:close/>
                    </a:path>
                  </a:pathLst>
                </a:custGeom>
                <a:solidFill>
                  <a:srgbClr val="16C2D4"/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AAE02AC6-0066-4BD1-A3BA-0E3DFF5D761B}"/>
              </a:ext>
            </a:extLst>
          </p:cNvPr>
          <p:cNvGrpSpPr/>
          <p:nvPr/>
        </p:nvGrpSpPr>
        <p:grpSpPr>
          <a:xfrm>
            <a:off x="2911120" y="2302732"/>
            <a:ext cx="739617" cy="919598"/>
            <a:chOff x="3549041" y="2150332"/>
            <a:chExt cx="739617" cy="919598"/>
          </a:xfrm>
        </p:grpSpPr>
        <p:sp>
          <p:nvSpPr>
            <p:cNvPr id="484" name="任意多边形: 形状 483">
              <a:extLst>
                <a:ext uri="{FF2B5EF4-FFF2-40B4-BE49-F238E27FC236}">
                  <a16:creationId xmlns:a16="http://schemas.microsoft.com/office/drawing/2014/main" id="{85506EEB-422F-4E08-838F-06463182DEA3}"/>
                </a:ext>
              </a:extLst>
            </p:cNvPr>
            <p:cNvSpPr/>
            <p:nvPr/>
          </p:nvSpPr>
          <p:spPr>
            <a:xfrm>
              <a:off x="3549041" y="2150332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5" name="任意多边形: 形状 484">
              <a:extLst>
                <a:ext uri="{FF2B5EF4-FFF2-40B4-BE49-F238E27FC236}">
                  <a16:creationId xmlns:a16="http://schemas.microsoft.com/office/drawing/2014/main" id="{9FA387A9-5792-4E34-A328-8AE2D6D732D8}"/>
                </a:ext>
              </a:extLst>
            </p:cNvPr>
            <p:cNvSpPr/>
            <p:nvPr/>
          </p:nvSpPr>
          <p:spPr>
            <a:xfrm>
              <a:off x="3595907" y="2197198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6" name="任意多边形: 形状 485">
              <a:extLst>
                <a:ext uri="{FF2B5EF4-FFF2-40B4-BE49-F238E27FC236}">
                  <a16:creationId xmlns:a16="http://schemas.microsoft.com/office/drawing/2014/main" id="{FAADEA77-9037-46B5-B70D-9099D31DD4A5}"/>
                </a:ext>
              </a:extLst>
            </p:cNvPr>
            <p:cNvSpPr/>
            <p:nvPr/>
          </p:nvSpPr>
          <p:spPr>
            <a:xfrm>
              <a:off x="3642773" y="2244064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7" name="任意多边形: 形状 486">
              <a:extLst>
                <a:ext uri="{FF2B5EF4-FFF2-40B4-BE49-F238E27FC236}">
                  <a16:creationId xmlns:a16="http://schemas.microsoft.com/office/drawing/2014/main" id="{415CB3BD-694C-4768-BF90-1E386F0F4513}"/>
                </a:ext>
              </a:extLst>
            </p:cNvPr>
            <p:cNvSpPr/>
            <p:nvPr/>
          </p:nvSpPr>
          <p:spPr>
            <a:xfrm>
              <a:off x="3689639" y="2290930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8" name="任意多边形: 形状 487">
              <a:extLst>
                <a:ext uri="{FF2B5EF4-FFF2-40B4-BE49-F238E27FC236}">
                  <a16:creationId xmlns:a16="http://schemas.microsoft.com/office/drawing/2014/main" id="{92916DD6-6A51-4B66-826E-1EC3FD7EEE90}"/>
                </a:ext>
              </a:extLst>
            </p:cNvPr>
            <p:cNvSpPr/>
            <p:nvPr/>
          </p:nvSpPr>
          <p:spPr>
            <a:xfrm>
              <a:off x="3736505" y="2337796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9" name="任意多边形: 形状 488">
              <a:extLst>
                <a:ext uri="{FF2B5EF4-FFF2-40B4-BE49-F238E27FC236}">
                  <a16:creationId xmlns:a16="http://schemas.microsoft.com/office/drawing/2014/main" id="{FAC80B70-3908-46C9-A5C3-130E380719D7}"/>
                </a:ext>
              </a:extLst>
            </p:cNvPr>
            <p:cNvSpPr/>
            <p:nvPr/>
          </p:nvSpPr>
          <p:spPr>
            <a:xfrm>
              <a:off x="3783371" y="2384662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BBD7FF">
                <a:alpha val="80000"/>
              </a:srgbClr>
            </a:solidFill>
            <a:ln w="5344" cap="flat">
              <a:solidFill>
                <a:srgbClr val="00B0F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14BA3DE1-CBC4-4631-B258-21D140607588}"/>
                </a:ext>
              </a:extLst>
            </p:cNvPr>
            <p:cNvGrpSpPr/>
            <p:nvPr/>
          </p:nvGrpSpPr>
          <p:grpSpPr>
            <a:xfrm>
              <a:off x="3830237" y="2431528"/>
              <a:ext cx="458421" cy="638008"/>
              <a:chOff x="4256155" y="2581981"/>
              <a:chExt cx="458421" cy="638008"/>
            </a:xfrm>
          </p:grpSpPr>
          <p:sp>
            <p:nvSpPr>
              <p:cNvPr id="491" name="任意多边形: 形状 490">
                <a:extLst>
                  <a:ext uri="{FF2B5EF4-FFF2-40B4-BE49-F238E27FC236}">
                    <a16:creationId xmlns:a16="http://schemas.microsoft.com/office/drawing/2014/main" id="{B70CB143-5B56-4662-A8D1-5C8DC4089D10}"/>
                  </a:ext>
                </a:extLst>
              </p:cNvPr>
              <p:cNvSpPr/>
              <p:nvPr/>
            </p:nvSpPr>
            <p:spPr>
              <a:xfrm>
                <a:off x="4575160" y="2581981"/>
                <a:ext cx="139416" cy="122875"/>
              </a:xfrm>
              <a:custGeom>
                <a:avLst/>
                <a:gdLst>
                  <a:gd name="connsiteX0" fmla="*/ 14178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2876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4178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2876"/>
                    </a:lnTo>
                    <a:close/>
                  </a:path>
                </a:pathLst>
              </a:custGeom>
              <a:solidFill>
                <a:srgbClr val="BBD7FF"/>
              </a:solidFill>
              <a:ln w="10688" cap="flat">
                <a:solidFill>
                  <a:srgbClr val="00B0F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" name="组合 4">
                <a:extLst>
                  <a:ext uri="{FF2B5EF4-FFF2-40B4-BE49-F238E27FC236}">
                    <a16:creationId xmlns:a16="http://schemas.microsoft.com/office/drawing/2014/main" id="{48AB2E39-E8B1-4487-9726-AA2A1F75251F}"/>
                  </a:ext>
                </a:extLst>
              </p:cNvPr>
              <p:cNvGrpSpPr/>
              <p:nvPr/>
            </p:nvGrpSpPr>
            <p:grpSpPr>
              <a:xfrm>
                <a:off x="4256155" y="2581981"/>
                <a:ext cx="458421" cy="638008"/>
                <a:chOff x="4256155" y="2581981"/>
                <a:chExt cx="458421" cy="638008"/>
              </a:xfrm>
            </p:grpSpPr>
            <p:sp>
              <p:nvSpPr>
                <p:cNvPr id="490" name="任意多边形: 形状 489">
                  <a:extLst>
                    <a:ext uri="{FF2B5EF4-FFF2-40B4-BE49-F238E27FC236}">
                      <a16:creationId xmlns:a16="http://schemas.microsoft.com/office/drawing/2014/main" id="{5EED6E77-D886-481E-B2E1-75FC15C35EE8}"/>
                    </a:ext>
                  </a:extLst>
                </p:cNvPr>
                <p:cNvSpPr/>
                <p:nvPr/>
              </p:nvSpPr>
              <p:spPr>
                <a:xfrm>
                  <a:off x="4256155" y="2581981"/>
                  <a:ext cx="458421" cy="638008"/>
                </a:xfrm>
                <a:custGeom>
                  <a:avLst/>
                  <a:gdLst>
                    <a:gd name="connsiteX0" fmla="*/ 319004 w 458421"/>
                    <a:gd name="connsiteY0" fmla="*/ 0 h 638008"/>
                    <a:gd name="connsiteX1" fmla="*/ 0 w 458421"/>
                    <a:gd name="connsiteY1" fmla="*/ 0 h 638008"/>
                    <a:gd name="connsiteX2" fmla="*/ 0 w 458421"/>
                    <a:gd name="connsiteY2" fmla="*/ 638009 h 638008"/>
                    <a:gd name="connsiteX3" fmla="*/ 458421 w 458421"/>
                    <a:gd name="connsiteY3" fmla="*/ 638009 h 638008"/>
                    <a:gd name="connsiteX4" fmla="*/ 458421 w 458421"/>
                    <a:gd name="connsiteY4" fmla="*/ 122876 h 638008"/>
                    <a:gd name="connsiteX5" fmla="*/ 319004 w 458421"/>
                    <a:gd name="connsiteY5" fmla="*/ 122876 h 638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8008">
                      <a:moveTo>
                        <a:pt x="319004" y="0"/>
                      </a:moveTo>
                      <a:lnTo>
                        <a:pt x="0" y="0"/>
                      </a:lnTo>
                      <a:lnTo>
                        <a:pt x="0" y="638009"/>
                      </a:lnTo>
                      <a:lnTo>
                        <a:pt x="458421" y="638009"/>
                      </a:lnTo>
                      <a:lnTo>
                        <a:pt x="458421" y="122876"/>
                      </a:lnTo>
                      <a:lnTo>
                        <a:pt x="319004" y="122876"/>
                      </a:lnTo>
                      <a:close/>
                    </a:path>
                  </a:pathLst>
                </a:custGeom>
                <a:solidFill>
                  <a:srgbClr val="BBD7FF"/>
                </a:solidFill>
                <a:ln w="10688" cap="flat">
                  <a:solidFill>
                    <a:srgbClr val="00B0F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2" name="任意多边形: 形状 491">
                  <a:extLst>
                    <a:ext uri="{FF2B5EF4-FFF2-40B4-BE49-F238E27FC236}">
                      <a16:creationId xmlns:a16="http://schemas.microsoft.com/office/drawing/2014/main" id="{3B003D40-FE00-49B8-B6EB-09EC3CF3372D}"/>
                    </a:ext>
                  </a:extLst>
                </p:cNvPr>
                <p:cNvSpPr/>
                <p:nvPr/>
              </p:nvSpPr>
              <p:spPr>
                <a:xfrm>
                  <a:off x="4362185" y="2803952"/>
                  <a:ext cx="246360" cy="194066"/>
                </a:xfrm>
                <a:custGeom>
                  <a:avLst/>
                  <a:gdLst>
                    <a:gd name="connsiteX0" fmla="*/ 19457 w 246360"/>
                    <a:gd name="connsiteY0" fmla="*/ 26294 h 194066"/>
                    <a:gd name="connsiteX1" fmla="*/ 45450 w 246360"/>
                    <a:gd name="connsiteY1" fmla="*/ 52287 h 194066"/>
                    <a:gd name="connsiteX2" fmla="*/ 71443 w 246360"/>
                    <a:gd name="connsiteY2" fmla="*/ 26294 h 194066"/>
                    <a:gd name="connsiteX3" fmla="*/ 45450 w 246360"/>
                    <a:gd name="connsiteY3" fmla="*/ 301 h 194066"/>
                    <a:gd name="connsiteX4" fmla="*/ 19457 w 246360"/>
                    <a:gd name="connsiteY4" fmla="*/ 26294 h 194066"/>
                    <a:gd name="connsiteX5" fmla="*/ 19457 w 246360"/>
                    <a:gd name="connsiteY5" fmla="*/ 26294 h 194066"/>
                    <a:gd name="connsiteX6" fmla="*/ 54902 w 246360"/>
                    <a:gd name="connsiteY6" fmla="*/ 99547 h 194066"/>
                    <a:gd name="connsiteX7" fmla="*/ 118703 w 246360"/>
                    <a:gd name="connsiteY7" fmla="*/ 146807 h 194066"/>
                    <a:gd name="connsiteX8" fmla="*/ 182504 w 246360"/>
                    <a:gd name="connsiteY8" fmla="*/ 66465 h 194066"/>
                    <a:gd name="connsiteX9" fmla="*/ 243942 w 246360"/>
                    <a:gd name="connsiteY9" fmla="*/ 158622 h 194066"/>
                    <a:gd name="connsiteX10" fmla="*/ 203771 w 246360"/>
                    <a:gd name="connsiteY10" fmla="*/ 194067 h 194066"/>
                    <a:gd name="connsiteX11" fmla="*/ 19457 w 246360"/>
                    <a:gd name="connsiteY11" fmla="*/ 191704 h 194066"/>
                    <a:gd name="connsiteX12" fmla="*/ 5279 w 246360"/>
                    <a:gd name="connsiteY12" fmla="*/ 156259 h 194066"/>
                    <a:gd name="connsiteX13" fmla="*/ 54902 w 246360"/>
                    <a:gd name="connsiteY13" fmla="*/ 99547 h 194066"/>
                    <a:gd name="connsiteX14" fmla="*/ 54902 w 246360"/>
                    <a:gd name="connsiteY14" fmla="*/ 99547 h 19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4066">
                      <a:moveTo>
                        <a:pt x="19457" y="26294"/>
                      </a:moveTo>
                      <a:cubicBezTo>
                        <a:pt x="19457" y="40472"/>
                        <a:pt x="31272" y="52287"/>
                        <a:pt x="45450" y="52287"/>
                      </a:cubicBezTo>
                      <a:cubicBezTo>
                        <a:pt x="59628" y="52287"/>
                        <a:pt x="71443" y="40472"/>
                        <a:pt x="71443" y="26294"/>
                      </a:cubicBezTo>
                      <a:cubicBezTo>
                        <a:pt x="71443" y="12116"/>
                        <a:pt x="59628" y="301"/>
                        <a:pt x="45450" y="301"/>
                      </a:cubicBezTo>
                      <a:cubicBezTo>
                        <a:pt x="31272" y="-2062"/>
                        <a:pt x="19457" y="9753"/>
                        <a:pt x="19457" y="26294"/>
                      </a:cubicBezTo>
                      <a:lnTo>
                        <a:pt x="19457" y="26294"/>
                      </a:lnTo>
                      <a:close/>
                      <a:moveTo>
                        <a:pt x="54902" y="99547"/>
                      </a:moveTo>
                      <a:cubicBezTo>
                        <a:pt x="73806" y="99547"/>
                        <a:pt x="92710" y="146807"/>
                        <a:pt x="118703" y="146807"/>
                      </a:cubicBezTo>
                      <a:cubicBezTo>
                        <a:pt x="144696" y="146807"/>
                        <a:pt x="154148" y="66465"/>
                        <a:pt x="182504" y="66465"/>
                      </a:cubicBezTo>
                      <a:cubicBezTo>
                        <a:pt x="213223" y="66465"/>
                        <a:pt x="234490" y="130266"/>
                        <a:pt x="243942" y="158622"/>
                      </a:cubicBezTo>
                      <a:cubicBezTo>
                        <a:pt x="251031" y="186978"/>
                        <a:pt x="243942" y="194067"/>
                        <a:pt x="203771" y="194067"/>
                      </a:cubicBezTo>
                      <a:cubicBezTo>
                        <a:pt x="163600" y="194067"/>
                        <a:pt x="35998" y="191704"/>
                        <a:pt x="19457" y="191704"/>
                      </a:cubicBezTo>
                      <a:cubicBezTo>
                        <a:pt x="2916" y="191704"/>
                        <a:pt x="-6536" y="179889"/>
                        <a:pt x="5279" y="156259"/>
                      </a:cubicBezTo>
                      <a:cubicBezTo>
                        <a:pt x="14731" y="134992"/>
                        <a:pt x="35998" y="99547"/>
                        <a:pt x="54902" y="99547"/>
                      </a:cubicBezTo>
                      <a:lnTo>
                        <a:pt x="54902" y="99547"/>
                      </a:lnTo>
                      <a:close/>
                    </a:path>
                  </a:pathLst>
                </a:custGeom>
                <a:solidFill>
                  <a:srgbClr val="00B0F0">
                    <a:alpha val="60000"/>
                  </a:srgbClr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5A7D2F84-8ADD-48F3-8493-DCA6B75FDFA2}"/>
              </a:ext>
            </a:extLst>
          </p:cNvPr>
          <p:cNvGrpSpPr/>
          <p:nvPr/>
        </p:nvGrpSpPr>
        <p:grpSpPr>
          <a:xfrm>
            <a:off x="1967105" y="2372243"/>
            <a:ext cx="599019" cy="780576"/>
            <a:chOff x="2605026" y="2219843"/>
            <a:chExt cx="599019" cy="780576"/>
          </a:xfrm>
        </p:grpSpPr>
        <p:sp>
          <p:nvSpPr>
            <p:cNvPr id="477" name="任意多边形: 形状 476">
              <a:extLst>
                <a:ext uri="{FF2B5EF4-FFF2-40B4-BE49-F238E27FC236}">
                  <a16:creationId xmlns:a16="http://schemas.microsoft.com/office/drawing/2014/main" id="{3A822EC4-8A39-434B-86DB-E4040898D867}"/>
                </a:ext>
              </a:extLst>
            </p:cNvPr>
            <p:cNvSpPr/>
            <p:nvPr/>
          </p:nvSpPr>
          <p:spPr>
            <a:xfrm>
              <a:off x="2605026" y="2219843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82BAEB">
                <a:alpha val="80000"/>
              </a:srgbClr>
            </a:solidFill>
            <a:ln w="5344" cap="flat">
              <a:solidFill>
                <a:srgbClr val="0070C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8" name="任意多边形: 形状 477">
              <a:extLst>
                <a:ext uri="{FF2B5EF4-FFF2-40B4-BE49-F238E27FC236}">
                  <a16:creationId xmlns:a16="http://schemas.microsoft.com/office/drawing/2014/main" id="{3D2A577A-C2CC-4581-A117-23B800F85574}"/>
                </a:ext>
              </a:extLst>
            </p:cNvPr>
            <p:cNvSpPr/>
            <p:nvPr/>
          </p:nvSpPr>
          <p:spPr>
            <a:xfrm>
              <a:off x="2651892" y="2267497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82BAEB">
                <a:alpha val="80000"/>
              </a:srgbClr>
            </a:solidFill>
            <a:ln w="5344" cap="flat">
              <a:solidFill>
                <a:srgbClr val="0070C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9" name="任意多边形: 形状 478">
              <a:extLst>
                <a:ext uri="{FF2B5EF4-FFF2-40B4-BE49-F238E27FC236}">
                  <a16:creationId xmlns:a16="http://schemas.microsoft.com/office/drawing/2014/main" id="{8AD76658-7DA9-4B42-8D3D-12A8B97C0D63}"/>
                </a:ext>
              </a:extLst>
            </p:cNvPr>
            <p:cNvSpPr/>
            <p:nvPr/>
          </p:nvSpPr>
          <p:spPr>
            <a:xfrm>
              <a:off x="2698758" y="2315151"/>
              <a:ext cx="458421" cy="685268"/>
            </a:xfrm>
            <a:custGeom>
              <a:avLst/>
              <a:gdLst>
                <a:gd name="connsiteX0" fmla="*/ 0 w 458421"/>
                <a:gd name="connsiteY0" fmla="*/ 0 h 685268"/>
                <a:gd name="connsiteX1" fmla="*/ 458421 w 458421"/>
                <a:gd name="connsiteY1" fmla="*/ 0 h 685268"/>
                <a:gd name="connsiteX2" fmla="*/ 458421 w 458421"/>
                <a:gd name="connsiteY2" fmla="*/ 685269 h 685268"/>
                <a:gd name="connsiteX3" fmla="*/ 0 w 458421"/>
                <a:gd name="connsiteY3" fmla="*/ 685269 h 68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8421" h="685268">
                  <a:moveTo>
                    <a:pt x="0" y="0"/>
                  </a:moveTo>
                  <a:lnTo>
                    <a:pt x="458421" y="0"/>
                  </a:lnTo>
                  <a:lnTo>
                    <a:pt x="458421" y="685269"/>
                  </a:lnTo>
                  <a:lnTo>
                    <a:pt x="0" y="685269"/>
                  </a:lnTo>
                  <a:close/>
                </a:path>
              </a:pathLst>
            </a:custGeom>
            <a:solidFill>
              <a:srgbClr val="82BAEB">
                <a:alpha val="80000"/>
              </a:srgbClr>
            </a:solidFill>
            <a:ln w="5344" cap="flat">
              <a:solidFill>
                <a:srgbClr val="0070C0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4E30CD53-2E95-4B22-AFB5-D3B58D61C676}"/>
                </a:ext>
              </a:extLst>
            </p:cNvPr>
            <p:cNvGrpSpPr/>
            <p:nvPr/>
          </p:nvGrpSpPr>
          <p:grpSpPr>
            <a:xfrm>
              <a:off x="2745624" y="2362804"/>
              <a:ext cx="458421" cy="635645"/>
              <a:chOff x="3001983" y="2573919"/>
              <a:chExt cx="458421" cy="635645"/>
            </a:xfrm>
          </p:grpSpPr>
          <p:sp>
            <p:nvSpPr>
              <p:cNvPr id="481" name="任意多边形: 形状 480">
                <a:extLst>
                  <a:ext uri="{FF2B5EF4-FFF2-40B4-BE49-F238E27FC236}">
                    <a16:creationId xmlns:a16="http://schemas.microsoft.com/office/drawing/2014/main" id="{1592C8CE-201A-4579-9CC3-1FFF3864D3B1}"/>
                  </a:ext>
                </a:extLst>
              </p:cNvPr>
              <p:cNvSpPr/>
              <p:nvPr/>
            </p:nvSpPr>
            <p:spPr>
              <a:xfrm>
                <a:off x="3320988" y="2573919"/>
                <a:ext cx="139416" cy="122875"/>
              </a:xfrm>
              <a:custGeom>
                <a:avLst/>
                <a:gdLst>
                  <a:gd name="connsiteX0" fmla="*/ 11815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0513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1815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0513"/>
                    </a:lnTo>
                    <a:close/>
                  </a:path>
                </a:pathLst>
              </a:custGeom>
              <a:solidFill>
                <a:srgbClr val="82BAEB"/>
              </a:solidFill>
              <a:ln w="10688" cap="flat">
                <a:solidFill>
                  <a:srgbClr val="0070C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" name="组合 1">
                <a:extLst>
                  <a:ext uri="{FF2B5EF4-FFF2-40B4-BE49-F238E27FC236}">
                    <a16:creationId xmlns:a16="http://schemas.microsoft.com/office/drawing/2014/main" id="{7924CAA1-6BF6-4A78-8554-47D25B478998}"/>
                  </a:ext>
                </a:extLst>
              </p:cNvPr>
              <p:cNvGrpSpPr/>
              <p:nvPr/>
            </p:nvGrpSpPr>
            <p:grpSpPr>
              <a:xfrm>
                <a:off x="3001983" y="2573919"/>
                <a:ext cx="458421" cy="635645"/>
                <a:chOff x="3001983" y="2573919"/>
                <a:chExt cx="458421" cy="635645"/>
              </a:xfrm>
            </p:grpSpPr>
            <p:sp>
              <p:nvSpPr>
                <p:cNvPr id="480" name="任意多边形: 形状 479">
                  <a:extLst>
                    <a:ext uri="{FF2B5EF4-FFF2-40B4-BE49-F238E27FC236}">
                      <a16:creationId xmlns:a16="http://schemas.microsoft.com/office/drawing/2014/main" id="{E36DE468-B7C9-4E18-90B3-AE1D5A753EA9}"/>
                    </a:ext>
                  </a:extLst>
                </p:cNvPr>
                <p:cNvSpPr/>
                <p:nvPr/>
              </p:nvSpPr>
              <p:spPr>
                <a:xfrm>
                  <a:off x="3001983" y="2573919"/>
                  <a:ext cx="458421" cy="635645"/>
                </a:xfrm>
                <a:custGeom>
                  <a:avLst/>
                  <a:gdLst>
                    <a:gd name="connsiteX0" fmla="*/ 319004 w 458421"/>
                    <a:gd name="connsiteY0" fmla="*/ 0 h 635645"/>
                    <a:gd name="connsiteX1" fmla="*/ 0 w 458421"/>
                    <a:gd name="connsiteY1" fmla="*/ 0 h 635645"/>
                    <a:gd name="connsiteX2" fmla="*/ 0 w 458421"/>
                    <a:gd name="connsiteY2" fmla="*/ 635646 h 635645"/>
                    <a:gd name="connsiteX3" fmla="*/ 458421 w 458421"/>
                    <a:gd name="connsiteY3" fmla="*/ 635646 h 635645"/>
                    <a:gd name="connsiteX4" fmla="*/ 458421 w 458421"/>
                    <a:gd name="connsiteY4" fmla="*/ 122876 h 635645"/>
                    <a:gd name="connsiteX5" fmla="*/ 319004 w 458421"/>
                    <a:gd name="connsiteY5" fmla="*/ 122876 h 635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5645">
                      <a:moveTo>
                        <a:pt x="319004" y="0"/>
                      </a:moveTo>
                      <a:lnTo>
                        <a:pt x="0" y="0"/>
                      </a:lnTo>
                      <a:lnTo>
                        <a:pt x="0" y="635646"/>
                      </a:lnTo>
                      <a:lnTo>
                        <a:pt x="458421" y="635646"/>
                      </a:lnTo>
                      <a:lnTo>
                        <a:pt x="458421" y="122876"/>
                      </a:lnTo>
                      <a:lnTo>
                        <a:pt x="319004" y="122876"/>
                      </a:lnTo>
                      <a:close/>
                    </a:path>
                  </a:pathLst>
                </a:custGeom>
                <a:solidFill>
                  <a:srgbClr val="82BAEB"/>
                </a:solidFill>
                <a:ln w="10688" cap="flat">
                  <a:solidFill>
                    <a:srgbClr val="0070C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2" name="任意多边形: 形状 481">
                  <a:extLst>
                    <a:ext uri="{FF2B5EF4-FFF2-40B4-BE49-F238E27FC236}">
                      <a16:creationId xmlns:a16="http://schemas.microsoft.com/office/drawing/2014/main" id="{BC806906-045C-409F-A295-AAD05DD0270F}"/>
                    </a:ext>
                  </a:extLst>
                </p:cNvPr>
                <p:cNvSpPr/>
                <p:nvPr/>
              </p:nvSpPr>
              <p:spPr>
                <a:xfrm>
                  <a:off x="3108013" y="2793677"/>
                  <a:ext cx="246360" cy="196128"/>
                </a:xfrm>
                <a:custGeom>
                  <a:avLst/>
                  <a:gdLst>
                    <a:gd name="connsiteX0" fmla="*/ 19457 w 246360"/>
                    <a:gd name="connsiteY0" fmla="*/ 25993 h 196128"/>
                    <a:gd name="connsiteX1" fmla="*/ 45450 w 246360"/>
                    <a:gd name="connsiteY1" fmla="*/ 51986 h 196128"/>
                    <a:gd name="connsiteX2" fmla="*/ 71443 w 246360"/>
                    <a:gd name="connsiteY2" fmla="*/ 25993 h 196128"/>
                    <a:gd name="connsiteX3" fmla="*/ 45450 w 246360"/>
                    <a:gd name="connsiteY3" fmla="*/ 0 h 196128"/>
                    <a:gd name="connsiteX4" fmla="*/ 19457 w 246360"/>
                    <a:gd name="connsiteY4" fmla="*/ 25993 h 196128"/>
                    <a:gd name="connsiteX5" fmla="*/ 19457 w 246360"/>
                    <a:gd name="connsiteY5" fmla="*/ 25993 h 196128"/>
                    <a:gd name="connsiteX6" fmla="*/ 54902 w 246360"/>
                    <a:gd name="connsiteY6" fmla="*/ 101609 h 196128"/>
                    <a:gd name="connsiteX7" fmla="*/ 118703 w 246360"/>
                    <a:gd name="connsiteY7" fmla="*/ 148869 h 196128"/>
                    <a:gd name="connsiteX8" fmla="*/ 182504 w 246360"/>
                    <a:gd name="connsiteY8" fmla="*/ 68527 h 196128"/>
                    <a:gd name="connsiteX9" fmla="*/ 243942 w 246360"/>
                    <a:gd name="connsiteY9" fmla="*/ 160684 h 196128"/>
                    <a:gd name="connsiteX10" fmla="*/ 203771 w 246360"/>
                    <a:gd name="connsiteY10" fmla="*/ 196129 h 196128"/>
                    <a:gd name="connsiteX11" fmla="*/ 19457 w 246360"/>
                    <a:gd name="connsiteY11" fmla="*/ 193766 h 196128"/>
                    <a:gd name="connsiteX12" fmla="*/ 5279 w 246360"/>
                    <a:gd name="connsiteY12" fmla="*/ 158321 h 196128"/>
                    <a:gd name="connsiteX13" fmla="*/ 54902 w 246360"/>
                    <a:gd name="connsiteY13" fmla="*/ 101609 h 196128"/>
                    <a:gd name="connsiteX14" fmla="*/ 54902 w 246360"/>
                    <a:gd name="connsiteY14" fmla="*/ 101609 h 196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6128">
                      <a:moveTo>
                        <a:pt x="19457" y="25993"/>
                      </a:moveTo>
                      <a:cubicBezTo>
                        <a:pt x="19457" y="40171"/>
                        <a:pt x="31272" y="51986"/>
                        <a:pt x="45450" y="51986"/>
                      </a:cubicBezTo>
                      <a:cubicBezTo>
                        <a:pt x="59628" y="51986"/>
                        <a:pt x="71443" y="40171"/>
                        <a:pt x="71443" y="25993"/>
                      </a:cubicBezTo>
                      <a:cubicBezTo>
                        <a:pt x="71443" y="11815"/>
                        <a:pt x="59628" y="0"/>
                        <a:pt x="45450" y="0"/>
                      </a:cubicBezTo>
                      <a:cubicBezTo>
                        <a:pt x="31272" y="0"/>
                        <a:pt x="19457" y="11815"/>
                        <a:pt x="19457" y="25993"/>
                      </a:cubicBezTo>
                      <a:lnTo>
                        <a:pt x="19457" y="25993"/>
                      </a:lnTo>
                      <a:close/>
                      <a:moveTo>
                        <a:pt x="54902" y="101609"/>
                      </a:moveTo>
                      <a:cubicBezTo>
                        <a:pt x="73806" y="101609"/>
                        <a:pt x="92710" y="148869"/>
                        <a:pt x="118703" y="148869"/>
                      </a:cubicBezTo>
                      <a:cubicBezTo>
                        <a:pt x="144696" y="148869"/>
                        <a:pt x="154148" y="68527"/>
                        <a:pt x="182504" y="68527"/>
                      </a:cubicBezTo>
                      <a:cubicBezTo>
                        <a:pt x="213223" y="68527"/>
                        <a:pt x="234490" y="132328"/>
                        <a:pt x="243942" y="160684"/>
                      </a:cubicBezTo>
                      <a:cubicBezTo>
                        <a:pt x="251031" y="189040"/>
                        <a:pt x="243942" y="196129"/>
                        <a:pt x="203771" y="196129"/>
                      </a:cubicBezTo>
                      <a:cubicBezTo>
                        <a:pt x="163600" y="196129"/>
                        <a:pt x="35998" y="193766"/>
                        <a:pt x="19457" y="193766"/>
                      </a:cubicBezTo>
                      <a:cubicBezTo>
                        <a:pt x="2916" y="193766"/>
                        <a:pt x="-6536" y="181951"/>
                        <a:pt x="5279" y="158321"/>
                      </a:cubicBezTo>
                      <a:cubicBezTo>
                        <a:pt x="14731" y="134691"/>
                        <a:pt x="35998" y="101609"/>
                        <a:pt x="54902" y="101609"/>
                      </a:cubicBezTo>
                      <a:lnTo>
                        <a:pt x="54902" y="101609"/>
                      </a:lnTo>
                      <a:close/>
                    </a:path>
                  </a:pathLst>
                </a:custGeom>
                <a:solidFill>
                  <a:srgbClr val="0070C0">
                    <a:alpha val="40000"/>
                  </a:srgbClr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</p:grpSp>
      <p:sp>
        <p:nvSpPr>
          <p:cNvPr id="18" name="椭圆 17">
            <a:extLst>
              <a:ext uri="{FF2B5EF4-FFF2-40B4-BE49-F238E27FC236}">
                <a16:creationId xmlns:a16="http://schemas.microsoft.com/office/drawing/2014/main" id="{A37712AE-B858-4577-AE05-4195D90EED27}"/>
              </a:ext>
            </a:extLst>
          </p:cNvPr>
          <p:cNvSpPr/>
          <p:nvPr/>
        </p:nvSpPr>
        <p:spPr>
          <a:xfrm>
            <a:off x="5160814" y="1488741"/>
            <a:ext cx="2547588" cy="2547580"/>
          </a:xfrm>
          <a:prstGeom prst="ellipse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23B961F9-67F6-4B13-9203-893F9A6AAEAD}"/>
              </a:ext>
            </a:extLst>
          </p:cNvPr>
          <p:cNvGrpSpPr/>
          <p:nvPr/>
        </p:nvGrpSpPr>
        <p:grpSpPr>
          <a:xfrm>
            <a:off x="5524074" y="1921969"/>
            <a:ext cx="1716283" cy="1681124"/>
            <a:chOff x="6214388" y="1647531"/>
            <a:chExt cx="1716283" cy="1681124"/>
          </a:xfrm>
        </p:grpSpPr>
        <p:grpSp>
          <p:nvGrpSpPr>
            <p:cNvPr id="505" name="组合 504">
              <a:extLst>
                <a:ext uri="{FF2B5EF4-FFF2-40B4-BE49-F238E27FC236}">
                  <a16:creationId xmlns:a16="http://schemas.microsoft.com/office/drawing/2014/main" id="{68976FEB-FB3E-4BB9-A1C6-CEDAAD889AD3}"/>
                </a:ext>
              </a:extLst>
            </p:cNvPr>
            <p:cNvGrpSpPr/>
            <p:nvPr/>
          </p:nvGrpSpPr>
          <p:grpSpPr>
            <a:xfrm>
              <a:off x="6214388" y="1891608"/>
              <a:ext cx="493908" cy="643607"/>
              <a:chOff x="3134416" y="2441383"/>
              <a:chExt cx="599019" cy="780576"/>
            </a:xfrm>
          </p:grpSpPr>
          <p:sp>
            <p:nvSpPr>
              <p:cNvPr id="506" name="任意多边形: 形状 505">
                <a:extLst>
                  <a:ext uri="{FF2B5EF4-FFF2-40B4-BE49-F238E27FC236}">
                    <a16:creationId xmlns:a16="http://schemas.microsoft.com/office/drawing/2014/main" id="{F28DF3B6-DCE9-44EA-8E52-D928F4CEB669}"/>
                  </a:ext>
                </a:extLst>
              </p:cNvPr>
              <p:cNvSpPr/>
              <p:nvPr/>
            </p:nvSpPr>
            <p:spPr>
              <a:xfrm>
                <a:off x="3134416" y="2441383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7" name="任意多边形: 形状 506">
                <a:extLst>
                  <a:ext uri="{FF2B5EF4-FFF2-40B4-BE49-F238E27FC236}">
                    <a16:creationId xmlns:a16="http://schemas.microsoft.com/office/drawing/2014/main" id="{DE160E90-7DEE-4875-BB69-B836665242F8}"/>
                  </a:ext>
                </a:extLst>
              </p:cNvPr>
              <p:cNvSpPr/>
              <p:nvPr/>
            </p:nvSpPr>
            <p:spPr>
              <a:xfrm>
                <a:off x="3181282" y="2489037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8" name="任意多边形: 形状 507">
                <a:extLst>
                  <a:ext uri="{FF2B5EF4-FFF2-40B4-BE49-F238E27FC236}">
                    <a16:creationId xmlns:a16="http://schemas.microsoft.com/office/drawing/2014/main" id="{723D5DCE-17B9-45C6-8B64-D359E97E1D8E}"/>
                  </a:ext>
                </a:extLst>
              </p:cNvPr>
              <p:cNvSpPr/>
              <p:nvPr/>
            </p:nvSpPr>
            <p:spPr>
              <a:xfrm>
                <a:off x="3228148" y="2536691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09" name="组合 508">
                <a:extLst>
                  <a:ext uri="{FF2B5EF4-FFF2-40B4-BE49-F238E27FC236}">
                    <a16:creationId xmlns:a16="http://schemas.microsoft.com/office/drawing/2014/main" id="{7798DB9C-3CD8-43BD-886F-B52C32A443CD}"/>
                  </a:ext>
                </a:extLst>
              </p:cNvPr>
              <p:cNvGrpSpPr/>
              <p:nvPr/>
            </p:nvGrpSpPr>
            <p:grpSpPr>
              <a:xfrm>
                <a:off x="3275014" y="2584344"/>
                <a:ext cx="458421" cy="635645"/>
                <a:chOff x="3001983" y="2573919"/>
                <a:chExt cx="458421" cy="635645"/>
              </a:xfrm>
            </p:grpSpPr>
            <p:sp>
              <p:nvSpPr>
                <p:cNvPr id="510" name="任意多边形: 形状 509">
                  <a:extLst>
                    <a:ext uri="{FF2B5EF4-FFF2-40B4-BE49-F238E27FC236}">
                      <a16:creationId xmlns:a16="http://schemas.microsoft.com/office/drawing/2014/main" id="{6E8444BE-55ED-469E-B927-F6CBA9B345C9}"/>
                    </a:ext>
                  </a:extLst>
                </p:cNvPr>
                <p:cNvSpPr/>
                <p:nvPr/>
              </p:nvSpPr>
              <p:spPr>
                <a:xfrm>
                  <a:off x="3320988" y="2573919"/>
                  <a:ext cx="139416" cy="122875"/>
                </a:xfrm>
                <a:custGeom>
                  <a:avLst/>
                  <a:gdLst>
                    <a:gd name="connsiteX0" fmla="*/ 11815 w 139416"/>
                    <a:gd name="connsiteY0" fmla="*/ 0 h 122875"/>
                    <a:gd name="connsiteX1" fmla="*/ 0 w 139416"/>
                    <a:gd name="connsiteY1" fmla="*/ 0 h 122875"/>
                    <a:gd name="connsiteX2" fmla="*/ 0 w 139416"/>
                    <a:gd name="connsiteY2" fmla="*/ 122876 h 122875"/>
                    <a:gd name="connsiteX3" fmla="*/ 139417 w 139416"/>
                    <a:gd name="connsiteY3" fmla="*/ 122876 h 122875"/>
                    <a:gd name="connsiteX4" fmla="*/ 139417 w 139416"/>
                    <a:gd name="connsiteY4" fmla="*/ 120513 h 12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416" h="122875">
                      <a:moveTo>
                        <a:pt x="11815" y="0"/>
                      </a:moveTo>
                      <a:lnTo>
                        <a:pt x="0" y="0"/>
                      </a:lnTo>
                      <a:lnTo>
                        <a:pt x="0" y="122876"/>
                      </a:lnTo>
                      <a:lnTo>
                        <a:pt x="139417" y="122876"/>
                      </a:lnTo>
                      <a:lnTo>
                        <a:pt x="139417" y="120513"/>
                      </a:lnTo>
                      <a:close/>
                    </a:path>
                  </a:pathLst>
                </a:custGeom>
                <a:solidFill>
                  <a:srgbClr val="82BAEB"/>
                </a:solidFill>
                <a:ln w="6350" cap="flat">
                  <a:solidFill>
                    <a:srgbClr val="0070C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511" name="组合 510">
                  <a:extLst>
                    <a:ext uri="{FF2B5EF4-FFF2-40B4-BE49-F238E27FC236}">
                      <a16:creationId xmlns:a16="http://schemas.microsoft.com/office/drawing/2014/main" id="{67A1150A-B725-4F85-8B1A-F343C279B876}"/>
                    </a:ext>
                  </a:extLst>
                </p:cNvPr>
                <p:cNvGrpSpPr/>
                <p:nvPr/>
              </p:nvGrpSpPr>
              <p:grpSpPr>
                <a:xfrm>
                  <a:off x="3001983" y="2573919"/>
                  <a:ext cx="458421" cy="635645"/>
                  <a:chOff x="3001983" y="2573919"/>
                  <a:chExt cx="458421" cy="635645"/>
                </a:xfrm>
              </p:grpSpPr>
              <p:sp>
                <p:nvSpPr>
                  <p:cNvPr id="512" name="任意多边形: 形状 511">
                    <a:extLst>
                      <a:ext uri="{FF2B5EF4-FFF2-40B4-BE49-F238E27FC236}">
                        <a16:creationId xmlns:a16="http://schemas.microsoft.com/office/drawing/2014/main" id="{962D3E4F-F41B-4CEC-A597-A511EDFDBC2A}"/>
                      </a:ext>
                    </a:extLst>
                  </p:cNvPr>
                  <p:cNvSpPr/>
                  <p:nvPr/>
                </p:nvSpPr>
                <p:spPr>
                  <a:xfrm>
                    <a:off x="3001983" y="2573919"/>
                    <a:ext cx="458421" cy="635645"/>
                  </a:xfrm>
                  <a:custGeom>
                    <a:avLst/>
                    <a:gdLst>
                      <a:gd name="connsiteX0" fmla="*/ 319004 w 458421"/>
                      <a:gd name="connsiteY0" fmla="*/ 0 h 635645"/>
                      <a:gd name="connsiteX1" fmla="*/ 0 w 458421"/>
                      <a:gd name="connsiteY1" fmla="*/ 0 h 635645"/>
                      <a:gd name="connsiteX2" fmla="*/ 0 w 458421"/>
                      <a:gd name="connsiteY2" fmla="*/ 635646 h 635645"/>
                      <a:gd name="connsiteX3" fmla="*/ 458421 w 458421"/>
                      <a:gd name="connsiteY3" fmla="*/ 635646 h 635645"/>
                      <a:gd name="connsiteX4" fmla="*/ 458421 w 458421"/>
                      <a:gd name="connsiteY4" fmla="*/ 122876 h 635645"/>
                      <a:gd name="connsiteX5" fmla="*/ 319004 w 458421"/>
                      <a:gd name="connsiteY5" fmla="*/ 122876 h 635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58421" h="635645">
                        <a:moveTo>
                          <a:pt x="319004" y="0"/>
                        </a:moveTo>
                        <a:lnTo>
                          <a:pt x="0" y="0"/>
                        </a:lnTo>
                        <a:lnTo>
                          <a:pt x="0" y="635646"/>
                        </a:lnTo>
                        <a:lnTo>
                          <a:pt x="458421" y="635646"/>
                        </a:lnTo>
                        <a:lnTo>
                          <a:pt x="458421" y="122876"/>
                        </a:lnTo>
                        <a:lnTo>
                          <a:pt x="319004" y="122876"/>
                        </a:lnTo>
                        <a:close/>
                      </a:path>
                    </a:pathLst>
                  </a:custGeom>
                  <a:solidFill>
                    <a:srgbClr val="82BAEB"/>
                  </a:solidFill>
                  <a:ln w="6350" cap="flat">
                    <a:solidFill>
                      <a:srgbClr val="0070C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13" name="任意多边形: 形状 512">
                    <a:extLst>
                      <a:ext uri="{FF2B5EF4-FFF2-40B4-BE49-F238E27FC236}">
                        <a16:creationId xmlns:a16="http://schemas.microsoft.com/office/drawing/2014/main" id="{91209DCD-70D6-4876-A6E3-079555445C20}"/>
                      </a:ext>
                    </a:extLst>
                  </p:cNvPr>
                  <p:cNvSpPr/>
                  <p:nvPr/>
                </p:nvSpPr>
                <p:spPr>
                  <a:xfrm>
                    <a:off x="3108013" y="2793677"/>
                    <a:ext cx="246360" cy="196128"/>
                  </a:xfrm>
                  <a:custGeom>
                    <a:avLst/>
                    <a:gdLst>
                      <a:gd name="connsiteX0" fmla="*/ 19457 w 246360"/>
                      <a:gd name="connsiteY0" fmla="*/ 25993 h 196128"/>
                      <a:gd name="connsiteX1" fmla="*/ 45450 w 246360"/>
                      <a:gd name="connsiteY1" fmla="*/ 51986 h 196128"/>
                      <a:gd name="connsiteX2" fmla="*/ 71443 w 246360"/>
                      <a:gd name="connsiteY2" fmla="*/ 25993 h 196128"/>
                      <a:gd name="connsiteX3" fmla="*/ 45450 w 246360"/>
                      <a:gd name="connsiteY3" fmla="*/ 0 h 196128"/>
                      <a:gd name="connsiteX4" fmla="*/ 19457 w 246360"/>
                      <a:gd name="connsiteY4" fmla="*/ 25993 h 196128"/>
                      <a:gd name="connsiteX5" fmla="*/ 19457 w 246360"/>
                      <a:gd name="connsiteY5" fmla="*/ 25993 h 196128"/>
                      <a:gd name="connsiteX6" fmla="*/ 54902 w 246360"/>
                      <a:gd name="connsiteY6" fmla="*/ 101609 h 196128"/>
                      <a:gd name="connsiteX7" fmla="*/ 118703 w 246360"/>
                      <a:gd name="connsiteY7" fmla="*/ 148869 h 196128"/>
                      <a:gd name="connsiteX8" fmla="*/ 182504 w 246360"/>
                      <a:gd name="connsiteY8" fmla="*/ 68527 h 196128"/>
                      <a:gd name="connsiteX9" fmla="*/ 243942 w 246360"/>
                      <a:gd name="connsiteY9" fmla="*/ 160684 h 196128"/>
                      <a:gd name="connsiteX10" fmla="*/ 203771 w 246360"/>
                      <a:gd name="connsiteY10" fmla="*/ 196129 h 196128"/>
                      <a:gd name="connsiteX11" fmla="*/ 19457 w 246360"/>
                      <a:gd name="connsiteY11" fmla="*/ 193766 h 196128"/>
                      <a:gd name="connsiteX12" fmla="*/ 5279 w 246360"/>
                      <a:gd name="connsiteY12" fmla="*/ 158321 h 196128"/>
                      <a:gd name="connsiteX13" fmla="*/ 54902 w 246360"/>
                      <a:gd name="connsiteY13" fmla="*/ 101609 h 196128"/>
                      <a:gd name="connsiteX14" fmla="*/ 54902 w 246360"/>
                      <a:gd name="connsiteY14" fmla="*/ 101609 h 196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46360" h="196128">
                        <a:moveTo>
                          <a:pt x="19457" y="25993"/>
                        </a:moveTo>
                        <a:cubicBezTo>
                          <a:pt x="19457" y="40171"/>
                          <a:pt x="31272" y="51986"/>
                          <a:pt x="45450" y="51986"/>
                        </a:cubicBezTo>
                        <a:cubicBezTo>
                          <a:pt x="59628" y="51986"/>
                          <a:pt x="71443" y="40171"/>
                          <a:pt x="71443" y="25993"/>
                        </a:cubicBezTo>
                        <a:cubicBezTo>
                          <a:pt x="71443" y="11815"/>
                          <a:pt x="59628" y="0"/>
                          <a:pt x="45450" y="0"/>
                        </a:cubicBezTo>
                        <a:cubicBezTo>
                          <a:pt x="31272" y="0"/>
                          <a:pt x="19457" y="11815"/>
                          <a:pt x="19457" y="25993"/>
                        </a:cubicBezTo>
                        <a:lnTo>
                          <a:pt x="19457" y="25993"/>
                        </a:lnTo>
                        <a:close/>
                        <a:moveTo>
                          <a:pt x="54902" y="101609"/>
                        </a:moveTo>
                        <a:cubicBezTo>
                          <a:pt x="73806" y="101609"/>
                          <a:pt x="92710" y="148869"/>
                          <a:pt x="118703" y="148869"/>
                        </a:cubicBezTo>
                        <a:cubicBezTo>
                          <a:pt x="144696" y="148869"/>
                          <a:pt x="154148" y="68527"/>
                          <a:pt x="182504" y="68527"/>
                        </a:cubicBezTo>
                        <a:cubicBezTo>
                          <a:pt x="213223" y="68527"/>
                          <a:pt x="234490" y="132328"/>
                          <a:pt x="243942" y="160684"/>
                        </a:cubicBezTo>
                        <a:cubicBezTo>
                          <a:pt x="251031" y="189040"/>
                          <a:pt x="243942" y="196129"/>
                          <a:pt x="203771" y="196129"/>
                        </a:cubicBezTo>
                        <a:cubicBezTo>
                          <a:pt x="163600" y="196129"/>
                          <a:pt x="35998" y="193766"/>
                          <a:pt x="19457" y="193766"/>
                        </a:cubicBezTo>
                        <a:cubicBezTo>
                          <a:pt x="2916" y="193766"/>
                          <a:pt x="-6536" y="181951"/>
                          <a:pt x="5279" y="158321"/>
                        </a:cubicBezTo>
                        <a:cubicBezTo>
                          <a:pt x="14731" y="134691"/>
                          <a:pt x="35998" y="101609"/>
                          <a:pt x="54902" y="101609"/>
                        </a:cubicBezTo>
                        <a:lnTo>
                          <a:pt x="54902" y="101609"/>
                        </a:lnTo>
                        <a:close/>
                      </a:path>
                    </a:pathLst>
                  </a:custGeom>
                  <a:solidFill>
                    <a:srgbClr val="0070C0">
                      <a:alpha val="40000"/>
                    </a:srgbClr>
                  </a:solidFill>
                  <a:ln w="236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515" name="组合 514">
              <a:extLst>
                <a:ext uri="{FF2B5EF4-FFF2-40B4-BE49-F238E27FC236}">
                  <a16:creationId xmlns:a16="http://schemas.microsoft.com/office/drawing/2014/main" id="{81F3DD9C-6FB4-4C41-BC49-8B1B95C3C88E}"/>
                </a:ext>
              </a:extLst>
            </p:cNvPr>
            <p:cNvGrpSpPr/>
            <p:nvPr/>
          </p:nvGrpSpPr>
          <p:grpSpPr>
            <a:xfrm>
              <a:off x="6825576" y="1891608"/>
              <a:ext cx="493908" cy="643607"/>
              <a:chOff x="3134416" y="2441383"/>
              <a:chExt cx="599019" cy="780576"/>
            </a:xfrm>
          </p:grpSpPr>
          <p:sp>
            <p:nvSpPr>
              <p:cNvPr id="516" name="任意多边形: 形状 515">
                <a:extLst>
                  <a:ext uri="{FF2B5EF4-FFF2-40B4-BE49-F238E27FC236}">
                    <a16:creationId xmlns:a16="http://schemas.microsoft.com/office/drawing/2014/main" id="{E5BC5311-67B2-4EE1-A311-B2780AE328DD}"/>
                  </a:ext>
                </a:extLst>
              </p:cNvPr>
              <p:cNvSpPr/>
              <p:nvPr/>
            </p:nvSpPr>
            <p:spPr>
              <a:xfrm>
                <a:off x="3134416" y="2441383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7" name="任意多边形: 形状 516">
                <a:extLst>
                  <a:ext uri="{FF2B5EF4-FFF2-40B4-BE49-F238E27FC236}">
                    <a16:creationId xmlns:a16="http://schemas.microsoft.com/office/drawing/2014/main" id="{D5A64891-BD32-4F61-B6D2-54CDA1B87A1D}"/>
                  </a:ext>
                </a:extLst>
              </p:cNvPr>
              <p:cNvSpPr/>
              <p:nvPr/>
            </p:nvSpPr>
            <p:spPr>
              <a:xfrm>
                <a:off x="3181282" y="2489037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8" name="任意多边形: 形状 517">
                <a:extLst>
                  <a:ext uri="{FF2B5EF4-FFF2-40B4-BE49-F238E27FC236}">
                    <a16:creationId xmlns:a16="http://schemas.microsoft.com/office/drawing/2014/main" id="{96A773A2-B1EC-4F46-A93C-E397D727657C}"/>
                  </a:ext>
                </a:extLst>
              </p:cNvPr>
              <p:cNvSpPr/>
              <p:nvPr/>
            </p:nvSpPr>
            <p:spPr>
              <a:xfrm>
                <a:off x="3228148" y="2536691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19" name="组合 518">
                <a:extLst>
                  <a:ext uri="{FF2B5EF4-FFF2-40B4-BE49-F238E27FC236}">
                    <a16:creationId xmlns:a16="http://schemas.microsoft.com/office/drawing/2014/main" id="{451F7000-E93F-4BC7-93E8-7755FBD0CE8E}"/>
                  </a:ext>
                </a:extLst>
              </p:cNvPr>
              <p:cNvGrpSpPr/>
              <p:nvPr/>
            </p:nvGrpSpPr>
            <p:grpSpPr>
              <a:xfrm>
                <a:off x="3275014" y="2584344"/>
                <a:ext cx="458421" cy="635645"/>
                <a:chOff x="3001983" y="2573919"/>
                <a:chExt cx="458421" cy="635645"/>
              </a:xfrm>
            </p:grpSpPr>
            <p:sp>
              <p:nvSpPr>
                <p:cNvPr id="520" name="任意多边形: 形状 519">
                  <a:extLst>
                    <a:ext uri="{FF2B5EF4-FFF2-40B4-BE49-F238E27FC236}">
                      <a16:creationId xmlns:a16="http://schemas.microsoft.com/office/drawing/2014/main" id="{58AA3BAE-ED61-4F9E-9A92-AB405DBA43A7}"/>
                    </a:ext>
                  </a:extLst>
                </p:cNvPr>
                <p:cNvSpPr/>
                <p:nvPr/>
              </p:nvSpPr>
              <p:spPr>
                <a:xfrm>
                  <a:off x="3320988" y="2573919"/>
                  <a:ext cx="139416" cy="122875"/>
                </a:xfrm>
                <a:custGeom>
                  <a:avLst/>
                  <a:gdLst>
                    <a:gd name="connsiteX0" fmla="*/ 11815 w 139416"/>
                    <a:gd name="connsiteY0" fmla="*/ 0 h 122875"/>
                    <a:gd name="connsiteX1" fmla="*/ 0 w 139416"/>
                    <a:gd name="connsiteY1" fmla="*/ 0 h 122875"/>
                    <a:gd name="connsiteX2" fmla="*/ 0 w 139416"/>
                    <a:gd name="connsiteY2" fmla="*/ 122876 h 122875"/>
                    <a:gd name="connsiteX3" fmla="*/ 139417 w 139416"/>
                    <a:gd name="connsiteY3" fmla="*/ 122876 h 122875"/>
                    <a:gd name="connsiteX4" fmla="*/ 139417 w 139416"/>
                    <a:gd name="connsiteY4" fmla="*/ 120513 h 12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416" h="122875">
                      <a:moveTo>
                        <a:pt x="11815" y="0"/>
                      </a:moveTo>
                      <a:lnTo>
                        <a:pt x="0" y="0"/>
                      </a:lnTo>
                      <a:lnTo>
                        <a:pt x="0" y="122876"/>
                      </a:lnTo>
                      <a:lnTo>
                        <a:pt x="139417" y="122876"/>
                      </a:lnTo>
                      <a:lnTo>
                        <a:pt x="139417" y="120513"/>
                      </a:lnTo>
                      <a:close/>
                    </a:path>
                  </a:pathLst>
                </a:custGeom>
                <a:solidFill>
                  <a:srgbClr val="82BAEB"/>
                </a:solidFill>
                <a:ln w="6350" cap="flat">
                  <a:solidFill>
                    <a:srgbClr val="0070C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521" name="组合 520">
                  <a:extLst>
                    <a:ext uri="{FF2B5EF4-FFF2-40B4-BE49-F238E27FC236}">
                      <a16:creationId xmlns:a16="http://schemas.microsoft.com/office/drawing/2014/main" id="{DA831375-B208-4C76-A961-534E4412A31A}"/>
                    </a:ext>
                  </a:extLst>
                </p:cNvPr>
                <p:cNvGrpSpPr/>
                <p:nvPr/>
              </p:nvGrpSpPr>
              <p:grpSpPr>
                <a:xfrm>
                  <a:off x="3001983" y="2573919"/>
                  <a:ext cx="458421" cy="635645"/>
                  <a:chOff x="3001983" y="2573919"/>
                  <a:chExt cx="458421" cy="635645"/>
                </a:xfrm>
              </p:grpSpPr>
              <p:sp>
                <p:nvSpPr>
                  <p:cNvPr id="522" name="任意多边形: 形状 521">
                    <a:extLst>
                      <a:ext uri="{FF2B5EF4-FFF2-40B4-BE49-F238E27FC236}">
                        <a16:creationId xmlns:a16="http://schemas.microsoft.com/office/drawing/2014/main" id="{72CBC1B0-9220-4DB0-9B5B-17F29FF3BE7C}"/>
                      </a:ext>
                    </a:extLst>
                  </p:cNvPr>
                  <p:cNvSpPr/>
                  <p:nvPr/>
                </p:nvSpPr>
                <p:spPr>
                  <a:xfrm>
                    <a:off x="3001983" y="2573919"/>
                    <a:ext cx="458421" cy="635645"/>
                  </a:xfrm>
                  <a:custGeom>
                    <a:avLst/>
                    <a:gdLst>
                      <a:gd name="connsiteX0" fmla="*/ 319004 w 458421"/>
                      <a:gd name="connsiteY0" fmla="*/ 0 h 635645"/>
                      <a:gd name="connsiteX1" fmla="*/ 0 w 458421"/>
                      <a:gd name="connsiteY1" fmla="*/ 0 h 635645"/>
                      <a:gd name="connsiteX2" fmla="*/ 0 w 458421"/>
                      <a:gd name="connsiteY2" fmla="*/ 635646 h 635645"/>
                      <a:gd name="connsiteX3" fmla="*/ 458421 w 458421"/>
                      <a:gd name="connsiteY3" fmla="*/ 635646 h 635645"/>
                      <a:gd name="connsiteX4" fmla="*/ 458421 w 458421"/>
                      <a:gd name="connsiteY4" fmla="*/ 122876 h 635645"/>
                      <a:gd name="connsiteX5" fmla="*/ 319004 w 458421"/>
                      <a:gd name="connsiteY5" fmla="*/ 122876 h 635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58421" h="635645">
                        <a:moveTo>
                          <a:pt x="319004" y="0"/>
                        </a:moveTo>
                        <a:lnTo>
                          <a:pt x="0" y="0"/>
                        </a:lnTo>
                        <a:lnTo>
                          <a:pt x="0" y="635646"/>
                        </a:lnTo>
                        <a:lnTo>
                          <a:pt x="458421" y="635646"/>
                        </a:lnTo>
                        <a:lnTo>
                          <a:pt x="458421" y="122876"/>
                        </a:lnTo>
                        <a:lnTo>
                          <a:pt x="319004" y="122876"/>
                        </a:lnTo>
                        <a:close/>
                      </a:path>
                    </a:pathLst>
                  </a:custGeom>
                  <a:solidFill>
                    <a:srgbClr val="82BAEB"/>
                  </a:solidFill>
                  <a:ln w="6350" cap="flat">
                    <a:solidFill>
                      <a:srgbClr val="0070C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23" name="任意多边形: 形状 522">
                    <a:extLst>
                      <a:ext uri="{FF2B5EF4-FFF2-40B4-BE49-F238E27FC236}">
                        <a16:creationId xmlns:a16="http://schemas.microsoft.com/office/drawing/2014/main" id="{59E3E122-E398-45C4-8AA1-2EA218860B8B}"/>
                      </a:ext>
                    </a:extLst>
                  </p:cNvPr>
                  <p:cNvSpPr/>
                  <p:nvPr/>
                </p:nvSpPr>
                <p:spPr>
                  <a:xfrm>
                    <a:off x="3108013" y="2793677"/>
                    <a:ext cx="246360" cy="196128"/>
                  </a:xfrm>
                  <a:custGeom>
                    <a:avLst/>
                    <a:gdLst>
                      <a:gd name="connsiteX0" fmla="*/ 19457 w 246360"/>
                      <a:gd name="connsiteY0" fmla="*/ 25993 h 196128"/>
                      <a:gd name="connsiteX1" fmla="*/ 45450 w 246360"/>
                      <a:gd name="connsiteY1" fmla="*/ 51986 h 196128"/>
                      <a:gd name="connsiteX2" fmla="*/ 71443 w 246360"/>
                      <a:gd name="connsiteY2" fmla="*/ 25993 h 196128"/>
                      <a:gd name="connsiteX3" fmla="*/ 45450 w 246360"/>
                      <a:gd name="connsiteY3" fmla="*/ 0 h 196128"/>
                      <a:gd name="connsiteX4" fmla="*/ 19457 w 246360"/>
                      <a:gd name="connsiteY4" fmla="*/ 25993 h 196128"/>
                      <a:gd name="connsiteX5" fmla="*/ 19457 w 246360"/>
                      <a:gd name="connsiteY5" fmla="*/ 25993 h 196128"/>
                      <a:gd name="connsiteX6" fmla="*/ 54902 w 246360"/>
                      <a:gd name="connsiteY6" fmla="*/ 101609 h 196128"/>
                      <a:gd name="connsiteX7" fmla="*/ 118703 w 246360"/>
                      <a:gd name="connsiteY7" fmla="*/ 148869 h 196128"/>
                      <a:gd name="connsiteX8" fmla="*/ 182504 w 246360"/>
                      <a:gd name="connsiteY8" fmla="*/ 68527 h 196128"/>
                      <a:gd name="connsiteX9" fmla="*/ 243942 w 246360"/>
                      <a:gd name="connsiteY9" fmla="*/ 160684 h 196128"/>
                      <a:gd name="connsiteX10" fmla="*/ 203771 w 246360"/>
                      <a:gd name="connsiteY10" fmla="*/ 196129 h 196128"/>
                      <a:gd name="connsiteX11" fmla="*/ 19457 w 246360"/>
                      <a:gd name="connsiteY11" fmla="*/ 193766 h 196128"/>
                      <a:gd name="connsiteX12" fmla="*/ 5279 w 246360"/>
                      <a:gd name="connsiteY12" fmla="*/ 158321 h 196128"/>
                      <a:gd name="connsiteX13" fmla="*/ 54902 w 246360"/>
                      <a:gd name="connsiteY13" fmla="*/ 101609 h 196128"/>
                      <a:gd name="connsiteX14" fmla="*/ 54902 w 246360"/>
                      <a:gd name="connsiteY14" fmla="*/ 101609 h 196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46360" h="196128">
                        <a:moveTo>
                          <a:pt x="19457" y="25993"/>
                        </a:moveTo>
                        <a:cubicBezTo>
                          <a:pt x="19457" y="40171"/>
                          <a:pt x="31272" y="51986"/>
                          <a:pt x="45450" y="51986"/>
                        </a:cubicBezTo>
                        <a:cubicBezTo>
                          <a:pt x="59628" y="51986"/>
                          <a:pt x="71443" y="40171"/>
                          <a:pt x="71443" y="25993"/>
                        </a:cubicBezTo>
                        <a:cubicBezTo>
                          <a:pt x="71443" y="11815"/>
                          <a:pt x="59628" y="0"/>
                          <a:pt x="45450" y="0"/>
                        </a:cubicBezTo>
                        <a:cubicBezTo>
                          <a:pt x="31272" y="0"/>
                          <a:pt x="19457" y="11815"/>
                          <a:pt x="19457" y="25993"/>
                        </a:cubicBezTo>
                        <a:lnTo>
                          <a:pt x="19457" y="25993"/>
                        </a:lnTo>
                        <a:close/>
                        <a:moveTo>
                          <a:pt x="54902" y="101609"/>
                        </a:moveTo>
                        <a:cubicBezTo>
                          <a:pt x="73806" y="101609"/>
                          <a:pt x="92710" y="148869"/>
                          <a:pt x="118703" y="148869"/>
                        </a:cubicBezTo>
                        <a:cubicBezTo>
                          <a:pt x="144696" y="148869"/>
                          <a:pt x="154148" y="68527"/>
                          <a:pt x="182504" y="68527"/>
                        </a:cubicBezTo>
                        <a:cubicBezTo>
                          <a:pt x="213223" y="68527"/>
                          <a:pt x="234490" y="132328"/>
                          <a:pt x="243942" y="160684"/>
                        </a:cubicBezTo>
                        <a:cubicBezTo>
                          <a:pt x="251031" y="189040"/>
                          <a:pt x="243942" y="196129"/>
                          <a:pt x="203771" y="196129"/>
                        </a:cubicBezTo>
                        <a:cubicBezTo>
                          <a:pt x="163600" y="196129"/>
                          <a:pt x="35998" y="193766"/>
                          <a:pt x="19457" y="193766"/>
                        </a:cubicBezTo>
                        <a:cubicBezTo>
                          <a:pt x="2916" y="193766"/>
                          <a:pt x="-6536" y="181951"/>
                          <a:pt x="5279" y="158321"/>
                        </a:cubicBezTo>
                        <a:cubicBezTo>
                          <a:pt x="14731" y="134691"/>
                          <a:pt x="35998" y="101609"/>
                          <a:pt x="54902" y="101609"/>
                        </a:cubicBezTo>
                        <a:lnTo>
                          <a:pt x="54902" y="101609"/>
                        </a:lnTo>
                        <a:close/>
                      </a:path>
                    </a:pathLst>
                  </a:custGeom>
                  <a:solidFill>
                    <a:srgbClr val="0070C0">
                      <a:alpha val="40000"/>
                    </a:srgbClr>
                  </a:solidFill>
                  <a:ln w="236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524" name="组合 523">
              <a:extLst>
                <a:ext uri="{FF2B5EF4-FFF2-40B4-BE49-F238E27FC236}">
                  <a16:creationId xmlns:a16="http://schemas.microsoft.com/office/drawing/2014/main" id="{BED0D906-B02F-40E3-B3CB-5D25DD6E86B2}"/>
                </a:ext>
              </a:extLst>
            </p:cNvPr>
            <p:cNvGrpSpPr/>
            <p:nvPr/>
          </p:nvGrpSpPr>
          <p:grpSpPr>
            <a:xfrm>
              <a:off x="7436763" y="1891608"/>
              <a:ext cx="493908" cy="643607"/>
              <a:chOff x="3134416" y="2441383"/>
              <a:chExt cx="599019" cy="780576"/>
            </a:xfrm>
          </p:grpSpPr>
          <p:sp>
            <p:nvSpPr>
              <p:cNvPr id="525" name="任意多边形: 形状 524">
                <a:extLst>
                  <a:ext uri="{FF2B5EF4-FFF2-40B4-BE49-F238E27FC236}">
                    <a16:creationId xmlns:a16="http://schemas.microsoft.com/office/drawing/2014/main" id="{86CDF7CE-9319-4487-85FB-C8D844C3AFB5}"/>
                  </a:ext>
                </a:extLst>
              </p:cNvPr>
              <p:cNvSpPr/>
              <p:nvPr/>
            </p:nvSpPr>
            <p:spPr>
              <a:xfrm>
                <a:off x="3134416" y="2441383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6" name="任意多边形: 形状 525">
                <a:extLst>
                  <a:ext uri="{FF2B5EF4-FFF2-40B4-BE49-F238E27FC236}">
                    <a16:creationId xmlns:a16="http://schemas.microsoft.com/office/drawing/2014/main" id="{31E198E3-84FC-4506-8C2E-B7F48B066589}"/>
                  </a:ext>
                </a:extLst>
              </p:cNvPr>
              <p:cNvSpPr/>
              <p:nvPr/>
            </p:nvSpPr>
            <p:spPr>
              <a:xfrm>
                <a:off x="3181282" y="2489037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7" name="任意多边形: 形状 526">
                <a:extLst>
                  <a:ext uri="{FF2B5EF4-FFF2-40B4-BE49-F238E27FC236}">
                    <a16:creationId xmlns:a16="http://schemas.microsoft.com/office/drawing/2014/main" id="{300B9327-7BA4-442B-BDC6-4EA73560D390}"/>
                  </a:ext>
                </a:extLst>
              </p:cNvPr>
              <p:cNvSpPr/>
              <p:nvPr/>
            </p:nvSpPr>
            <p:spPr>
              <a:xfrm>
                <a:off x="3228148" y="2536691"/>
                <a:ext cx="458421" cy="685268"/>
              </a:xfrm>
              <a:custGeom>
                <a:avLst/>
                <a:gdLst>
                  <a:gd name="connsiteX0" fmla="*/ 0 w 458421"/>
                  <a:gd name="connsiteY0" fmla="*/ 0 h 685268"/>
                  <a:gd name="connsiteX1" fmla="*/ 458421 w 458421"/>
                  <a:gd name="connsiteY1" fmla="*/ 0 h 685268"/>
                  <a:gd name="connsiteX2" fmla="*/ 458421 w 458421"/>
                  <a:gd name="connsiteY2" fmla="*/ 685269 h 685268"/>
                  <a:gd name="connsiteX3" fmla="*/ 0 w 458421"/>
                  <a:gd name="connsiteY3" fmla="*/ 685269 h 68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8421" h="685268">
                    <a:moveTo>
                      <a:pt x="0" y="0"/>
                    </a:moveTo>
                    <a:lnTo>
                      <a:pt x="458421" y="0"/>
                    </a:lnTo>
                    <a:lnTo>
                      <a:pt x="458421" y="685269"/>
                    </a:lnTo>
                    <a:lnTo>
                      <a:pt x="0" y="685269"/>
                    </a:lnTo>
                    <a:close/>
                  </a:path>
                </a:pathLst>
              </a:custGeom>
              <a:solidFill>
                <a:srgbClr val="82BAEB">
                  <a:alpha val="80000"/>
                </a:srgbClr>
              </a:solidFill>
              <a:ln w="5344" cap="flat">
                <a:solidFill>
                  <a:srgbClr val="0070C0">
                    <a:alpha val="8000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28" name="组合 527">
                <a:extLst>
                  <a:ext uri="{FF2B5EF4-FFF2-40B4-BE49-F238E27FC236}">
                    <a16:creationId xmlns:a16="http://schemas.microsoft.com/office/drawing/2014/main" id="{F5F6484E-142D-4A88-8990-5357B2514F14}"/>
                  </a:ext>
                </a:extLst>
              </p:cNvPr>
              <p:cNvGrpSpPr/>
              <p:nvPr/>
            </p:nvGrpSpPr>
            <p:grpSpPr>
              <a:xfrm>
                <a:off x="3275014" y="2584344"/>
                <a:ext cx="458421" cy="635645"/>
                <a:chOff x="3001983" y="2573919"/>
                <a:chExt cx="458421" cy="635645"/>
              </a:xfrm>
            </p:grpSpPr>
            <p:sp>
              <p:nvSpPr>
                <p:cNvPr id="529" name="任意多边形: 形状 528">
                  <a:extLst>
                    <a:ext uri="{FF2B5EF4-FFF2-40B4-BE49-F238E27FC236}">
                      <a16:creationId xmlns:a16="http://schemas.microsoft.com/office/drawing/2014/main" id="{15D8A55F-06CC-4E8F-9AFA-83ADC1863671}"/>
                    </a:ext>
                  </a:extLst>
                </p:cNvPr>
                <p:cNvSpPr/>
                <p:nvPr/>
              </p:nvSpPr>
              <p:spPr>
                <a:xfrm>
                  <a:off x="3320988" y="2573919"/>
                  <a:ext cx="139416" cy="122875"/>
                </a:xfrm>
                <a:custGeom>
                  <a:avLst/>
                  <a:gdLst>
                    <a:gd name="connsiteX0" fmla="*/ 11815 w 139416"/>
                    <a:gd name="connsiteY0" fmla="*/ 0 h 122875"/>
                    <a:gd name="connsiteX1" fmla="*/ 0 w 139416"/>
                    <a:gd name="connsiteY1" fmla="*/ 0 h 122875"/>
                    <a:gd name="connsiteX2" fmla="*/ 0 w 139416"/>
                    <a:gd name="connsiteY2" fmla="*/ 122876 h 122875"/>
                    <a:gd name="connsiteX3" fmla="*/ 139417 w 139416"/>
                    <a:gd name="connsiteY3" fmla="*/ 122876 h 122875"/>
                    <a:gd name="connsiteX4" fmla="*/ 139417 w 139416"/>
                    <a:gd name="connsiteY4" fmla="*/ 120513 h 12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9416" h="122875">
                      <a:moveTo>
                        <a:pt x="11815" y="0"/>
                      </a:moveTo>
                      <a:lnTo>
                        <a:pt x="0" y="0"/>
                      </a:lnTo>
                      <a:lnTo>
                        <a:pt x="0" y="122876"/>
                      </a:lnTo>
                      <a:lnTo>
                        <a:pt x="139417" y="122876"/>
                      </a:lnTo>
                      <a:lnTo>
                        <a:pt x="139417" y="120513"/>
                      </a:lnTo>
                      <a:close/>
                    </a:path>
                  </a:pathLst>
                </a:custGeom>
                <a:solidFill>
                  <a:srgbClr val="82BAEB"/>
                </a:solidFill>
                <a:ln w="6350" cap="flat">
                  <a:solidFill>
                    <a:srgbClr val="0070C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530" name="组合 529">
                  <a:extLst>
                    <a:ext uri="{FF2B5EF4-FFF2-40B4-BE49-F238E27FC236}">
                      <a16:creationId xmlns:a16="http://schemas.microsoft.com/office/drawing/2014/main" id="{D97B592F-DF25-463D-B0AA-223117663E5A}"/>
                    </a:ext>
                  </a:extLst>
                </p:cNvPr>
                <p:cNvGrpSpPr/>
                <p:nvPr/>
              </p:nvGrpSpPr>
              <p:grpSpPr>
                <a:xfrm>
                  <a:off x="3001983" y="2573919"/>
                  <a:ext cx="458421" cy="635645"/>
                  <a:chOff x="3001983" y="2573919"/>
                  <a:chExt cx="458421" cy="635645"/>
                </a:xfrm>
              </p:grpSpPr>
              <p:sp>
                <p:nvSpPr>
                  <p:cNvPr id="531" name="任意多边形: 形状 530">
                    <a:extLst>
                      <a:ext uri="{FF2B5EF4-FFF2-40B4-BE49-F238E27FC236}">
                        <a16:creationId xmlns:a16="http://schemas.microsoft.com/office/drawing/2014/main" id="{05463D30-944C-400C-BB71-1B38C24C4AE0}"/>
                      </a:ext>
                    </a:extLst>
                  </p:cNvPr>
                  <p:cNvSpPr/>
                  <p:nvPr/>
                </p:nvSpPr>
                <p:spPr>
                  <a:xfrm>
                    <a:off x="3001983" y="2573919"/>
                    <a:ext cx="458421" cy="635645"/>
                  </a:xfrm>
                  <a:custGeom>
                    <a:avLst/>
                    <a:gdLst>
                      <a:gd name="connsiteX0" fmla="*/ 319004 w 458421"/>
                      <a:gd name="connsiteY0" fmla="*/ 0 h 635645"/>
                      <a:gd name="connsiteX1" fmla="*/ 0 w 458421"/>
                      <a:gd name="connsiteY1" fmla="*/ 0 h 635645"/>
                      <a:gd name="connsiteX2" fmla="*/ 0 w 458421"/>
                      <a:gd name="connsiteY2" fmla="*/ 635646 h 635645"/>
                      <a:gd name="connsiteX3" fmla="*/ 458421 w 458421"/>
                      <a:gd name="connsiteY3" fmla="*/ 635646 h 635645"/>
                      <a:gd name="connsiteX4" fmla="*/ 458421 w 458421"/>
                      <a:gd name="connsiteY4" fmla="*/ 122876 h 635645"/>
                      <a:gd name="connsiteX5" fmla="*/ 319004 w 458421"/>
                      <a:gd name="connsiteY5" fmla="*/ 122876 h 635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58421" h="635645">
                        <a:moveTo>
                          <a:pt x="319004" y="0"/>
                        </a:moveTo>
                        <a:lnTo>
                          <a:pt x="0" y="0"/>
                        </a:lnTo>
                        <a:lnTo>
                          <a:pt x="0" y="635646"/>
                        </a:lnTo>
                        <a:lnTo>
                          <a:pt x="458421" y="635646"/>
                        </a:lnTo>
                        <a:lnTo>
                          <a:pt x="458421" y="122876"/>
                        </a:lnTo>
                        <a:lnTo>
                          <a:pt x="319004" y="122876"/>
                        </a:lnTo>
                        <a:close/>
                      </a:path>
                    </a:pathLst>
                  </a:custGeom>
                  <a:solidFill>
                    <a:srgbClr val="82BAEB"/>
                  </a:solidFill>
                  <a:ln w="6350" cap="flat">
                    <a:solidFill>
                      <a:srgbClr val="0070C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32" name="任意多边形: 形状 531">
                    <a:extLst>
                      <a:ext uri="{FF2B5EF4-FFF2-40B4-BE49-F238E27FC236}">
                        <a16:creationId xmlns:a16="http://schemas.microsoft.com/office/drawing/2014/main" id="{0CBF8ACA-B4AD-473C-81AB-8A2B64BDB8C9}"/>
                      </a:ext>
                    </a:extLst>
                  </p:cNvPr>
                  <p:cNvSpPr/>
                  <p:nvPr/>
                </p:nvSpPr>
                <p:spPr>
                  <a:xfrm>
                    <a:off x="3108013" y="2793677"/>
                    <a:ext cx="246360" cy="196128"/>
                  </a:xfrm>
                  <a:custGeom>
                    <a:avLst/>
                    <a:gdLst>
                      <a:gd name="connsiteX0" fmla="*/ 19457 w 246360"/>
                      <a:gd name="connsiteY0" fmla="*/ 25993 h 196128"/>
                      <a:gd name="connsiteX1" fmla="*/ 45450 w 246360"/>
                      <a:gd name="connsiteY1" fmla="*/ 51986 h 196128"/>
                      <a:gd name="connsiteX2" fmla="*/ 71443 w 246360"/>
                      <a:gd name="connsiteY2" fmla="*/ 25993 h 196128"/>
                      <a:gd name="connsiteX3" fmla="*/ 45450 w 246360"/>
                      <a:gd name="connsiteY3" fmla="*/ 0 h 196128"/>
                      <a:gd name="connsiteX4" fmla="*/ 19457 w 246360"/>
                      <a:gd name="connsiteY4" fmla="*/ 25993 h 196128"/>
                      <a:gd name="connsiteX5" fmla="*/ 19457 w 246360"/>
                      <a:gd name="connsiteY5" fmla="*/ 25993 h 196128"/>
                      <a:gd name="connsiteX6" fmla="*/ 54902 w 246360"/>
                      <a:gd name="connsiteY6" fmla="*/ 101609 h 196128"/>
                      <a:gd name="connsiteX7" fmla="*/ 118703 w 246360"/>
                      <a:gd name="connsiteY7" fmla="*/ 148869 h 196128"/>
                      <a:gd name="connsiteX8" fmla="*/ 182504 w 246360"/>
                      <a:gd name="connsiteY8" fmla="*/ 68527 h 196128"/>
                      <a:gd name="connsiteX9" fmla="*/ 243942 w 246360"/>
                      <a:gd name="connsiteY9" fmla="*/ 160684 h 196128"/>
                      <a:gd name="connsiteX10" fmla="*/ 203771 w 246360"/>
                      <a:gd name="connsiteY10" fmla="*/ 196129 h 196128"/>
                      <a:gd name="connsiteX11" fmla="*/ 19457 w 246360"/>
                      <a:gd name="connsiteY11" fmla="*/ 193766 h 196128"/>
                      <a:gd name="connsiteX12" fmla="*/ 5279 w 246360"/>
                      <a:gd name="connsiteY12" fmla="*/ 158321 h 196128"/>
                      <a:gd name="connsiteX13" fmla="*/ 54902 w 246360"/>
                      <a:gd name="connsiteY13" fmla="*/ 101609 h 196128"/>
                      <a:gd name="connsiteX14" fmla="*/ 54902 w 246360"/>
                      <a:gd name="connsiteY14" fmla="*/ 101609 h 1961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46360" h="196128">
                        <a:moveTo>
                          <a:pt x="19457" y="25993"/>
                        </a:moveTo>
                        <a:cubicBezTo>
                          <a:pt x="19457" y="40171"/>
                          <a:pt x="31272" y="51986"/>
                          <a:pt x="45450" y="51986"/>
                        </a:cubicBezTo>
                        <a:cubicBezTo>
                          <a:pt x="59628" y="51986"/>
                          <a:pt x="71443" y="40171"/>
                          <a:pt x="71443" y="25993"/>
                        </a:cubicBezTo>
                        <a:cubicBezTo>
                          <a:pt x="71443" y="11815"/>
                          <a:pt x="59628" y="0"/>
                          <a:pt x="45450" y="0"/>
                        </a:cubicBezTo>
                        <a:cubicBezTo>
                          <a:pt x="31272" y="0"/>
                          <a:pt x="19457" y="11815"/>
                          <a:pt x="19457" y="25993"/>
                        </a:cubicBezTo>
                        <a:lnTo>
                          <a:pt x="19457" y="25993"/>
                        </a:lnTo>
                        <a:close/>
                        <a:moveTo>
                          <a:pt x="54902" y="101609"/>
                        </a:moveTo>
                        <a:cubicBezTo>
                          <a:pt x="73806" y="101609"/>
                          <a:pt x="92710" y="148869"/>
                          <a:pt x="118703" y="148869"/>
                        </a:cubicBezTo>
                        <a:cubicBezTo>
                          <a:pt x="144696" y="148869"/>
                          <a:pt x="154148" y="68527"/>
                          <a:pt x="182504" y="68527"/>
                        </a:cubicBezTo>
                        <a:cubicBezTo>
                          <a:pt x="213223" y="68527"/>
                          <a:pt x="234490" y="132328"/>
                          <a:pt x="243942" y="160684"/>
                        </a:cubicBezTo>
                        <a:cubicBezTo>
                          <a:pt x="251031" y="189040"/>
                          <a:pt x="243942" y="196129"/>
                          <a:pt x="203771" y="196129"/>
                        </a:cubicBezTo>
                        <a:cubicBezTo>
                          <a:pt x="163600" y="196129"/>
                          <a:pt x="35998" y="193766"/>
                          <a:pt x="19457" y="193766"/>
                        </a:cubicBezTo>
                        <a:cubicBezTo>
                          <a:pt x="2916" y="193766"/>
                          <a:pt x="-6536" y="181951"/>
                          <a:pt x="5279" y="158321"/>
                        </a:cubicBezTo>
                        <a:cubicBezTo>
                          <a:pt x="14731" y="134691"/>
                          <a:pt x="35998" y="101609"/>
                          <a:pt x="54902" y="101609"/>
                        </a:cubicBezTo>
                        <a:lnTo>
                          <a:pt x="54902" y="101609"/>
                        </a:lnTo>
                        <a:close/>
                      </a:path>
                    </a:pathLst>
                  </a:custGeom>
                  <a:solidFill>
                    <a:srgbClr val="0070C0">
                      <a:alpha val="40000"/>
                    </a:srgbClr>
                  </a:solidFill>
                  <a:ln w="236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533" name="组合 532">
              <a:extLst>
                <a:ext uri="{FF2B5EF4-FFF2-40B4-BE49-F238E27FC236}">
                  <a16:creationId xmlns:a16="http://schemas.microsoft.com/office/drawing/2014/main" id="{EC5617FC-2C7D-489C-A9D0-3724B7C8F6C4}"/>
                </a:ext>
              </a:extLst>
            </p:cNvPr>
            <p:cNvGrpSpPr/>
            <p:nvPr/>
          </p:nvGrpSpPr>
          <p:grpSpPr>
            <a:xfrm>
              <a:off x="6328575" y="2802599"/>
              <a:ext cx="377981" cy="526056"/>
              <a:chOff x="5526545" y="2519063"/>
              <a:chExt cx="458421" cy="638008"/>
            </a:xfrm>
          </p:grpSpPr>
          <p:sp>
            <p:nvSpPr>
              <p:cNvPr id="534" name="任意多边形: 形状 533">
                <a:extLst>
                  <a:ext uri="{FF2B5EF4-FFF2-40B4-BE49-F238E27FC236}">
                    <a16:creationId xmlns:a16="http://schemas.microsoft.com/office/drawing/2014/main" id="{59E1C093-161E-48B4-8A1B-5DC03A73C853}"/>
                  </a:ext>
                </a:extLst>
              </p:cNvPr>
              <p:cNvSpPr/>
              <p:nvPr/>
            </p:nvSpPr>
            <p:spPr>
              <a:xfrm>
                <a:off x="5845549" y="2519063"/>
                <a:ext cx="139416" cy="122875"/>
              </a:xfrm>
              <a:custGeom>
                <a:avLst/>
                <a:gdLst>
                  <a:gd name="connsiteX0" fmla="*/ 11815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2876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1815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2876"/>
                    </a:lnTo>
                    <a:close/>
                  </a:path>
                </a:pathLst>
              </a:custGeom>
              <a:solidFill>
                <a:srgbClr val="90E4FD"/>
              </a:solidFill>
              <a:ln w="6350" cap="flat">
                <a:solidFill>
                  <a:srgbClr val="16C2D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35" name="组合 534">
                <a:extLst>
                  <a:ext uri="{FF2B5EF4-FFF2-40B4-BE49-F238E27FC236}">
                    <a16:creationId xmlns:a16="http://schemas.microsoft.com/office/drawing/2014/main" id="{18AF48F0-4BFD-4044-B8B1-C078131860CD}"/>
                  </a:ext>
                </a:extLst>
              </p:cNvPr>
              <p:cNvGrpSpPr/>
              <p:nvPr/>
            </p:nvGrpSpPr>
            <p:grpSpPr>
              <a:xfrm>
                <a:off x="5526545" y="2519063"/>
                <a:ext cx="458421" cy="638008"/>
                <a:chOff x="5526545" y="2519063"/>
                <a:chExt cx="458421" cy="638008"/>
              </a:xfrm>
            </p:grpSpPr>
            <p:sp>
              <p:nvSpPr>
                <p:cNvPr id="536" name="任意多边形: 形状 535">
                  <a:extLst>
                    <a:ext uri="{FF2B5EF4-FFF2-40B4-BE49-F238E27FC236}">
                      <a16:creationId xmlns:a16="http://schemas.microsoft.com/office/drawing/2014/main" id="{A0B0B0E2-E579-4CB3-8E0B-8D69A914881B}"/>
                    </a:ext>
                  </a:extLst>
                </p:cNvPr>
                <p:cNvSpPr/>
                <p:nvPr/>
              </p:nvSpPr>
              <p:spPr>
                <a:xfrm>
                  <a:off x="5526545" y="2519063"/>
                  <a:ext cx="458421" cy="638008"/>
                </a:xfrm>
                <a:custGeom>
                  <a:avLst/>
                  <a:gdLst>
                    <a:gd name="connsiteX0" fmla="*/ 319005 w 458421"/>
                    <a:gd name="connsiteY0" fmla="*/ 0 h 638008"/>
                    <a:gd name="connsiteX1" fmla="*/ 0 w 458421"/>
                    <a:gd name="connsiteY1" fmla="*/ 0 h 638008"/>
                    <a:gd name="connsiteX2" fmla="*/ 0 w 458421"/>
                    <a:gd name="connsiteY2" fmla="*/ 638009 h 638008"/>
                    <a:gd name="connsiteX3" fmla="*/ 458421 w 458421"/>
                    <a:gd name="connsiteY3" fmla="*/ 638009 h 638008"/>
                    <a:gd name="connsiteX4" fmla="*/ 458421 w 458421"/>
                    <a:gd name="connsiteY4" fmla="*/ 122876 h 638008"/>
                    <a:gd name="connsiteX5" fmla="*/ 319005 w 458421"/>
                    <a:gd name="connsiteY5" fmla="*/ 122876 h 638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8008">
                      <a:moveTo>
                        <a:pt x="319005" y="0"/>
                      </a:moveTo>
                      <a:lnTo>
                        <a:pt x="0" y="0"/>
                      </a:lnTo>
                      <a:lnTo>
                        <a:pt x="0" y="638009"/>
                      </a:lnTo>
                      <a:lnTo>
                        <a:pt x="458421" y="638009"/>
                      </a:lnTo>
                      <a:lnTo>
                        <a:pt x="458421" y="122876"/>
                      </a:lnTo>
                      <a:lnTo>
                        <a:pt x="319005" y="122876"/>
                      </a:lnTo>
                      <a:close/>
                    </a:path>
                  </a:pathLst>
                </a:custGeom>
                <a:solidFill>
                  <a:srgbClr val="90E4FD"/>
                </a:solidFill>
                <a:ln w="6350" cap="flat">
                  <a:solidFill>
                    <a:srgbClr val="16C2D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7" name="任意多边形: 形状 536">
                  <a:extLst>
                    <a:ext uri="{FF2B5EF4-FFF2-40B4-BE49-F238E27FC236}">
                      <a16:creationId xmlns:a16="http://schemas.microsoft.com/office/drawing/2014/main" id="{EEE53BBF-AB37-462A-979F-EC4D0C96C4CB}"/>
                    </a:ext>
                  </a:extLst>
                </p:cNvPr>
                <p:cNvSpPr/>
                <p:nvPr/>
              </p:nvSpPr>
              <p:spPr>
                <a:xfrm>
                  <a:off x="5632575" y="2741185"/>
                  <a:ext cx="246360" cy="193765"/>
                </a:xfrm>
                <a:custGeom>
                  <a:avLst/>
                  <a:gdLst>
                    <a:gd name="connsiteX0" fmla="*/ 19457 w 246360"/>
                    <a:gd name="connsiteY0" fmla="*/ 25993 h 193765"/>
                    <a:gd name="connsiteX1" fmla="*/ 45450 w 246360"/>
                    <a:gd name="connsiteY1" fmla="*/ 51986 h 193765"/>
                    <a:gd name="connsiteX2" fmla="*/ 71443 w 246360"/>
                    <a:gd name="connsiteY2" fmla="*/ 25993 h 193765"/>
                    <a:gd name="connsiteX3" fmla="*/ 45450 w 246360"/>
                    <a:gd name="connsiteY3" fmla="*/ 0 h 193765"/>
                    <a:gd name="connsiteX4" fmla="*/ 19457 w 246360"/>
                    <a:gd name="connsiteY4" fmla="*/ 25993 h 193765"/>
                    <a:gd name="connsiteX5" fmla="*/ 19457 w 246360"/>
                    <a:gd name="connsiteY5" fmla="*/ 25993 h 193765"/>
                    <a:gd name="connsiteX6" fmla="*/ 54902 w 246360"/>
                    <a:gd name="connsiteY6" fmla="*/ 99246 h 193765"/>
                    <a:gd name="connsiteX7" fmla="*/ 118703 w 246360"/>
                    <a:gd name="connsiteY7" fmla="*/ 146506 h 193765"/>
                    <a:gd name="connsiteX8" fmla="*/ 182504 w 246360"/>
                    <a:gd name="connsiteY8" fmla="*/ 66164 h 193765"/>
                    <a:gd name="connsiteX9" fmla="*/ 243941 w 246360"/>
                    <a:gd name="connsiteY9" fmla="*/ 158321 h 193765"/>
                    <a:gd name="connsiteX10" fmla="*/ 203771 w 246360"/>
                    <a:gd name="connsiteY10" fmla="*/ 193766 h 193765"/>
                    <a:gd name="connsiteX11" fmla="*/ 19457 w 246360"/>
                    <a:gd name="connsiteY11" fmla="*/ 191403 h 193765"/>
                    <a:gd name="connsiteX12" fmla="*/ 5279 w 246360"/>
                    <a:gd name="connsiteY12" fmla="*/ 155958 h 193765"/>
                    <a:gd name="connsiteX13" fmla="*/ 54902 w 246360"/>
                    <a:gd name="connsiteY13" fmla="*/ 99246 h 193765"/>
                    <a:gd name="connsiteX14" fmla="*/ 54902 w 246360"/>
                    <a:gd name="connsiteY14" fmla="*/ 99246 h 193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3765">
                      <a:moveTo>
                        <a:pt x="19457" y="25993"/>
                      </a:moveTo>
                      <a:cubicBezTo>
                        <a:pt x="19457" y="40171"/>
                        <a:pt x="31272" y="51986"/>
                        <a:pt x="45450" y="51986"/>
                      </a:cubicBezTo>
                      <a:cubicBezTo>
                        <a:pt x="59628" y="51986"/>
                        <a:pt x="71443" y="40171"/>
                        <a:pt x="71443" y="25993"/>
                      </a:cubicBezTo>
                      <a:cubicBezTo>
                        <a:pt x="71443" y="11815"/>
                        <a:pt x="59628" y="0"/>
                        <a:pt x="45450" y="0"/>
                      </a:cubicBezTo>
                      <a:cubicBezTo>
                        <a:pt x="31272" y="0"/>
                        <a:pt x="19457" y="11815"/>
                        <a:pt x="19457" y="25993"/>
                      </a:cubicBezTo>
                      <a:lnTo>
                        <a:pt x="19457" y="25993"/>
                      </a:lnTo>
                      <a:close/>
                      <a:moveTo>
                        <a:pt x="54902" y="99246"/>
                      </a:moveTo>
                      <a:cubicBezTo>
                        <a:pt x="73806" y="99246"/>
                        <a:pt x="92710" y="146506"/>
                        <a:pt x="118703" y="146506"/>
                      </a:cubicBezTo>
                      <a:cubicBezTo>
                        <a:pt x="144696" y="146506"/>
                        <a:pt x="154148" y="66164"/>
                        <a:pt x="182504" y="66164"/>
                      </a:cubicBezTo>
                      <a:cubicBezTo>
                        <a:pt x="213222" y="66164"/>
                        <a:pt x="234490" y="129965"/>
                        <a:pt x="243941" y="158321"/>
                      </a:cubicBezTo>
                      <a:cubicBezTo>
                        <a:pt x="251030" y="186677"/>
                        <a:pt x="243941" y="193766"/>
                        <a:pt x="203771" y="193766"/>
                      </a:cubicBezTo>
                      <a:cubicBezTo>
                        <a:pt x="163600" y="193766"/>
                        <a:pt x="35998" y="191403"/>
                        <a:pt x="19457" y="191403"/>
                      </a:cubicBezTo>
                      <a:cubicBezTo>
                        <a:pt x="2916" y="191403"/>
                        <a:pt x="-6536" y="179588"/>
                        <a:pt x="5279" y="155958"/>
                      </a:cubicBezTo>
                      <a:cubicBezTo>
                        <a:pt x="14731" y="134691"/>
                        <a:pt x="35998" y="99246"/>
                        <a:pt x="54902" y="99246"/>
                      </a:cubicBezTo>
                      <a:lnTo>
                        <a:pt x="54902" y="99246"/>
                      </a:lnTo>
                      <a:close/>
                    </a:path>
                  </a:pathLst>
                </a:custGeom>
                <a:solidFill>
                  <a:srgbClr val="16C2D4"/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538" name="组合 537">
              <a:extLst>
                <a:ext uri="{FF2B5EF4-FFF2-40B4-BE49-F238E27FC236}">
                  <a16:creationId xmlns:a16="http://schemas.microsoft.com/office/drawing/2014/main" id="{72528A5C-B76C-4627-9F3D-9A703F1C947F}"/>
                </a:ext>
              </a:extLst>
            </p:cNvPr>
            <p:cNvGrpSpPr/>
            <p:nvPr/>
          </p:nvGrpSpPr>
          <p:grpSpPr>
            <a:xfrm>
              <a:off x="6940633" y="2802599"/>
              <a:ext cx="377981" cy="526056"/>
              <a:chOff x="5526545" y="2519063"/>
              <a:chExt cx="458421" cy="638008"/>
            </a:xfrm>
          </p:grpSpPr>
          <p:sp>
            <p:nvSpPr>
              <p:cNvPr id="539" name="任意多边形: 形状 538">
                <a:extLst>
                  <a:ext uri="{FF2B5EF4-FFF2-40B4-BE49-F238E27FC236}">
                    <a16:creationId xmlns:a16="http://schemas.microsoft.com/office/drawing/2014/main" id="{B1C81D6F-5907-4F12-ACC6-1506C31B59EE}"/>
                  </a:ext>
                </a:extLst>
              </p:cNvPr>
              <p:cNvSpPr/>
              <p:nvPr/>
            </p:nvSpPr>
            <p:spPr>
              <a:xfrm>
                <a:off x="5845549" y="2519063"/>
                <a:ext cx="139416" cy="122875"/>
              </a:xfrm>
              <a:custGeom>
                <a:avLst/>
                <a:gdLst>
                  <a:gd name="connsiteX0" fmla="*/ 11815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2876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1815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2876"/>
                    </a:lnTo>
                    <a:close/>
                  </a:path>
                </a:pathLst>
              </a:custGeom>
              <a:solidFill>
                <a:srgbClr val="90E4FD"/>
              </a:solidFill>
              <a:ln w="6350" cap="flat">
                <a:solidFill>
                  <a:srgbClr val="16C2D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40" name="组合 539">
                <a:extLst>
                  <a:ext uri="{FF2B5EF4-FFF2-40B4-BE49-F238E27FC236}">
                    <a16:creationId xmlns:a16="http://schemas.microsoft.com/office/drawing/2014/main" id="{A66E36D3-3712-431A-9B0A-E7EC7D8B713D}"/>
                  </a:ext>
                </a:extLst>
              </p:cNvPr>
              <p:cNvGrpSpPr/>
              <p:nvPr/>
            </p:nvGrpSpPr>
            <p:grpSpPr>
              <a:xfrm>
                <a:off x="5526545" y="2519063"/>
                <a:ext cx="458421" cy="638008"/>
                <a:chOff x="5526545" y="2519063"/>
                <a:chExt cx="458421" cy="638008"/>
              </a:xfrm>
            </p:grpSpPr>
            <p:sp>
              <p:nvSpPr>
                <p:cNvPr id="541" name="任意多边形: 形状 540">
                  <a:extLst>
                    <a:ext uri="{FF2B5EF4-FFF2-40B4-BE49-F238E27FC236}">
                      <a16:creationId xmlns:a16="http://schemas.microsoft.com/office/drawing/2014/main" id="{F84326BF-407C-4FFD-8D2B-73DFC24FCC44}"/>
                    </a:ext>
                  </a:extLst>
                </p:cNvPr>
                <p:cNvSpPr/>
                <p:nvPr/>
              </p:nvSpPr>
              <p:spPr>
                <a:xfrm>
                  <a:off x="5526545" y="2519063"/>
                  <a:ext cx="458421" cy="638008"/>
                </a:xfrm>
                <a:custGeom>
                  <a:avLst/>
                  <a:gdLst>
                    <a:gd name="connsiteX0" fmla="*/ 319005 w 458421"/>
                    <a:gd name="connsiteY0" fmla="*/ 0 h 638008"/>
                    <a:gd name="connsiteX1" fmla="*/ 0 w 458421"/>
                    <a:gd name="connsiteY1" fmla="*/ 0 h 638008"/>
                    <a:gd name="connsiteX2" fmla="*/ 0 w 458421"/>
                    <a:gd name="connsiteY2" fmla="*/ 638009 h 638008"/>
                    <a:gd name="connsiteX3" fmla="*/ 458421 w 458421"/>
                    <a:gd name="connsiteY3" fmla="*/ 638009 h 638008"/>
                    <a:gd name="connsiteX4" fmla="*/ 458421 w 458421"/>
                    <a:gd name="connsiteY4" fmla="*/ 122876 h 638008"/>
                    <a:gd name="connsiteX5" fmla="*/ 319005 w 458421"/>
                    <a:gd name="connsiteY5" fmla="*/ 122876 h 638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8008">
                      <a:moveTo>
                        <a:pt x="319005" y="0"/>
                      </a:moveTo>
                      <a:lnTo>
                        <a:pt x="0" y="0"/>
                      </a:lnTo>
                      <a:lnTo>
                        <a:pt x="0" y="638009"/>
                      </a:lnTo>
                      <a:lnTo>
                        <a:pt x="458421" y="638009"/>
                      </a:lnTo>
                      <a:lnTo>
                        <a:pt x="458421" y="122876"/>
                      </a:lnTo>
                      <a:lnTo>
                        <a:pt x="319005" y="122876"/>
                      </a:lnTo>
                      <a:close/>
                    </a:path>
                  </a:pathLst>
                </a:custGeom>
                <a:solidFill>
                  <a:srgbClr val="90E4FD"/>
                </a:solidFill>
                <a:ln w="6350" cap="flat">
                  <a:solidFill>
                    <a:srgbClr val="16C2D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2" name="任意多边形: 形状 541">
                  <a:extLst>
                    <a:ext uri="{FF2B5EF4-FFF2-40B4-BE49-F238E27FC236}">
                      <a16:creationId xmlns:a16="http://schemas.microsoft.com/office/drawing/2014/main" id="{0C1F6137-B99E-4A1D-B9E5-DB47738EEC08}"/>
                    </a:ext>
                  </a:extLst>
                </p:cNvPr>
                <p:cNvSpPr/>
                <p:nvPr/>
              </p:nvSpPr>
              <p:spPr>
                <a:xfrm>
                  <a:off x="5632575" y="2741185"/>
                  <a:ext cx="246360" cy="193765"/>
                </a:xfrm>
                <a:custGeom>
                  <a:avLst/>
                  <a:gdLst>
                    <a:gd name="connsiteX0" fmla="*/ 19457 w 246360"/>
                    <a:gd name="connsiteY0" fmla="*/ 25993 h 193765"/>
                    <a:gd name="connsiteX1" fmla="*/ 45450 w 246360"/>
                    <a:gd name="connsiteY1" fmla="*/ 51986 h 193765"/>
                    <a:gd name="connsiteX2" fmla="*/ 71443 w 246360"/>
                    <a:gd name="connsiteY2" fmla="*/ 25993 h 193765"/>
                    <a:gd name="connsiteX3" fmla="*/ 45450 w 246360"/>
                    <a:gd name="connsiteY3" fmla="*/ 0 h 193765"/>
                    <a:gd name="connsiteX4" fmla="*/ 19457 w 246360"/>
                    <a:gd name="connsiteY4" fmla="*/ 25993 h 193765"/>
                    <a:gd name="connsiteX5" fmla="*/ 19457 w 246360"/>
                    <a:gd name="connsiteY5" fmla="*/ 25993 h 193765"/>
                    <a:gd name="connsiteX6" fmla="*/ 54902 w 246360"/>
                    <a:gd name="connsiteY6" fmla="*/ 99246 h 193765"/>
                    <a:gd name="connsiteX7" fmla="*/ 118703 w 246360"/>
                    <a:gd name="connsiteY7" fmla="*/ 146506 h 193765"/>
                    <a:gd name="connsiteX8" fmla="*/ 182504 w 246360"/>
                    <a:gd name="connsiteY8" fmla="*/ 66164 h 193765"/>
                    <a:gd name="connsiteX9" fmla="*/ 243941 w 246360"/>
                    <a:gd name="connsiteY9" fmla="*/ 158321 h 193765"/>
                    <a:gd name="connsiteX10" fmla="*/ 203771 w 246360"/>
                    <a:gd name="connsiteY10" fmla="*/ 193766 h 193765"/>
                    <a:gd name="connsiteX11" fmla="*/ 19457 w 246360"/>
                    <a:gd name="connsiteY11" fmla="*/ 191403 h 193765"/>
                    <a:gd name="connsiteX12" fmla="*/ 5279 w 246360"/>
                    <a:gd name="connsiteY12" fmla="*/ 155958 h 193765"/>
                    <a:gd name="connsiteX13" fmla="*/ 54902 w 246360"/>
                    <a:gd name="connsiteY13" fmla="*/ 99246 h 193765"/>
                    <a:gd name="connsiteX14" fmla="*/ 54902 w 246360"/>
                    <a:gd name="connsiteY14" fmla="*/ 99246 h 193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3765">
                      <a:moveTo>
                        <a:pt x="19457" y="25993"/>
                      </a:moveTo>
                      <a:cubicBezTo>
                        <a:pt x="19457" y="40171"/>
                        <a:pt x="31272" y="51986"/>
                        <a:pt x="45450" y="51986"/>
                      </a:cubicBezTo>
                      <a:cubicBezTo>
                        <a:pt x="59628" y="51986"/>
                        <a:pt x="71443" y="40171"/>
                        <a:pt x="71443" y="25993"/>
                      </a:cubicBezTo>
                      <a:cubicBezTo>
                        <a:pt x="71443" y="11815"/>
                        <a:pt x="59628" y="0"/>
                        <a:pt x="45450" y="0"/>
                      </a:cubicBezTo>
                      <a:cubicBezTo>
                        <a:pt x="31272" y="0"/>
                        <a:pt x="19457" y="11815"/>
                        <a:pt x="19457" y="25993"/>
                      </a:cubicBezTo>
                      <a:lnTo>
                        <a:pt x="19457" y="25993"/>
                      </a:lnTo>
                      <a:close/>
                      <a:moveTo>
                        <a:pt x="54902" y="99246"/>
                      </a:moveTo>
                      <a:cubicBezTo>
                        <a:pt x="73806" y="99246"/>
                        <a:pt x="92710" y="146506"/>
                        <a:pt x="118703" y="146506"/>
                      </a:cubicBezTo>
                      <a:cubicBezTo>
                        <a:pt x="144696" y="146506"/>
                        <a:pt x="154148" y="66164"/>
                        <a:pt x="182504" y="66164"/>
                      </a:cubicBezTo>
                      <a:cubicBezTo>
                        <a:pt x="213222" y="66164"/>
                        <a:pt x="234490" y="129965"/>
                        <a:pt x="243941" y="158321"/>
                      </a:cubicBezTo>
                      <a:cubicBezTo>
                        <a:pt x="251030" y="186677"/>
                        <a:pt x="243941" y="193766"/>
                        <a:pt x="203771" y="193766"/>
                      </a:cubicBezTo>
                      <a:cubicBezTo>
                        <a:pt x="163600" y="193766"/>
                        <a:pt x="35998" y="191403"/>
                        <a:pt x="19457" y="191403"/>
                      </a:cubicBezTo>
                      <a:cubicBezTo>
                        <a:pt x="2916" y="191403"/>
                        <a:pt x="-6536" y="179588"/>
                        <a:pt x="5279" y="155958"/>
                      </a:cubicBezTo>
                      <a:cubicBezTo>
                        <a:pt x="14731" y="134691"/>
                        <a:pt x="35998" y="99246"/>
                        <a:pt x="54902" y="99246"/>
                      </a:cubicBezTo>
                      <a:lnTo>
                        <a:pt x="54902" y="99246"/>
                      </a:lnTo>
                      <a:close/>
                    </a:path>
                  </a:pathLst>
                </a:custGeom>
                <a:solidFill>
                  <a:srgbClr val="16C2D4"/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543" name="组合 542">
              <a:extLst>
                <a:ext uri="{FF2B5EF4-FFF2-40B4-BE49-F238E27FC236}">
                  <a16:creationId xmlns:a16="http://schemas.microsoft.com/office/drawing/2014/main" id="{1DF03881-B5B4-4D7C-84C3-BE7EFD1909C6}"/>
                </a:ext>
              </a:extLst>
            </p:cNvPr>
            <p:cNvGrpSpPr/>
            <p:nvPr/>
          </p:nvGrpSpPr>
          <p:grpSpPr>
            <a:xfrm>
              <a:off x="7552690" y="2802599"/>
              <a:ext cx="377981" cy="526056"/>
              <a:chOff x="5526545" y="2519063"/>
              <a:chExt cx="458421" cy="638008"/>
            </a:xfrm>
          </p:grpSpPr>
          <p:sp>
            <p:nvSpPr>
              <p:cNvPr id="544" name="任意多边形: 形状 543">
                <a:extLst>
                  <a:ext uri="{FF2B5EF4-FFF2-40B4-BE49-F238E27FC236}">
                    <a16:creationId xmlns:a16="http://schemas.microsoft.com/office/drawing/2014/main" id="{3C741883-1D7B-4E0F-B781-64142E801813}"/>
                  </a:ext>
                </a:extLst>
              </p:cNvPr>
              <p:cNvSpPr/>
              <p:nvPr/>
            </p:nvSpPr>
            <p:spPr>
              <a:xfrm>
                <a:off x="5845549" y="2519063"/>
                <a:ext cx="139416" cy="122875"/>
              </a:xfrm>
              <a:custGeom>
                <a:avLst/>
                <a:gdLst>
                  <a:gd name="connsiteX0" fmla="*/ 11815 w 139416"/>
                  <a:gd name="connsiteY0" fmla="*/ 0 h 122875"/>
                  <a:gd name="connsiteX1" fmla="*/ 0 w 139416"/>
                  <a:gd name="connsiteY1" fmla="*/ 0 h 122875"/>
                  <a:gd name="connsiteX2" fmla="*/ 0 w 139416"/>
                  <a:gd name="connsiteY2" fmla="*/ 122876 h 122875"/>
                  <a:gd name="connsiteX3" fmla="*/ 139417 w 139416"/>
                  <a:gd name="connsiteY3" fmla="*/ 122876 h 122875"/>
                  <a:gd name="connsiteX4" fmla="*/ 139417 w 139416"/>
                  <a:gd name="connsiteY4" fmla="*/ 122876 h 12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416" h="122875">
                    <a:moveTo>
                      <a:pt x="11815" y="0"/>
                    </a:moveTo>
                    <a:lnTo>
                      <a:pt x="0" y="0"/>
                    </a:lnTo>
                    <a:lnTo>
                      <a:pt x="0" y="122876"/>
                    </a:lnTo>
                    <a:lnTo>
                      <a:pt x="139417" y="122876"/>
                    </a:lnTo>
                    <a:lnTo>
                      <a:pt x="139417" y="122876"/>
                    </a:lnTo>
                    <a:close/>
                  </a:path>
                </a:pathLst>
              </a:custGeom>
              <a:solidFill>
                <a:srgbClr val="90E4FD"/>
              </a:solidFill>
              <a:ln w="6350" cap="flat">
                <a:solidFill>
                  <a:srgbClr val="16C2D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45" name="组合 544">
                <a:extLst>
                  <a:ext uri="{FF2B5EF4-FFF2-40B4-BE49-F238E27FC236}">
                    <a16:creationId xmlns:a16="http://schemas.microsoft.com/office/drawing/2014/main" id="{12FEA0B2-675F-466F-9E7C-0F25FE93F6A5}"/>
                  </a:ext>
                </a:extLst>
              </p:cNvPr>
              <p:cNvGrpSpPr/>
              <p:nvPr/>
            </p:nvGrpSpPr>
            <p:grpSpPr>
              <a:xfrm>
                <a:off x="5526545" y="2519063"/>
                <a:ext cx="458421" cy="638008"/>
                <a:chOff x="5526545" y="2519063"/>
                <a:chExt cx="458421" cy="638008"/>
              </a:xfrm>
            </p:grpSpPr>
            <p:sp>
              <p:nvSpPr>
                <p:cNvPr id="546" name="任意多边形: 形状 545">
                  <a:extLst>
                    <a:ext uri="{FF2B5EF4-FFF2-40B4-BE49-F238E27FC236}">
                      <a16:creationId xmlns:a16="http://schemas.microsoft.com/office/drawing/2014/main" id="{8952A069-0D17-4B7B-9256-9610FAE3BE49}"/>
                    </a:ext>
                  </a:extLst>
                </p:cNvPr>
                <p:cNvSpPr/>
                <p:nvPr/>
              </p:nvSpPr>
              <p:spPr>
                <a:xfrm>
                  <a:off x="5526545" y="2519063"/>
                  <a:ext cx="458421" cy="638008"/>
                </a:xfrm>
                <a:custGeom>
                  <a:avLst/>
                  <a:gdLst>
                    <a:gd name="connsiteX0" fmla="*/ 319005 w 458421"/>
                    <a:gd name="connsiteY0" fmla="*/ 0 h 638008"/>
                    <a:gd name="connsiteX1" fmla="*/ 0 w 458421"/>
                    <a:gd name="connsiteY1" fmla="*/ 0 h 638008"/>
                    <a:gd name="connsiteX2" fmla="*/ 0 w 458421"/>
                    <a:gd name="connsiteY2" fmla="*/ 638009 h 638008"/>
                    <a:gd name="connsiteX3" fmla="*/ 458421 w 458421"/>
                    <a:gd name="connsiteY3" fmla="*/ 638009 h 638008"/>
                    <a:gd name="connsiteX4" fmla="*/ 458421 w 458421"/>
                    <a:gd name="connsiteY4" fmla="*/ 122876 h 638008"/>
                    <a:gd name="connsiteX5" fmla="*/ 319005 w 458421"/>
                    <a:gd name="connsiteY5" fmla="*/ 122876 h 638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8421" h="638008">
                      <a:moveTo>
                        <a:pt x="319005" y="0"/>
                      </a:moveTo>
                      <a:lnTo>
                        <a:pt x="0" y="0"/>
                      </a:lnTo>
                      <a:lnTo>
                        <a:pt x="0" y="638009"/>
                      </a:lnTo>
                      <a:lnTo>
                        <a:pt x="458421" y="638009"/>
                      </a:lnTo>
                      <a:lnTo>
                        <a:pt x="458421" y="122876"/>
                      </a:lnTo>
                      <a:lnTo>
                        <a:pt x="319005" y="122876"/>
                      </a:lnTo>
                      <a:close/>
                    </a:path>
                  </a:pathLst>
                </a:custGeom>
                <a:solidFill>
                  <a:srgbClr val="90E4FD"/>
                </a:solidFill>
                <a:ln w="6350" cap="flat">
                  <a:solidFill>
                    <a:srgbClr val="16C2D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7" name="任意多边形: 形状 546">
                  <a:extLst>
                    <a:ext uri="{FF2B5EF4-FFF2-40B4-BE49-F238E27FC236}">
                      <a16:creationId xmlns:a16="http://schemas.microsoft.com/office/drawing/2014/main" id="{CE9BBD1C-85F7-44F4-A345-E6F20A8E82CF}"/>
                    </a:ext>
                  </a:extLst>
                </p:cNvPr>
                <p:cNvSpPr/>
                <p:nvPr/>
              </p:nvSpPr>
              <p:spPr>
                <a:xfrm>
                  <a:off x="5632575" y="2741185"/>
                  <a:ext cx="246360" cy="193765"/>
                </a:xfrm>
                <a:custGeom>
                  <a:avLst/>
                  <a:gdLst>
                    <a:gd name="connsiteX0" fmla="*/ 19457 w 246360"/>
                    <a:gd name="connsiteY0" fmla="*/ 25993 h 193765"/>
                    <a:gd name="connsiteX1" fmla="*/ 45450 w 246360"/>
                    <a:gd name="connsiteY1" fmla="*/ 51986 h 193765"/>
                    <a:gd name="connsiteX2" fmla="*/ 71443 w 246360"/>
                    <a:gd name="connsiteY2" fmla="*/ 25993 h 193765"/>
                    <a:gd name="connsiteX3" fmla="*/ 45450 w 246360"/>
                    <a:gd name="connsiteY3" fmla="*/ 0 h 193765"/>
                    <a:gd name="connsiteX4" fmla="*/ 19457 w 246360"/>
                    <a:gd name="connsiteY4" fmla="*/ 25993 h 193765"/>
                    <a:gd name="connsiteX5" fmla="*/ 19457 w 246360"/>
                    <a:gd name="connsiteY5" fmla="*/ 25993 h 193765"/>
                    <a:gd name="connsiteX6" fmla="*/ 54902 w 246360"/>
                    <a:gd name="connsiteY6" fmla="*/ 99246 h 193765"/>
                    <a:gd name="connsiteX7" fmla="*/ 118703 w 246360"/>
                    <a:gd name="connsiteY7" fmla="*/ 146506 h 193765"/>
                    <a:gd name="connsiteX8" fmla="*/ 182504 w 246360"/>
                    <a:gd name="connsiteY8" fmla="*/ 66164 h 193765"/>
                    <a:gd name="connsiteX9" fmla="*/ 243941 w 246360"/>
                    <a:gd name="connsiteY9" fmla="*/ 158321 h 193765"/>
                    <a:gd name="connsiteX10" fmla="*/ 203771 w 246360"/>
                    <a:gd name="connsiteY10" fmla="*/ 193766 h 193765"/>
                    <a:gd name="connsiteX11" fmla="*/ 19457 w 246360"/>
                    <a:gd name="connsiteY11" fmla="*/ 191403 h 193765"/>
                    <a:gd name="connsiteX12" fmla="*/ 5279 w 246360"/>
                    <a:gd name="connsiteY12" fmla="*/ 155958 h 193765"/>
                    <a:gd name="connsiteX13" fmla="*/ 54902 w 246360"/>
                    <a:gd name="connsiteY13" fmla="*/ 99246 h 193765"/>
                    <a:gd name="connsiteX14" fmla="*/ 54902 w 246360"/>
                    <a:gd name="connsiteY14" fmla="*/ 99246 h 193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46360" h="193765">
                      <a:moveTo>
                        <a:pt x="19457" y="25993"/>
                      </a:moveTo>
                      <a:cubicBezTo>
                        <a:pt x="19457" y="40171"/>
                        <a:pt x="31272" y="51986"/>
                        <a:pt x="45450" y="51986"/>
                      </a:cubicBezTo>
                      <a:cubicBezTo>
                        <a:pt x="59628" y="51986"/>
                        <a:pt x="71443" y="40171"/>
                        <a:pt x="71443" y="25993"/>
                      </a:cubicBezTo>
                      <a:cubicBezTo>
                        <a:pt x="71443" y="11815"/>
                        <a:pt x="59628" y="0"/>
                        <a:pt x="45450" y="0"/>
                      </a:cubicBezTo>
                      <a:cubicBezTo>
                        <a:pt x="31272" y="0"/>
                        <a:pt x="19457" y="11815"/>
                        <a:pt x="19457" y="25993"/>
                      </a:cubicBezTo>
                      <a:lnTo>
                        <a:pt x="19457" y="25993"/>
                      </a:lnTo>
                      <a:close/>
                      <a:moveTo>
                        <a:pt x="54902" y="99246"/>
                      </a:moveTo>
                      <a:cubicBezTo>
                        <a:pt x="73806" y="99246"/>
                        <a:pt x="92710" y="146506"/>
                        <a:pt x="118703" y="146506"/>
                      </a:cubicBezTo>
                      <a:cubicBezTo>
                        <a:pt x="144696" y="146506"/>
                        <a:pt x="154148" y="66164"/>
                        <a:pt x="182504" y="66164"/>
                      </a:cubicBezTo>
                      <a:cubicBezTo>
                        <a:pt x="213222" y="66164"/>
                        <a:pt x="234490" y="129965"/>
                        <a:pt x="243941" y="158321"/>
                      </a:cubicBezTo>
                      <a:cubicBezTo>
                        <a:pt x="251030" y="186677"/>
                        <a:pt x="243941" y="193766"/>
                        <a:pt x="203771" y="193766"/>
                      </a:cubicBezTo>
                      <a:cubicBezTo>
                        <a:pt x="163600" y="193766"/>
                        <a:pt x="35998" y="191403"/>
                        <a:pt x="19457" y="191403"/>
                      </a:cubicBezTo>
                      <a:cubicBezTo>
                        <a:pt x="2916" y="191403"/>
                        <a:pt x="-6536" y="179588"/>
                        <a:pt x="5279" y="155958"/>
                      </a:cubicBezTo>
                      <a:cubicBezTo>
                        <a:pt x="14731" y="134691"/>
                        <a:pt x="35998" y="99246"/>
                        <a:pt x="54902" y="99246"/>
                      </a:cubicBezTo>
                      <a:lnTo>
                        <a:pt x="54902" y="99246"/>
                      </a:lnTo>
                      <a:close/>
                    </a:path>
                  </a:pathLst>
                </a:custGeom>
                <a:solidFill>
                  <a:srgbClr val="16C2D4"/>
                </a:solidFill>
                <a:ln w="2361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C7961F58-E6BD-4C5C-AF28-781D4C4CCE72}"/>
                </a:ext>
              </a:extLst>
            </p:cNvPr>
            <p:cNvGrpSpPr/>
            <p:nvPr/>
          </p:nvGrpSpPr>
          <p:grpSpPr>
            <a:xfrm>
              <a:off x="6478274" y="2559315"/>
              <a:ext cx="78582" cy="223838"/>
              <a:chOff x="6444068" y="3009517"/>
              <a:chExt cx="78582" cy="223838"/>
            </a:xfrm>
          </p:grpSpPr>
          <p:cxnSp>
            <p:nvCxnSpPr>
              <p:cNvPr id="16" name="直接连接符 15">
                <a:extLst>
                  <a:ext uri="{FF2B5EF4-FFF2-40B4-BE49-F238E27FC236}">
                    <a16:creationId xmlns:a16="http://schemas.microsoft.com/office/drawing/2014/main" id="{EF293B6A-3D21-46F7-92E4-B47FCDCE81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22650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3" name="直接连接符 552">
                <a:extLst>
                  <a:ext uri="{FF2B5EF4-FFF2-40B4-BE49-F238E27FC236}">
                    <a16:creationId xmlns:a16="http://schemas.microsoft.com/office/drawing/2014/main" id="{099DE4D4-6C0B-45FB-A124-36A981CA9A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44068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4" name="组合 553">
              <a:extLst>
                <a:ext uri="{FF2B5EF4-FFF2-40B4-BE49-F238E27FC236}">
                  <a16:creationId xmlns:a16="http://schemas.microsoft.com/office/drawing/2014/main" id="{C3B3777D-4E51-44C3-95B7-BF76442C271A}"/>
                </a:ext>
              </a:extLst>
            </p:cNvPr>
            <p:cNvGrpSpPr/>
            <p:nvPr/>
          </p:nvGrpSpPr>
          <p:grpSpPr>
            <a:xfrm>
              <a:off x="7090332" y="2559315"/>
              <a:ext cx="78582" cy="223838"/>
              <a:chOff x="6444068" y="3009517"/>
              <a:chExt cx="78582" cy="223838"/>
            </a:xfrm>
          </p:grpSpPr>
          <p:cxnSp>
            <p:nvCxnSpPr>
              <p:cNvPr id="555" name="直接连接符 554">
                <a:extLst>
                  <a:ext uri="{FF2B5EF4-FFF2-40B4-BE49-F238E27FC236}">
                    <a16:creationId xmlns:a16="http://schemas.microsoft.com/office/drawing/2014/main" id="{1FCE3285-5300-4638-8F17-D3DC7FC428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22650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6" name="直接连接符 555">
                <a:extLst>
                  <a:ext uri="{FF2B5EF4-FFF2-40B4-BE49-F238E27FC236}">
                    <a16:creationId xmlns:a16="http://schemas.microsoft.com/office/drawing/2014/main" id="{38C514E5-38DB-4A97-B9F6-882CD2774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44068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7" name="组合 556">
              <a:extLst>
                <a:ext uri="{FF2B5EF4-FFF2-40B4-BE49-F238E27FC236}">
                  <a16:creationId xmlns:a16="http://schemas.microsoft.com/office/drawing/2014/main" id="{76F5F41F-904C-41BE-BEE7-3264D8E3B84A}"/>
                </a:ext>
              </a:extLst>
            </p:cNvPr>
            <p:cNvGrpSpPr/>
            <p:nvPr/>
          </p:nvGrpSpPr>
          <p:grpSpPr>
            <a:xfrm>
              <a:off x="7702389" y="2559315"/>
              <a:ext cx="78582" cy="223838"/>
              <a:chOff x="6444068" y="3009517"/>
              <a:chExt cx="78582" cy="223838"/>
            </a:xfrm>
          </p:grpSpPr>
          <p:cxnSp>
            <p:nvCxnSpPr>
              <p:cNvPr id="558" name="直接连接符 557">
                <a:extLst>
                  <a:ext uri="{FF2B5EF4-FFF2-40B4-BE49-F238E27FC236}">
                    <a16:creationId xmlns:a16="http://schemas.microsoft.com/office/drawing/2014/main" id="{4F4FFFC7-58C8-4845-A5B8-66E70266B5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22650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9" name="直接连接符 558">
                <a:extLst>
                  <a:ext uri="{FF2B5EF4-FFF2-40B4-BE49-F238E27FC236}">
                    <a16:creationId xmlns:a16="http://schemas.microsoft.com/office/drawing/2014/main" id="{E6036431-846C-4038-B9C2-912503D489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44068" y="3009517"/>
                <a:ext cx="0" cy="223838"/>
              </a:xfrm>
              <a:prstGeom prst="line">
                <a:avLst/>
              </a:prstGeom>
              <a:ln>
                <a:solidFill>
                  <a:schemeClr val="accent2"/>
                </a:solidFill>
                <a:prstDash val="dash"/>
                <a:headEnd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0" name="直接连接符 559">
              <a:extLst>
                <a:ext uri="{FF2B5EF4-FFF2-40B4-BE49-F238E27FC236}">
                  <a16:creationId xmlns:a16="http://schemas.microsoft.com/office/drawing/2014/main" id="{E8A6997A-803E-452E-9FD7-97A9A9E62BE7}"/>
                </a:ext>
              </a:extLst>
            </p:cNvPr>
            <p:cNvCxnSpPr>
              <a:cxnSpLocks/>
            </p:cNvCxnSpPr>
            <p:nvPr/>
          </p:nvCxnSpPr>
          <p:spPr>
            <a:xfrm>
              <a:off x="6517565" y="1647531"/>
              <a:ext cx="0" cy="223838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  <a:headEnd w="sm" len="sm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直接连接符 560">
              <a:extLst>
                <a:ext uri="{FF2B5EF4-FFF2-40B4-BE49-F238E27FC236}">
                  <a16:creationId xmlns:a16="http://schemas.microsoft.com/office/drawing/2014/main" id="{6077941E-672A-4AD2-9DCC-4C293E97F302}"/>
                </a:ext>
              </a:extLst>
            </p:cNvPr>
            <p:cNvCxnSpPr>
              <a:cxnSpLocks/>
            </p:cNvCxnSpPr>
            <p:nvPr/>
          </p:nvCxnSpPr>
          <p:spPr>
            <a:xfrm>
              <a:off x="7129623" y="1647531"/>
              <a:ext cx="0" cy="223838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  <a:headEnd w="sm" len="sm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2" name="直接连接符 561">
              <a:extLst>
                <a:ext uri="{FF2B5EF4-FFF2-40B4-BE49-F238E27FC236}">
                  <a16:creationId xmlns:a16="http://schemas.microsoft.com/office/drawing/2014/main" id="{77B529FC-864B-43C8-863A-713B2A3D8261}"/>
                </a:ext>
              </a:extLst>
            </p:cNvPr>
            <p:cNvCxnSpPr>
              <a:cxnSpLocks/>
            </p:cNvCxnSpPr>
            <p:nvPr/>
          </p:nvCxnSpPr>
          <p:spPr>
            <a:xfrm>
              <a:off x="7741680" y="1647531"/>
              <a:ext cx="0" cy="223838"/>
            </a:xfrm>
            <a:prstGeom prst="line">
              <a:avLst/>
            </a:prstGeom>
            <a:ln>
              <a:solidFill>
                <a:schemeClr val="accent2"/>
              </a:solidFill>
              <a:prstDash val="dash"/>
              <a:headEnd w="sm" len="sm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5" name="任意多边形: 形状 564">
            <a:extLst>
              <a:ext uri="{FF2B5EF4-FFF2-40B4-BE49-F238E27FC236}">
                <a16:creationId xmlns:a16="http://schemas.microsoft.com/office/drawing/2014/main" id="{242905C3-E509-44B4-AA72-282F680954F2}"/>
              </a:ext>
            </a:extLst>
          </p:cNvPr>
          <p:cNvSpPr/>
          <p:nvPr/>
        </p:nvSpPr>
        <p:spPr>
          <a:xfrm>
            <a:off x="5624895" y="1488741"/>
            <a:ext cx="1619426" cy="373396"/>
          </a:xfrm>
          <a:custGeom>
            <a:avLst/>
            <a:gdLst>
              <a:gd name="connsiteX0" fmla="*/ 809713 w 1619426"/>
              <a:gd name="connsiteY0" fmla="*/ 0 h 373396"/>
              <a:gd name="connsiteX1" fmla="*/ 1521904 w 1619426"/>
              <a:gd name="connsiteY1" fmla="*/ 217543 h 373396"/>
              <a:gd name="connsiteX2" fmla="*/ 1619426 w 1619426"/>
              <a:gd name="connsiteY2" fmla="*/ 290469 h 373396"/>
              <a:gd name="connsiteX3" fmla="*/ 1504044 w 1619426"/>
              <a:gd name="connsiteY3" fmla="*/ 317600 h 373396"/>
              <a:gd name="connsiteX4" fmla="*/ 809713 w 1619426"/>
              <a:gd name="connsiteY4" fmla="*/ 373396 h 373396"/>
              <a:gd name="connsiteX5" fmla="*/ 115383 w 1619426"/>
              <a:gd name="connsiteY5" fmla="*/ 317600 h 373396"/>
              <a:gd name="connsiteX6" fmla="*/ 0 w 1619426"/>
              <a:gd name="connsiteY6" fmla="*/ 290469 h 373396"/>
              <a:gd name="connsiteX7" fmla="*/ 97523 w 1619426"/>
              <a:gd name="connsiteY7" fmla="*/ 217543 h 373396"/>
              <a:gd name="connsiteX8" fmla="*/ 809713 w 1619426"/>
              <a:gd name="connsiteY8" fmla="*/ 0 h 373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9426" h="373396">
                <a:moveTo>
                  <a:pt x="809713" y="0"/>
                </a:moveTo>
                <a:cubicBezTo>
                  <a:pt x="1073525" y="0"/>
                  <a:pt x="1318605" y="80198"/>
                  <a:pt x="1521904" y="217543"/>
                </a:cubicBezTo>
                <a:lnTo>
                  <a:pt x="1619426" y="290469"/>
                </a:lnTo>
                <a:lnTo>
                  <a:pt x="1504044" y="317600"/>
                </a:lnTo>
                <a:cubicBezTo>
                  <a:pt x="1326349" y="352074"/>
                  <a:pt x="1080866" y="373396"/>
                  <a:pt x="809713" y="373396"/>
                </a:cubicBezTo>
                <a:cubicBezTo>
                  <a:pt x="538560" y="373396"/>
                  <a:pt x="293078" y="352074"/>
                  <a:pt x="115383" y="317600"/>
                </a:cubicBezTo>
                <a:lnTo>
                  <a:pt x="0" y="290469"/>
                </a:lnTo>
                <a:lnTo>
                  <a:pt x="97523" y="217543"/>
                </a:lnTo>
                <a:cubicBezTo>
                  <a:pt x="300822" y="80198"/>
                  <a:pt x="545902" y="0"/>
                  <a:pt x="8097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2">
                  <a:alpha val="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AE7952AD-DC19-4986-BF4A-03E2B1BD92C2}"/>
              </a:ext>
            </a:extLst>
          </p:cNvPr>
          <p:cNvCxnSpPr>
            <a:cxnSpLocks/>
            <a:stCxn id="565" idx="7"/>
            <a:endCxn id="494" idx="1"/>
          </p:cNvCxnSpPr>
          <p:nvPr/>
        </p:nvCxnSpPr>
        <p:spPr>
          <a:xfrm flipH="1">
            <a:off x="4454154" y="1706284"/>
            <a:ext cx="1268264" cy="548007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108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66" name="直接连接符 565">
            <a:extLst>
              <a:ext uri="{FF2B5EF4-FFF2-40B4-BE49-F238E27FC236}">
                <a16:creationId xmlns:a16="http://schemas.microsoft.com/office/drawing/2014/main" id="{35AE8990-A2A4-4410-8458-9CDF7F0EF653}"/>
              </a:ext>
            </a:extLst>
          </p:cNvPr>
          <p:cNvCxnSpPr>
            <a:cxnSpLocks/>
            <a:stCxn id="18" idx="3"/>
            <a:endCxn id="502" idx="3"/>
          </p:cNvCxnSpPr>
          <p:nvPr/>
        </p:nvCxnSpPr>
        <p:spPr>
          <a:xfrm flipH="1" flipV="1">
            <a:off x="4815818" y="3270378"/>
            <a:ext cx="718082" cy="392859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108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D3CA6AFF-EE86-43A6-8569-6990B3F08144}"/>
              </a:ext>
            </a:extLst>
          </p:cNvPr>
          <p:cNvSpPr/>
          <p:nvPr/>
        </p:nvSpPr>
        <p:spPr>
          <a:xfrm>
            <a:off x="2167733" y="2675416"/>
            <a:ext cx="338360" cy="315221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7" name="矩形 566">
            <a:extLst>
              <a:ext uri="{FF2B5EF4-FFF2-40B4-BE49-F238E27FC236}">
                <a16:creationId xmlns:a16="http://schemas.microsoft.com/office/drawing/2014/main" id="{4489FDE9-7A14-4034-83B9-25F5DFA28679}"/>
              </a:ext>
            </a:extLst>
          </p:cNvPr>
          <p:cNvSpPr/>
          <p:nvPr/>
        </p:nvSpPr>
        <p:spPr>
          <a:xfrm>
            <a:off x="3252346" y="2745322"/>
            <a:ext cx="338360" cy="315221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8" name="矩形 567">
            <a:extLst>
              <a:ext uri="{FF2B5EF4-FFF2-40B4-BE49-F238E27FC236}">
                <a16:creationId xmlns:a16="http://schemas.microsoft.com/office/drawing/2014/main" id="{9F72AC22-DE68-4964-A808-1A3C8BDCD086}"/>
              </a:ext>
            </a:extLst>
          </p:cNvPr>
          <p:cNvSpPr/>
          <p:nvPr/>
        </p:nvSpPr>
        <p:spPr>
          <a:xfrm>
            <a:off x="4417427" y="2793763"/>
            <a:ext cx="338360" cy="315221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AF895A55-8569-4483-B617-7EFEC7D0E7E2}"/>
              </a:ext>
            </a:extLst>
          </p:cNvPr>
          <p:cNvCxnSpPr/>
          <p:nvPr/>
        </p:nvCxnSpPr>
        <p:spPr>
          <a:xfrm>
            <a:off x="2506093" y="2675416"/>
            <a:ext cx="749330" cy="70165"/>
          </a:xfrm>
          <a:prstGeom prst="line">
            <a:avLst/>
          </a:prstGeom>
          <a:ln w="6350">
            <a:solidFill>
              <a:schemeClr val="accent2"/>
            </a:solidFill>
            <a:prstDash val="dash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直接连接符 568">
            <a:extLst>
              <a:ext uri="{FF2B5EF4-FFF2-40B4-BE49-F238E27FC236}">
                <a16:creationId xmlns:a16="http://schemas.microsoft.com/office/drawing/2014/main" id="{2DBC4F93-7F15-4854-87F5-F4D0F5AC0083}"/>
              </a:ext>
            </a:extLst>
          </p:cNvPr>
          <p:cNvCxnSpPr/>
          <p:nvPr/>
        </p:nvCxnSpPr>
        <p:spPr>
          <a:xfrm>
            <a:off x="2506093" y="2987360"/>
            <a:ext cx="749330" cy="70165"/>
          </a:xfrm>
          <a:prstGeom prst="line">
            <a:avLst/>
          </a:prstGeom>
          <a:ln w="6350">
            <a:solidFill>
              <a:schemeClr val="accent2"/>
            </a:solidFill>
            <a:prstDash val="dash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CBCA4AFD-DFDD-4358-9DB5-CE09D6B65FD0}"/>
              </a:ext>
            </a:extLst>
          </p:cNvPr>
          <p:cNvCxnSpPr/>
          <p:nvPr/>
        </p:nvCxnSpPr>
        <p:spPr>
          <a:xfrm>
            <a:off x="3586027" y="2743352"/>
            <a:ext cx="833827" cy="47473"/>
          </a:xfrm>
          <a:prstGeom prst="line">
            <a:avLst/>
          </a:prstGeom>
          <a:ln w="6350">
            <a:solidFill>
              <a:schemeClr val="accent2"/>
            </a:solidFill>
            <a:prstDash val="dash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1" name="直接连接符 570">
            <a:extLst>
              <a:ext uri="{FF2B5EF4-FFF2-40B4-BE49-F238E27FC236}">
                <a16:creationId xmlns:a16="http://schemas.microsoft.com/office/drawing/2014/main" id="{282D9505-464F-49D1-8D5D-60BA65674068}"/>
              </a:ext>
            </a:extLst>
          </p:cNvPr>
          <p:cNvCxnSpPr/>
          <p:nvPr/>
        </p:nvCxnSpPr>
        <p:spPr>
          <a:xfrm>
            <a:off x="3586027" y="3060059"/>
            <a:ext cx="833827" cy="47473"/>
          </a:xfrm>
          <a:prstGeom prst="line">
            <a:avLst/>
          </a:prstGeom>
          <a:ln w="6350">
            <a:solidFill>
              <a:schemeClr val="accent2"/>
            </a:solidFill>
            <a:prstDash val="dash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BA33A95F-4D30-4167-AF85-CD1C693E955E}"/>
              </a:ext>
            </a:extLst>
          </p:cNvPr>
          <p:cNvGrpSpPr/>
          <p:nvPr/>
        </p:nvGrpSpPr>
        <p:grpSpPr>
          <a:xfrm>
            <a:off x="4842240" y="2104040"/>
            <a:ext cx="472187" cy="1224797"/>
            <a:chOff x="5480161" y="1951640"/>
            <a:chExt cx="472187" cy="1224797"/>
          </a:xfrm>
        </p:grpSpPr>
        <p:grpSp>
          <p:nvGrpSpPr>
            <p:cNvPr id="42" name="组合 41">
              <a:extLst>
                <a:ext uri="{FF2B5EF4-FFF2-40B4-BE49-F238E27FC236}">
                  <a16:creationId xmlns:a16="http://schemas.microsoft.com/office/drawing/2014/main" id="{38646C2B-6D91-4D7F-A1D9-C0F334F07361}"/>
                </a:ext>
              </a:extLst>
            </p:cNvPr>
            <p:cNvGrpSpPr/>
            <p:nvPr/>
          </p:nvGrpSpPr>
          <p:grpSpPr>
            <a:xfrm>
              <a:off x="5480161" y="1951640"/>
              <a:ext cx="472187" cy="658491"/>
              <a:chOff x="5480161" y="1951640"/>
              <a:chExt cx="472187" cy="658491"/>
            </a:xfrm>
          </p:grpSpPr>
          <p:cxnSp>
            <p:nvCxnSpPr>
              <p:cNvPr id="38" name="直接连接符 37">
                <a:extLst>
                  <a:ext uri="{FF2B5EF4-FFF2-40B4-BE49-F238E27FC236}">
                    <a16:creationId xmlns:a16="http://schemas.microsoft.com/office/drawing/2014/main" id="{D5808163-2893-4B92-9131-61DACD2CBC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4348" y="195164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2" name="直接连接符 571">
                <a:extLst>
                  <a:ext uri="{FF2B5EF4-FFF2-40B4-BE49-F238E27FC236}">
                    <a16:creationId xmlns:a16="http://schemas.microsoft.com/office/drawing/2014/main" id="{BBAB784C-779F-4A28-8FEC-8F9FF2C36A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5135" y="204571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3" name="直接连接符 572">
                <a:extLst>
                  <a:ext uri="{FF2B5EF4-FFF2-40B4-BE49-F238E27FC236}">
                    <a16:creationId xmlns:a16="http://schemas.microsoft.com/office/drawing/2014/main" id="{7766EF63-8E19-4A25-88D0-6D77D30298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74626" y="213978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4" name="直接连接符 573">
                <a:extLst>
                  <a:ext uri="{FF2B5EF4-FFF2-40B4-BE49-F238E27FC236}">
                    <a16:creationId xmlns:a16="http://schemas.microsoft.com/office/drawing/2014/main" id="{C1072F44-F7E3-485A-9655-7944476458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43961" y="223385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5" name="直接连接符 574">
                <a:extLst>
                  <a:ext uri="{FF2B5EF4-FFF2-40B4-BE49-F238E27FC236}">
                    <a16:creationId xmlns:a16="http://schemas.microsoft.com/office/drawing/2014/main" id="{5511C1D5-70B0-4E77-8956-E95188D915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15642" y="232792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6" name="直接连接符 575">
                <a:extLst>
                  <a:ext uri="{FF2B5EF4-FFF2-40B4-BE49-F238E27FC236}">
                    <a16:creationId xmlns:a16="http://schemas.microsoft.com/office/drawing/2014/main" id="{A7EA098D-A5F0-48DF-870C-A936222B98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94449" y="242199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8" name="直接连接符 577">
                <a:extLst>
                  <a:ext uri="{FF2B5EF4-FFF2-40B4-BE49-F238E27FC236}">
                    <a16:creationId xmlns:a16="http://schemas.microsoft.com/office/drawing/2014/main" id="{AFA6FC4C-0358-46EF-B5DC-78FB7C27D4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82542" y="2516060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9" name="直接连接符 578">
                <a:extLst>
                  <a:ext uri="{FF2B5EF4-FFF2-40B4-BE49-F238E27FC236}">
                    <a16:creationId xmlns:a16="http://schemas.microsoft.com/office/drawing/2014/main" id="{EDC0039A-5DE2-4AE4-B1B0-8EF53D89D3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80161" y="2610131"/>
                <a:ext cx="288000" cy="0"/>
              </a:xfrm>
              <a:prstGeom prst="line">
                <a:avLst/>
              </a:prstGeom>
              <a:ln w="3175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prstDash val="dash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3" name="直接连接符 582">
              <a:extLst>
                <a:ext uri="{FF2B5EF4-FFF2-40B4-BE49-F238E27FC236}">
                  <a16:creationId xmlns:a16="http://schemas.microsoft.com/office/drawing/2014/main" id="{C80B9B14-C901-44ED-8A4E-1C777CE8D1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15135" y="317643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直接连接符 583">
              <a:extLst>
                <a:ext uri="{FF2B5EF4-FFF2-40B4-BE49-F238E27FC236}">
                  <a16:creationId xmlns:a16="http://schemas.microsoft.com/office/drawing/2014/main" id="{D807F638-BCD7-48CE-A093-CFD4C3115E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74626" y="308236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直接连接符 584">
              <a:extLst>
                <a:ext uri="{FF2B5EF4-FFF2-40B4-BE49-F238E27FC236}">
                  <a16:creationId xmlns:a16="http://schemas.microsoft.com/office/drawing/2014/main" id="{2B448576-D63A-4753-A619-6AEBC9DC4A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43961" y="298829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直接连接符 585">
              <a:extLst>
                <a:ext uri="{FF2B5EF4-FFF2-40B4-BE49-F238E27FC236}">
                  <a16:creationId xmlns:a16="http://schemas.microsoft.com/office/drawing/2014/main" id="{01048666-535E-4159-975F-4F70D82771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5642" y="289422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直接连接符 586">
              <a:extLst>
                <a:ext uri="{FF2B5EF4-FFF2-40B4-BE49-F238E27FC236}">
                  <a16:creationId xmlns:a16="http://schemas.microsoft.com/office/drawing/2014/main" id="{3CCCE164-A451-4D6C-9984-1B927BA3B9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94449" y="280015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直接连接符 587">
              <a:extLst>
                <a:ext uri="{FF2B5EF4-FFF2-40B4-BE49-F238E27FC236}">
                  <a16:creationId xmlns:a16="http://schemas.microsoft.com/office/drawing/2014/main" id="{96B4D17D-A665-47E0-A7DB-C24A1F3B32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2542" y="2706087"/>
              <a:ext cx="288000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dash"/>
              <a:tailEnd type="stealth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1" name="箭头: 右 630">
            <a:extLst>
              <a:ext uri="{FF2B5EF4-FFF2-40B4-BE49-F238E27FC236}">
                <a16:creationId xmlns:a16="http://schemas.microsoft.com/office/drawing/2014/main" id="{AF3696BB-C8C6-4297-8EB5-64A8C8530ECB}"/>
              </a:ext>
            </a:extLst>
          </p:cNvPr>
          <p:cNvSpPr/>
          <p:nvPr/>
        </p:nvSpPr>
        <p:spPr>
          <a:xfrm>
            <a:off x="7741443" y="2662239"/>
            <a:ext cx="576000" cy="200586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3" name="箭头: 右 632">
            <a:extLst>
              <a:ext uri="{FF2B5EF4-FFF2-40B4-BE49-F238E27FC236}">
                <a16:creationId xmlns:a16="http://schemas.microsoft.com/office/drawing/2014/main" id="{26FF4E79-4100-4B33-BA3B-4578E2647C33}"/>
              </a:ext>
            </a:extLst>
          </p:cNvPr>
          <p:cNvSpPr/>
          <p:nvPr/>
        </p:nvSpPr>
        <p:spPr>
          <a:xfrm>
            <a:off x="1326355" y="2662239"/>
            <a:ext cx="588169" cy="200586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2" name="箭头: 右 641">
            <a:extLst>
              <a:ext uri="{FF2B5EF4-FFF2-40B4-BE49-F238E27FC236}">
                <a16:creationId xmlns:a16="http://schemas.microsoft.com/office/drawing/2014/main" id="{E53327DA-F174-4B76-8063-129AF5B8A2F7}"/>
              </a:ext>
            </a:extLst>
          </p:cNvPr>
          <p:cNvSpPr/>
          <p:nvPr/>
        </p:nvSpPr>
        <p:spPr>
          <a:xfrm>
            <a:off x="7741443" y="1962659"/>
            <a:ext cx="576000" cy="200586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3" name="箭头: 右 642">
            <a:extLst>
              <a:ext uri="{FF2B5EF4-FFF2-40B4-BE49-F238E27FC236}">
                <a16:creationId xmlns:a16="http://schemas.microsoft.com/office/drawing/2014/main" id="{A7C7A56A-2300-4B20-8B8E-720CAFC894E1}"/>
              </a:ext>
            </a:extLst>
          </p:cNvPr>
          <p:cNvSpPr/>
          <p:nvPr/>
        </p:nvSpPr>
        <p:spPr>
          <a:xfrm>
            <a:off x="7741443" y="3361818"/>
            <a:ext cx="576000" cy="200586"/>
          </a:xfrm>
          <a:prstGeom prst="rightArrow">
            <a:avLst/>
          </a:prstGeom>
          <a:gradFill>
            <a:gsLst>
              <a:gs pos="2000">
                <a:schemeClr val="accent2">
                  <a:alpha val="0"/>
                </a:scheme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 w="6350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矩形 152">
            <a:extLst>
              <a:ext uri="{FF2B5EF4-FFF2-40B4-BE49-F238E27FC236}">
                <a16:creationId xmlns:a16="http://schemas.microsoft.com/office/drawing/2014/main" id="{83BFEEB2-EE9E-4FFD-A41A-EE5C36EE929A}"/>
              </a:ext>
            </a:extLst>
          </p:cNvPr>
          <p:cNvSpPr/>
          <p:nvPr/>
        </p:nvSpPr>
        <p:spPr>
          <a:xfrm>
            <a:off x="0" y="5168899"/>
            <a:ext cx="12192000" cy="1113039"/>
          </a:xfrm>
          <a:prstGeom prst="rect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文本框 153">
            <a:extLst>
              <a:ext uri="{FF2B5EF4-FFF2-40B4-BE49-F238E27FC236}">
                <a16:creationId xmlns:a16="http://schemas.microsoft.com/office/drawing/2014/main" id="{6D12E769-1FE8-4EC8-A060-8E0AAE815005}"/>
              </a:ext>
            </a:extLst>
          </p:cNvPr>
          <p:cNvSpPr txBox="1"/>
          <p:nvPr/>
        </p:nvSpPr>
        <p:spPr>
          <a:xfrm>
            <a:off x="3721152" y="4747759"/>
            <a:ext cx="4950073" cy="37959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>
            <a:defPPr>
              <a:defRPr lang="zh-CN"/>
            </a:defPPr>
            <a:lvl1pPr algn="ctr" defTabSz="825500" hangingPunct="0">
              <a:defRPr>
                <a:effectLst/>
                <a:latin typeface="+mj-ea"/>
                <a:ea typeface="+mj-ea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模拟人类视觉，利用神经网络基于示例训练模式</a:t>
            </a:r>
            <a:endParaRPr lang="en-US" altLang="zh-CN" dirty="0">
              <a:sym typeface="Helvetica Neue Medium"/>
            </a:endParaRPr>
          </a:p>
        </p:txBody>
      </p:sp>
      <p:sp>
        <p:nvSpPr>
          <p:cNvPr id="155" name="文本框 154">
            <a:extLst>
              <a:ext uri="{FF2B5EF4-FFF2-40B4-BE49-F238E27FC236}">
                <a16:creationId xmlns:a16="http://schemas.microsoft.com/office/drawing/2014/main" id="{555E2300-CD75-45E9-80FB-52DDDD8B64AE}"/>
              </a:ext>
            </a:extLst>
          </p:cNvPr>
          <p:cNvSpPr txBox="1"/>
          <p:nvPr/>
        </p:nvSpPr>
        <p:spPr>
          <a:xfrm>
            <a:off x="2625506" y="5726272"/>
            <a:ext cx="1949252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>
            <a:defPPr>
              <a:defRPr lang="zh-CN"/>
            </a:defPPr>
            <a:lvl1pPr marR="0" algn="ctr" defTabSz="8255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 sz="1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端对端处理，更高效</a:t>
            </a:r>
          </a:p>
        </p:txBody>
      </p:sp>
      <p:sp>
        <p:nvSpPr>
          <p:cNvPr id="156" name="文本框 155">
            <a:extLst>
              <a:ext uri="{FF2B5EF4-FFF2-40B4-BE49-F238E27FC236}">
                <a16:creationId xmlns:a16="http://schemas.microsoft.com/office/drawing/2014/main" id="{47ED77BE-F991-440C-A2DB-E5EDE3EBDBA3}"/>
              </a:ext>
            </a:extLst>
          </p:cNvPr>
          <p:cNvSpPr txBox="1"/>
          <p:nvPr/>
        </p:nvSpPr>
        <p:spPr>
          <a:xfrm>
            <a:off x="5121374" y="5726272"/>
            <a:ext cx="1949252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>
            <a:defPPr>
              <a:defRPr lang="zh-CN"/>
            </a:defPPr>
            <a:lvl1pPr marR="0" algn="ctr" defTabSz="8255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 sz="1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无耦合步骤相互影响</a:t>
            </a:r>
          </a:p>
        </p:txBody>
      </p:sp>
      <p:sp>
        <p:nvSpPr>
          <p:cNvPr id="157" name="文本框 156">
            <a:extLst>
              <a:ext uri="{FF2B5EF4-FFF2-40B4-BE49-F238E27FC236}">
                <a16:creationId xmlns:a16="http://schemas.microsoft.com/office/drawing/2014/main" id="{6A9D881F-108C-4DE5-96EF-B2A19078A60D}"/>
              </a:ext>
            </a:extLst>
          </p:cNvPr>
          <p:cNvSpPr txBox="1"/>
          <p:nvPr/>
        </p:nvSpPr>
        <p:spPr>
          <a:xfrm>
            <a:off x="7498260" y="5726272"/>
            <a:ext cx="1949252" cy="3488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>
            <a:defPPr>
              <a:defRPr lang="zh-CN"/>
            </a:defPPr>
            <a:lvl1pPr marR="0" algn="ctr" defTabSz="8255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 sz="1600" b="1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</a:defRPr>
            </a:lvl1pPr>
          </a:lstStyle>
          <a:p>
            <a:r>
              <a:rPr lang="zh-CN" altLang="en-US" dirty="0">
                <a:sym typeface="Helvetica Neue Medium"/>
              </a:rPr>
              <a:t>可处理各种复杂场景</a:t>
            </a:r>
          </a:p>
        </p:txBody>
      </p:sp>
      <p:sp>
        <p:nvSpPr>
          <p:cNvPr id="158" name="文本框 157">
            <a:extLst>
              <a:ext uri="{FF2B5EF4-FFF2-40B4-BE49-F238E27FC236}">
                <a16:creationId xmlns:a16="http://schemas.microsoft.com/office/drawing/2014/main" id="{E171EF0E-F660-45D7-992B-E2150E22AD07}"/>
              </a:ext>
            </a:extLst>
          </p:cNvPr>
          <p:cNvSpPr txBox="1"/>
          <p:nvPr/>
        </p:nvSpPr>
        <p:spPr>
          <a:xfrm>
            <a:off x="3470254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1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0D4AE596-ECA9-4C61-96D5-608F423C4F4B}"/>
              </a:ext>
            </a:extLst>
          </p:cNvPr>
          <p:cNvSpPr txBox="1"/>
          <p:nvPr/>
        </p:nvSpPr>
        <p:spPr>
          <a:xfrm>
            <a:off x="5863530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2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160" name="文本框 159">
            <a:extLst>
              <a:ext uri="{FF2B5EF4-FFF2-40B4-BE49-F238E27FC236}">
                <a16:creationId xmlns:a16="http://schemas.microsoft.com/office/drawing/2014/main" id="{0C9A54D5-B8BA-49B9-A034-5D0AED6BBDE8}"/>
              </a:ext>
            </a:extLst>
          </p:cNvPr>
          <p:cNvSpPr txBox="1"/>
          <p:nvPr/>
        </p:nvSpPr>
        <p:spPr>
          <a:xfrm>
            <a:off x="8209936" y="5265580"/>
            <a:ext cx="373500" cy="65659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R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lang="en-US" altLang="zh-CN" sz="3600" i="1" dirty="0">
                <a:gradFill flip="none" rotWithShape="1">
                  <a:gsLst>
                    <a:gs pos="2000">
                      <a:schemeClr val="accent2">
                        <a:alpha val="30000"/>
                      </a:schemeClr>
                    </a:gs>
                    <a:gs pos="75000">
                      <a:schemeClr val="accent2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rPr>
              <a:t>3</a:t>
            </a:r>
            <a:endParaRPr kumimoji="0" lang="zh-CN" altLang="en-US" sz="3600" i="1" u="none" strike="noStrike" cap="none" spc="0" normalizeH="0" baseline="0" dirty="0">
              <a:ln>
                <a:noFill/>
              </a:ln>
              <a:gradFill flip="none" rotWithShape="1">
                <a:gsLst>
                  <a:gs pos="2000">
                    <a:schemeClr val="accent2">
                      <a:alpha val="30000"/>
                    </a:schemeClr>
                  </a:gs>
                  <a:gs pos="75000">
                    <a:schemeClr val="accent2">
                      <a:alpha val="0"/>
                    </a:schemeClr>
                  </a:gs>
                </a:gsLst>
                <a:lin ang="5400000" scaled="1"/>
                <a:tileRect/>
              </a:gradFill>
              <a:effectLst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 Neue Medium"/>
              <a:sym typeface="Helvetica Neue Medium"/>
            </a:endParaRPr>
          </a:p>
        </p:txBody>
      </p:sp>
      <p:sp>
        <p:nvSpPr>
          <p:cNvPr id="161" name="椭圆 160">
            <a:extLst>
              <a:ext uri="{FF2B5EF4-FFF2-40B4-BE49-F238E27FC236}">
                <a16:creationId xmlns:a16="http://schemas.microsoft.com/office/drawing/2014/main" id="{3A0E2E80-B05D-4D49-87CB-9385E33CFD5D}"/>
              </a:ext>
            </a:extLst>
          </p:cNvPr>
          <p:cNvSpPr/>
          <p:nvPr/>
        </p:nvSpPr>
        <p:spPr>
          <a:xfrm>
            <a:off x="5217466" y="1545393"/>
            <a:ext cx="2434284" cy="2434276"/>
          </a:xfrm>
          <a:prstGeom prst="ellipse">
            <a:avLst/>
          </a:prstGeom>
          <a:noFill/>
          <a:ln w="6350">
            <a:solidFill>
              <a:schemeClr val="accent2">
                <a:alpha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016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>
            <a:extLst>
              <a:ext uri="{FF2B5EF4-FFF2-40B4-BE49-F238E27FC236}">
                <a16:creationId xmlns:a16="http://schemas.microsoft.com/office/drawing/2014/main" id="{F2D6E85A-E9DB-4A2A-9BD8-C582CF7BA49C}"/>
              </a:ext>
            </a:extLst>
          </p:cNvPr>
          <p:cNvSpPr/>
          <p:nvPr/>
        </p:nvSpPr>
        <p:spPr>
          <a:xfrm>
            <a:off x="330200" y="1485601"/>
            <a:ext cx="5004000" cy="4457067"/>
          </a:xfrm>
          <a:prstGeom prst="roundRect">
            <a:avLst>
              <a:gd name="adj" fmla="val 263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图表 20">
            <a:extLst>
              <a:ext uri="{FF2B5EF4-FFF2-40B4-BE49-F238E27FC236}">
                <a16:creationId xmlns:a16="http://schemas.microsoft.com/office/drawing/2014/main" id="{52D23C72-7A27-4995-A0F6-850D53AB22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305392"/>
              </p:ext>
            </p:extLst>
          </p:nvPr>
        </p:nvGraphicFramePr>
        <p:xfrm>
          <a:off x="628797" y="1935793"/>
          <a:ext cx="4434314" cy="3684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矩形 20">
            <a:extLst>
              <a:ext uri="{FF2B5EF4-FFF2-40B4-BE49-F238E27FC236}">
                <a16:creationId xmlns:a16="http://schemas.microsoft.com/office/drawing/2014/main" id="{F65530A6-3DB3-4814-8735-01C703EBB7C1}"/>
              </a:ext>
            </a:extLst>
          </p:cNvPr>
          <p:cNvSpPr/>
          <p:nvPr/>
        </p:nvSpPr>
        <p:spPr>
          <a:xfrm>
            <a:off x="1646520" y="5514433"/>
            <a:ext cx="2398868" cy="1692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测试数据集：收集的广告花体字符</a:t>
            </a:r>
            <a:endParaRPr lang="en-US" altLang="zh-CN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AFDFDE3E-FED3-4EBE-8348-23E9E82E6AFC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000" b="1" dirty="0">
                <a:solidFill>
                  <a:schemeClr val="tx1"/>
                </a:solidFill>
              </a:rPr>
              <a:t>思谋 </a:t>
            </a:r>
            <a:r>
              <a:rPr lang="en-US" altLang="zh-CN" sz="3000" b="1" dirty="0">
                <a:solidFill>
                  <a:schemeClr val="tx1"/>
                </a:solidFill>
              </a:rPr>
              <a:t>AI OCR </a:t>
            </a:r>
            <a:r>
              <a:rPr lang="zh-CN" altLang="en-US" sz="3000" b="1" dirty="0">
                <a:solidFill>
                  <a:schemeClr val="tx1"/>
                </a:solidFill>
              </a:rPr>
              <a:t>性能优势</a:t>
            </a:r>
            <a:r>
              <a:rPr lang="en-US" altLang="zh-CN" sz="3000" b="1" dirty="0">
                <a:solidFill>
                  <a:schemeClr val="accent2"/>
                </a:solidFill>
              </a:rPr>
              <a:t>+</a:t>
            </a:r>
            <a:endParaRPr lang="zh-CN" altLang="en-US" sz="3000" b="1" dirty="0">
              <a:solidFill>
                <a:schemeClr val="accent2"/>
              </a:solidFill>
            </a:endParaRP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4E494BCA-B4E0-42F8-8F94-C7440815DEE6}"/>
              </a:ext>
            </a:extLst>
          </p:cNvPr>
          <p:cNvSpPr txBox="1"/>
          <p:nvPr/>
        </p:nvSpPr>
        <p:spPr>
          <a:xfrm>
            <a:off x="2148608" y="1746112"/>
            <a:ext cx="1394692" cy="276999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FFFFFF"/>
          </a:lnRef>
          <a:fillRef idx="0">
            <a:srgbClr val="FFFFFF"/>
          </a:fillRef>
          <a:effectRef idx="0">
            <a:srgbClr val="FFFFFF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effectLst/>
                <a:uFillTx/>
                <a:latin typeface="+mj-ea"/>
                <a:ea typeface="+mj-ea"/>
                <a:cs typeface="Helvetica Neue Medium"/>
                <a:sym typeface="Helvetica Neue Medium"/>
              </a:rPr>
              <a:t>准确性对比</a:t>
            </a:r>
            <a:endParaRPr kumimoji="0" lang="en-US" sz="2000" b="1" i="0" u="none" strike="noStrike" cap="none" spc="0" normalizeH="0" baseline="0" dirty="0">
              <a:ln>
                <a:noFill/>
              </a:ln>
              <a:effectLst/>
              <a:uFillTx/>
              <a:latin typeface="+mj-ea"/>
              <a:ea typeface="+mj-ea"/>
              <a:cs typeface="Helvetica Neue Medium"/>
              <a:sym typeface="Helvetica Neue Medium"/>
            </a:endParaRP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C202D400-CB24-420C-8BAF-DBBB7ACA164B}"/>
              </a:ext>
            </a:extLst>
          </p:cNvPr>
          <p:cNvSpPr/>
          <p:nvPr/>
        </p:nvSpPr>
        <p:spPr>
          <a:xfrm>
            <a:off x="5611335" y="1858684"/>
            <a:ext cx="3060000" cy="1800000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B09FE6DC-294E-4B6B-8DD1-B9A16BFC7C8F}"/>
              </a:ext>
            </a:extLst>
          </p:cNvPr>
          <p:cNvSpPr/>
          <p:nvPr/>
        </p:nvSpPr>
        <p:spPr>
          <a:xfrm>
            <a:off x="8788045" y="1858684"/>
            <a:ext cx="3060000" cy="1800000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0E3AE83C-34B1-43F7-BD6A-B55C566A232C}"/>
              </a:ext>
            </a:extLst>
          </p:cNvPr>
          <p:cNvSpPr/>
          <p:nvPr/>
        </p:nvSpPr>
        <p:spPr>
          <a:xfrm>
            <a:off x="5611335" y="3769584"/>
            <a:ext cx="3060000" cy="1800000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7BF03AEB-B92C-4793-B364-7317A75EF5D5}"/>
              </a:ext>
            </a:extLst>
          </p:cNvPr>
          <p:cNvSpPr/>
          <p:nvPr/>
        </p:nvSpPr>
        <p:spPr>
          <a:xfrm>
            <a:off x="8788045" y="3769584"/>
            <a:ext cx="3060000" cy="1800000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19">
            <a:extLst>
              <a:ext uri="{FF2B5EF4-FFF2-40B4-BE49-F238E27FC236}">
                <a16:creationId xmlns:a16="http://schemas.microsoft.com/office/drawing/2014/main" id="{5913B45B-6902-4099-9AE2-5EA11043863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611335" y="2534550"/>
            <a:ext cx="3060000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anchor="t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准确率、召回率和综合效果上，我们的算法都达到了业界领先的水准，通用算法准确性达</a:t>
            </a:r>
            <a:r>
              <a:rPr lang="en-US" altLang="zh-CN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98%</a:t>
            </a:r>
            <a:endParaRPr lang="zh-CN" altLang="en-US" sz="1200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9" name="矩形 19">
            <a:extLst>
              <a:ext uri="{FF2B5EF4-FFF2-40B4-BE49-F238E27FC236}">
                <a16:creationId xmlns:a16="http://schemas.microsoft.com/office/drawing/2014/main" id="{3569C86E-25A9-4B9B-8090-39D67481F6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88046" y="2534550"/>
            <a:ext cx="3060000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anchor="t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我们专门为边缘设备（</a:t>
            </a:r>
            <a:r>
              <a:rPr lang="en-US" altLang="zh-CN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dge</a:t>
            </a: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端的运行做了优化加速，在终端可实现实时处理</a:t>
            </a:r>
          </a:p>
        </p:txBody>
      </p:sp>
      <p:sp>
        <p:nvSpPr>
          <p:cNvPr id="11" name="矩形 19">
            <a:extLst>
              <a:ext uri="{FF2B5EF4-FFF2-40B4-BE49-F238E27FC236}">
                <a16:creationId xmlns:a16="http://schemas.microsoft.com/office/drawing/2014/main" id="{D072F858-98BC-456F-8978-5DE4683306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11335" y="4440253"/>
            <a:ext cx="3060000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anchor="t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经过编译优化、量化压缩、剪枝算法。模型对硬件配置要求不高，可支持各种设备，包括终端手机等</a:t>
            </a:r>
            <a:endParaRPr lang="en-US" altLang="zh-CN" sz="1200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F3420ED3-96BF-488D-98B0-3E17998ED3C8}"/>
              </a:ext>
            </a:extLst>
          </p:cNvPr>
          <p:cNvGrpSpPr/>
          <p:nvPr/>
        </p:nvGrpSpPr>
        <p:grpSpPr>
          <a:xfrm>
            <a:off x="6920711" y="2063771"/>
            <a:ext cx="433461" cy="433461"/>
            <a:chOff x="6920711" y="2025671"/>
            <a:chExt cx="433461" cy="433461"/>
          </a:xfrm>
        </p:grpSpPr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A59601A6-DCFA-4815-BCCA-7DDBD275447B}"/>
                </a:ext>
              </a:extLst>
            </p:cNvPr>
            <p:cNvSpPr/>
            <p:nvPr/>
          </p:nvSpPr>
          <p:spPr>
            <a:xfrm>
              <a:off x="6920711" y="2025671"/>
              <a:ext cx="433461" cy="433461"/>
            </a:xfrm>
            <a:custGeom>
              <a:avLst/>
              <a:gdLst>
                <a:gd name="connsiteX0" fmla="*/ 210241 w 433461"/>
                <a:gd name="connsiteY0" fmla="*/ 384145 h 433461"/>
                <a:gd name="connsiteX1" fmla="*/ 225814 w 433461"/>
                <a:gd name="connsiteY1" fmla="*/ 384145 h 433461"/>
                <a:gd name="connsiteX2" fmla="*/ 225814 w 433461"/>
                <a:gd name="connsiteY2" fmla="*/ 433461 h 433461"/>
                <a:gd name="connsiteX3" fmla="*/ 210241 w 433461"/>
                <a:gd name="connsiteY3" fmla="*/ 433461 h 433461"/>
                <a:gd name="connsiteX4" fmla="*/ 321851 w 433461"/>
                <a:gd name="connsiteY4" fmla="*/ 233601 h 433461"/>
                <a:gd name="connsiteX5" fmla="*/ 345211 w 433461"/>
                <a:gd name="connsiteY5" fmla="*/ 233601 h 433461"/>
                <a:gd name="connsiteX6" fmla="*/ 233601 w 433461"/>
                <a:gd name="connsiteY6" fmla="*/ 345211 h 433461"/>
                <a:gd name="connsiteX7" fmla="*/ 233601 w 433461"/>
                <a:gd name="connsiteY7" fmla="*/ 321851 h 433461"/>
                <a:gd name="connsiteX8" fmla="*/ 321851 w 433461"/>
                <a:gd name="connsiteY8" fmla="*/ 233601 h 433461"/>
                <a:gd name="connsiteX9" fmla="*/ 90845 w 433461"/>
                <a:gd name="connsiteY9" fmla="*/ 233601 h 433461"/>
                <a:gd name="connsiteX10" fmla="*/ 114205 w 433461"/>
                <a:gd name="connsiteY10" fmla="*/ 233601 h 433461"/>
                <a:gd name="connsiteX11" fmla="*/ 202454 w 433461"/>
                <a:gd name="connsiteY11" fmla="*/ 321851 h 433461"/>
                <a:gd name="connsiteX12" fmla="*/ 202454 w 433461"/>
                <a:gd name="connsiteY12" fmla="*/ 345211 h 433461"/>
                <a:gd name="connsiteX13" fmla="*/ 90845 w 433461"/>
                <a:gd name="connsiteY13" fmla="*/ 233601 h 433461"/>
                <a:gd name="connsiteX14" fmla="*/ 384145 w 433461"/>
                <a:gd name="connsiteY14" fmla="*/ 210241 h 433461"/>
                <a:gd name="connsiteX15" fmla="*/ 433461 w 433461"/>
                <a:gd name="connsiteY15" fmla="*/ 210241 h 433461"/>
                <a:gd name="connsiteX16" fmla="*/ 433461 w 433461"/>
                <a:gd name="connsiteY16" fmla="*/ 225814 h 433461"/>
                <a:gd name="connsiteX17" fmla="*/ 384145 w 433461"/>
                <a:gd name="connsiteY17" fmla="*/ 225814 h 433461"/>
                <a:gd name="connsiteX18" fmla="*/ 0 w 433461"/>
                <a:gd name="connsiteY18" fmla="*/ 210241 h 433461"/>
                <a:gd name="connsiteX19" fmla="*/ 49316 w 433461"/>
                <a:gd name="connsiteY19" fmla="*/ 210241 h 433461"/>
                <a:gd name="connsiteX20" fmla="*/ 49316 w 433461"/>
                <a:gd name="connsiteY20" fmla="*/ 225814 h 433461"/>
                <a:gd name="connsiteX21" fmla="*/ 0 w 433461"/>
                <a:gd name="connsiteY21" fmla="*/ 225814 h 433461"/>
                <a:gd name="connsiteX22" fmla="*/ 233601 w 433461"/>
                <a:gd name="connsiteY22" fmla="*/ 88249 h 433461"/>
                <a:gd name="connsiteX23" fmla="*/ 347807 w 433461"/>
                <a:gd name="connsiteY23" fmla="*/ 202454 h 433461"/>
                <a:gd name="connsiteX24" fmla="*/ 324446 w 433461"/>
                <a:gd name="connsiteY24" fmla="*/ 202454 h 433461"/>
                <a:gd name="connsiteX25" fmla="*/ 233601 w 433461"/>
                <a:gd name="connsiteY25" fmla="*/ 111609 h 433461"/>
                <a:gd name="connsiteX26" fmla="*/ 202454 w 433461"/>
                <a:gd name="connsiteY26" fmla="*/ 88249 h 433461"/>
                <a:gd name="connsiteX27" fmla="*/ 202454 w 433461"/>
                <a:gd name="connsiteY27" fmla="*/ 111609 h 433461"/>
                <a:gd name="connsiteX28" fmla="*/ 114205 w 433461"/>
                <a:gd name="connsiteY28" fmla="*/ 202454 h 433461"/>
                <a:gd name="connsiteX29" fmla="*/ 88249 w 433461"/>
                <a:gd name="connsiteY29" fmla="*/ 202454 h 433461"/>
                <a:gd name="connsiteX30" fmla="*/ 202454 w 433461"/>
                <a:gd name="connsiteY30" fmla="*/ 88249 h 433461"/>
                <a:gd name="connsiteX31" fmla="*/ 210241 w 433461"/>
                <a:gd name="connsiteY31" fmla="*/ 0 h 433461"/>
                <a:gd name="connsiteX32" fmla="*/ 225814 w 433461"/>
                <a:gd name="connsiteY32" fmla="*/ 0 h 433461"/>
                <a:gd name="connsiteX33" fmla="*/ 225814 w 433461"/>
                <a:gd name="connsiteY33" fmla="*/ 49316 h 433461"/>
                <a:gd name="connsiteX34" fmla="*/ 210241 w 433461"/>
                <a:gd name="connsiteY34" fmla="*/ 49316 h 43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33461" h="433461">
                  <a:moveTo>
                    <a:pt x="210241" y="384145"/>
                  </a:moveTo>
                  <a:lnTo>
                    <a:pt x="225814" y="384145"/>
                  </a:lnTo>
                  <a:lnTo>
                    <a:pt x="225814" y="433461"/>
                  </a:lnTo>
                  <a:lnTo>
                    <a:pt x="210241" y="433461"/>
                  </a:lnTo>
                  <a:close/>
                  <a:moveTo>
                    <a:pt x="321851" y="233601"/>
                  </a:moveTo>
                  <a:lnTo>
                    <a:pt x="345211" y="233601"/>
                  </a:lnTo>
                  <a:cubicBezTo>
                    <a:pt x="337424" y="290704"/>
                    <a:pt x="290704" y="337424"/>
                    <a:pt x="233601" y="345211"/>
                  </a:cubicBezTo>
                  <a:lnTo>
                    <a:pt x="233601" y="321851"/>
                  </a:lnTo>
                  <a:cubicBezTo>
                    <a:pt x="280322" y="314064"/>
                    <a:pt x="316660" y="280322"/>
                    <a:pt x="321851" y="233601"/>
                  </a:cubicBezTo>
                  <a:close/>
                  <a:moveTo>
                    <a:pt x="90845" y="233601"/>
                  </a:moveTo>
                  <a:lnTo>
                    <a:pt x="114205" y="233601"/>
                  </a:lnTo>
                  <a:cubicBezTo>
                    <a:pt x="121991" y="280322"/>
                    <a:pt x="158330" y="314064"/>
                    <a:pt x="202454" y="321851"/>
                  </a:cubicBezTo>
                  <a:lnTo>
                    <a:pt x="202454" y="345211"/>
                  </a:lnTo>
                  <a:cubicBezTo>
                    <a:pt x="142756" y="337424"/>
                    <a:pt x="96036" y="290704"/>
                    <a:pt x="90845" y="233601"/>
                  </a:cubicBezTo>
                  <a:close/>
                  <a:moveTo>
                    <a:pt x="384145" y="210241"/>
                  </a:moveTo>
                  <a:lnTo>
                    <a:pt x="433461" y="210241"/>
                  </a:lnTo>
                  <a:lnTo>
                    <a:pt x="433461" y="225814"/>
                  </a:lnTo>
                  <a:lnTo>
                    <a:pt x="384145" y="225814"/>
                  </a:lnTo>
                  <a:close/>
                  <a:moveTo>
                    <a:pt x="0" y="210241"/>
                  </a:moveTo>
                  <a:lnTo>
                    <a:pt x="49316" y="210241"/>
                  </a:lnTo>
                  <a:lnTo>
                    <a:pt x="49316" y="225814"/>
                  </a:lnTo>
                  <a:lnTo>
                    <a:pt x="0" y="225814"/>
                  </a:lnTo>
                  <a:close/>
                  <a:moveTo>
                    <a:pt x="233601" y="88249"/>
                  </a:moveTo>
                  <a:cubicBezTo>
                    <a:pt x="293300" y="96036"/>
                    <a:pt x="340020" y="142756"/>
                    <a:pt x="347807" y="202454"/>
                  </a:cubicBezTo>
                  <a:lnTo>
                    <a:pt x="324446" y="202454"/>
                  </a:lnTo>
                  <a:cubicBezTo>
                    <a:pt x="316660" y="155734"/>
                    <a:pt x="280322" y="119396"/>
                    <a:pt x="233601" y="111609"/>
                  </a:cubicBezTo>
                  <a:close/>
                  <a:moveTo>
                    <a:pt x="202454" y="88249"/>
                  </a:moveTo>
                  <a:lnTo>
                    <a:pt x="202454" y="111609"/>
                  </a:lnTo>
                  <a:cubicBezTo>
                    <a:pt x="155734" y="119396"/>
                    <a:pt x="119396" y="155734"/>
                    <a:pt x="114205" y="202454"/>
                  </a:cubicBezTo>
                  <a:lnTo>
                    <a:pt x="88249" y="202454"/>
                  </a:lnTo>
                  <a:cubicBezTo>
                    <a:pt x="96036" y="142756"/>
                    <a:pt x="142756" y="96036"/>
                    <a:pt x="202454" y="88249"/>
                  </a:cubicBezTo>
                  <a:close/>
                  <a:moveTo>
                    <a:pt x="210241" y="0"/>
                  </a:moveTo>
                  <a:lnTo>
                    <a:pt x="225814" y="0"/>
                  </a:lnTo>
                  <a:lnTo>
                    <a:pt x="225814" y="49316"/>
                  </a:lnTo>
                  <a:lnTo>
                    <a:pt x="210241" y="49316"/>
                  </a:lnTo>
                  <a:close/>
                </a:path>
              </a:pathLst>
            </a:custGeom>
            <a:solidFill>
              <a:schemeClr val="accent1"/>
            </a:solidFill>
            <a:ln w="257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4EFAC12-CB49-4280-9A03-D09E48F7171B}"/>
                </a:ext>
              </a:extLst>
            </p:cNvPr>
            <p:cNvSpPr/>
            <p:nvPr/>
          </p:nvSpPr>
          <p:spPr>
            <a:xfrm>
              <a:off x="7092019" y="2194383"/>
              <a:ext cx="93440" cy="93440"/>
            </a:xfrm>
            <a:custGeom>
              <a:avLst/>
              <a:gdLst>
                <a:gd name="connsiteX0" fmla="*/ 93441 w 93440"/>
                <a:gd name="connsiteY0" fmla="*/ 46720 h 93440"/>
                <a:gd name="connsiteX1" fmla="*/ 46720 w 93440"/>
                <a:gd name="connsiteY1" fmla="*/ 93441 h 93440"/>
                <a:gd name="connsiteX2" fmla="*/ 0 w 93440"/>
                <a:gd name="connsiteY2" fmla="*/ 46720 h 93440"/>
                <a:gd name="connsiteX3" fmla="*/ 46720 w 93440"/>
                <a:gd name="connsiteY3" fmla="*/ 0 h 93440"/>
                <a:gd name="connsiteX4" fmla="*/ 93441 w 93440"/>
                <a:gd name="connsiteY4" fmla="*/ 46720 h 9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440" h="93440">
                  <a:moveTo>
                    <a:pt x="93441" y="46720"/>
                  </a:moveTo>
                  <a:cubicBezTo>
                    <a:pt x="93441" y="72523"/>
                    <a:pt x="72523" y="93441"/>
                    <a:pt x="46720" y="93441"/>
                  </a:cubicBezTo>
                  <a:cubicBezTo>
                    <a:pt x="20917" y="93441"/>
                    <a:pt x="0" y="72523"/>
                    <a:pt x="0" y="46720"/>
                  </a:cubicBezTo>
                  <a:cubicBezTo>
                    <a:pt x="0" y="20917"/>
                    <a:pt x="20917" y="0"/>
                    <a:pt x="46720" y="0"/>
                  </a:cubicBezTo>
                  <a:cubicBezTo>
                    <a:pt x="72523" y="0"/>
                    <a:pt x="93441" y="20917"/>
                    <a:pt x="93441" y="46720"/>
                  </a:cubicBezTo>
                  <a:close/>
                </a:path>
              </a:pathLst>
            </a:custGeom>
            <a:solidFill>
              <a:schemeClr val="accent2"/>
            </a:solidFill>
            <a:ln w="257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CB539279-B494-489A-BA15-C112A92D3801}"/>
              </a:ext>
            </a:extLst>
          </p:cNvPr>
          <p:cNvGrpSpPr/>
          <p:nvPr/>
        </p:nvGrpSpPr>
        <p:grpSpPr>
          <a:xfrm>
            <a:off x="10159637" y="2088765"/>
            <a:ext cx="309505" cy="307677"/>
            <a:chOff x="10159637" y="2050665"/>
            <a:chExt cx="309505" cy="307677"/>
          </a:xfrm>
        </p:grpSpPr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18FE96A2-801A-4BFD-8BD0-5576E73B1BD9}"/>
                </a:ext>
              </a:extLst>
            </p:cNvPr>
            <p:cNvSpPr/>
            <p:nvPr/>
          </p:nvSpPr>
          <p:spPr>
            <a:xfrm>
              <a:off x="10161425" y="2050665"/>
              <a:ext cx="307717" cy="307677"/>
            </a:xfrm>
            <a:custGeom>
              <a:avLst/>
              <a:gdLst>
                <a:gd name="connsiteX0" fmla="*/ 293096 w 307717"/>
                <a:gd name="connsiteY0" fmla="*/ 207758 h 307677"/>
                <a:gd name="connsiteX1" fmla="*/ 261414 w 307717"/>
                <a:gd name="connsiteY1" fmla="*/ 154143 h 307677"/>
                <a:gd name="connsiteX2" fmla="*/ 283347 w 307717"/>
                <a:gd name="connsiteY2" fmla="*/ 117587 h 307677"/>
                <a:gd name="connsiteX3" fmla="*/ 278473 w 307717"/>
                <a:gd name="connsiteY3" fmla="*/ 105402 h 307677"/>
                <a:gd name="connsiteX4" fmla="*/ 271162 w 307717"/>
                <a:gd name="connsiteY4" fmla="*/ 105402 h 307677"/>
                <a:gd name="connsiteX5" fmla="*/ 266288 w 307717"/>
                <a:gd name="connsiteY5" fmla="*/ 110276 h 307677"/>
                <a:gd name="connsiteX6" fmla="*/ 249229 w 307717"/>
                <a:gd name="connsiteY6" fmla="*/ 139521 h 307677"/>
                <a:gd name="connsiteX7" fmla="*/ 210236 w 307717"/>
                <a:gd name="connsiteY7" fmla="*/ 95654 h 307677"/>
                <a:gd name="connsiteX8" fmla="*/ 168805 w 307717"/>
                <a:gd name="connsiteY8" fmla="*/ 56661 h 307677"/>
                <a:gd name="connsiteX9" fmla="*/ 215110 w 307717"/>
                <a:gd name="connsiteY9" fmla="*/ 29854 h 307677"/>
                <a:gd name="connsiteX10" fmla="*/ 280910 w 307717"/>
                <a:gd name="connsiteY10" fmla="*/ 24980 h 307677"/>
                <a:gd name="connsiteX11" fmla="*/ 288221 w 307717"/>
                <a:gd name="connsiteY11" fmla="*/ 44476 h 307677"/>
                <a:gd name="connsiteX12" fmla="*/ 297970 w 307717"/>
                <a:gd name="connsiteY12" fmla="*/ 54224 h 307677"/>
                <a:gd name="connsiteX13" fmla="*/ 305281 w 307717"/>
                <a:gd name="connsiteY13" fmla="*/ 51787 h 307677"/>
                <a:gd name="connsiteX14" fmla="*/ 307718 w 307717"/>
                <a:gd name="connsiteY14" fmla="*/ 44476 h 307677"/>
                <a:gd name="connsiteX15" fmla="*/ 295533 w 307717"/>
                <a:gd name="connsiteY15" fmla="*/ 12794 h 307677"/>
                <a:gd name="connsiteX16" fmla="*/ 207798 w 307717"/>
                <a:gd name="connsiteY16" fmla="*/ 12794 h 307677"/>
                <a:gd name="connsiteX17" fmla="*/ 151746 w 307717"/>
                <a:gd name="connsiteY17" fmla="*/ 44476 h 307677"/>
                <a:gd name="connsiteX18" fmla="*/ 46952 w 307717"/>
                <a:gd name="connsiteY18" fmla="*/ 609 h 307677"/>
                <a:gd name="connsiteX19" fmla="*/ 46952 w 307717"/>
                <a:gd name="connsiteY19" fmla="*/ 609 h 307677"/>
                <a:gd name="connsiteX20" fmla="*/ 37204 w 307717"/>
                <a:gd name="connsiteY20" fmla="*/ 10357 h 307677"/>
                <a:gd name="connsiteX21" fmla="*/ 46952 w 307717"/>
                <a:gd name="connsiteY21" fmla="*/ 20106 h 307677"/>
                <a:gd name="connsiteX22" fmla="*/ 134687 w 307717"/>
                <a:gd name="connsiteY22" fmla="*/ 56661 h 307677"/>
                <a:gd name="connsiteX23" fmla="*/ 90820 w 307717"/>
                <a:gd name="connsiteY23" fmla="*/ 95654 h 307677"/>
                <a:gd name="connsiteX24" fmla="*/ 54264 w 307717"/>
                <a:gd name="connsiteY24" fmla="*/ 139521 h 307677"/>
                <a:gd name="connsiteX25" fmla="*/ 17708 w 307717"/>
                <a:gd name="connsiteY25" fmla="*/ 59098 h 307677"/>
                <a:gd name="connsiteX26" fmla="*/ 7959 w 307717"/>
                <a:gd name="connsiteY26" fmla="*/ 51787 h 307677"/>
                <a:gd name="connsiteX27" fmla="*/ 648 w 307717"/>
                <a:gd name="connsiteY27" fmla="*/ 61535 h 307677"/>
                <a:gd name="connsiteX28" fmla="*/ 44515 w 307717"/>
                <a:gd name="connsiteY28" fmla="*/ 154143 h 307677"/>
                <a:gd name="connsiteX29" fmla="*/ 12834 w 307717"/>
                <a:gd name="connsiteY29" fmla="*/ 207758 h 307677"/>
                <a:gd name="connsiteX30" fmla="*/ 12834 w 307717"/>
                <a:gd name="connsiteY30" fmla="*/ 295492 h 307677"/>
                <a:gd name="connsiteX31" fmla="*/ 46952 w 307717"/>
                <a:gd name="connsiteY31" fmla="*/ 307677 h 307677"/>
                <a:gd name="connsiteX32" fmla="*/ 98131 w 307717"/>
                <a:gd name="connsiteY32" fmla="*/ 295492 h 307677"/>
                <a:gd name="connsiteX33" fmla="*/ 210236 w 307717"/>
                <a:gd name="connsiteY33" fmla="*/ 215069 h 307677"/>
                <a:gd name="connsiteX34" fmla="*/ 249229 w 307717"/>
                <a:gd name="connsiteY34" fmla="*/ 171203 h 307677"/>
                <a:gd name="connsiteX35" fmla="*/ 278473 w 307717"/>
                <a:gd name="connsiteY35" fmla="*/ 283307 h 307677"/>
                <a:gd name="connsiteX36" fmla="*/ 212673 w 307717"/>
                <a:gd name="connsiteY36" fmla="*/ 278433 h 307677"/>
                <a:gd name="connsiteX37" fmla="*/ 205361 w 307717"/>
                <a:gd name="connsiteY37" fmla="*/ 278433 h 307677"/>
                <a:gd name="connsiteX38" fmla="*/ 200487 w 307717"/>
                <a:gd name="connsiteY38" fmla="*/ 283307 h 307677"/>
                <a:gd name="connsiteX39" fmla="*/ 205361 w 307717"/>
                <a:gd name="connsiteY39" fmla="*/ 295492 h 307677"/>
                <a:gd name="connsiteX40" fmla="*/ 258977 w 307717"/>
                <a:gd name="connsiteY40" fmla="*/ 307677 h 307677"/>
                <a:gd name="connsiteX41" fmla="*/ 293096 w 307717"/>
                <a:gd name="connsiteY41" fmla="*/ 295492 h 307677"/>
                <a:gd name="connsiteX42" fmla="*/ 293096 w 307717"/>
                <a:gd name="connsiteY42" fmla="*/ 207758 h 307677"/>
                <a:gd name="connsiteX43" fmla="*/ 25019 w 307717"/>
                <a:gd name="connsiteY43" fmla="*/ 283307 h 307677"/>
                <a:gd name="connsiteX44" fmla="*/ 29893 w 307717"/>
                <a:gd name="connsiteY44" fmla="*/ 217506 h 307677"/>
                <a:gd name="connsiteX45" fmla="*/ 54264 w 307717"/>
                <a:gd name="connsiteY45" fmla="*/ 171203 h 307677"/>
                <a:gd name="connsiteX46" fmla="*/ 93257 w 307717"/>
                <a:gd name="connsiteY46" fmla="*/ 215069 h 307677"/>
                <a:gd name="connsiteX47" fmla="*/ 137124 w 307717"/>
                <a:gd name="connsiteY47" fmla="*/ 254062 h 307677"/>
                <a:gd name="connsiteX48" fmla="*/ 25019 w 307717"/>
                <a:gd name="connsiteY48" fmla="*/ 283307 h 307677"/>
                <a:gd name="connsiteX49" fmla="*/ 198050 w 307717"/>
                <a:gd name="connsiteY49" fmla="*/ 200447 h 307677"/>
                <a:gd name="connsiteX50" fmla="*/ 151746 w 307717"/>
                <a:gd name="connsiteY50" fmla="*/ 241877 h 307677"/>
                <a:gd name="connsiteX51" fmla="*/ 105442 w 307717"/>
                <a:gd name="connsiteY51" fmla="*/ 202884 h 307677"/>
                <a:gd name="connsiteX52" fmla="*/ 66449 w 307717"/>
                <a:gd name="connsiteY52" fmla="*/ 154143 h 307677"/>
                <a:gd name="connsiteX53" fmla="*/ 105442 w 307717"/>
                <a:gd name="connsiteY53" fmla="*/ 107839 h 307677"/>
                <a:gd name="connsiteX54" fmla="*/ 151746 w 307717"/>
                <a:gd name="connsiteY54" fmla="*/ 68847 h 307677"/>
                <a:gd name="connsiteX55" fmla="*/ 198050 w 307717"/>
                <a:gd name="connsiteY55" fmla="*/ 107839 h 307677"/>
                <a:gd name="connsiteX56" fmla="*/ 237043 w 307717"/>
                <a:gd name="connsiteY56" fmla="*/ 154143 h 307677"/>
                <a:gd name="connsiteX57" fmla="*/ 198050 w 307717"/>
                <a:gd name="connsiteY57" fmla="*/ 200447 h 30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7717" h="307677">
                  <a:moveTo>
                    <a:pt x="293096" y="207758"/>
                  </a:moveTo>
                  <a:cubicBezTo>
                    <a:pt x="285784" y="190699"/>
                    <a:pt x="276036" y="171203"/>
                    <a:pt x="261414" y="154143"/>
                  </a:cubicBezTo>
                  <a:cubicBezTo>
                    <a:pt x="271162" y="141958"/>
                    <a:pt x="278473" y="129773"/>
                    <a:pt x="283347" y="117587"/>
                  </a:cubicBezTo>
                  <a:cubicBezTo>
                    <a:pt x="285784" y="112713"/>
                    <a:pt x="283347" y="107839"/>
                    <a:pt x="278473" y="105402"/>
                  </a:cubicBezTo>
                  <a:cubicBezTo>
                    <a:pt x="276036" y="105402"/>
                    <a:pt x="273599" y="102965"/>
                    <a:pt x="271162" y="105402"/>
                  </a:cubicBezTo>
                  <a:cubicBezTo>
                    <a:pt x="268725" y="107839"/>
                    <a:pt x="266288" y="107839"/>
                    <a:pt x="266288" y="110276"/>
                  </a:cubicBezTo>
                  <a:cubicBezTo>
                    <a:pt x="261414" y="120025"/>
                    <a:pt x="254103" y="129773"/>
                    <a:pt x="249229" y="139521"/>
                  </a:cubicBezTo>
                  <a:cubicBezTo>
                    <a:pt x="237043" y="124899"/>
                    <a:pt x="224858" y="110276"/>
                    <a:pt x="210236" y="95654"/>
                  </a:cubicBezTo>
                  <a:cubicBezTo>
                    <a:pt x="198050" y="81032"/>
                    <a:pt x="183428" y="68847"/>
                    <a:pt x="168805" y="56661"/>
                  </a:cubicBezTo>
                  <a:cubicBezTo>
                    <a:pt x="183428" y="46913"/>
                    <a:pt x="200487" y="37165"/>
                    <a:pt x="215110" y="29854"/>
                  </a:cubicBezTo>
                  <a:cubicBezTo>
                    <a:pt x="246791" y="15232"/>
                    <a:pt x="271162" y="15232"/>
                    <a:pt x="280910" y="24980"/>
                  </a:cubicBezTo>
                  <a:cubicBezTo>
                    <a:pt x="285784" y="29854"/>
                    <a:pt x="288221" y="37165"/>
                    <a:pt x="288221" y="44476"/>
                  </a:cubicBezTo>
                  <a:cubicBezTo>
                    <a:pt x="288221" y="49350"/>
                    <a:pt x="293096" y="54224"/>
                    <a:pt x="297970" y="54224"/>
                  </a:cubicBezTo>
                  <a:cubicBezTo>
                    <a:pt x="300407" y="54224"/>
                    <a:pt x="302844" y="54224"/>
                    <a:pt x="305281" y="51787"/>
                  </a:cubicBezTo>
                  <a:cubicBezTo>
                    <a:pt x="307718" y="49350"/>
                    <a:pt x="307718" y="46913"/>
                    <a:pt x="307718" y="44476"/>
                  </a:cubicBezTo>
                  <a:cubicBezTo>
                    <a:pt x="307718" y="29854"/>
                    <a:pt x="302844" y="20106"/>
                    <a:pt x="295533" y="12794"/>
                  </a:cubicBezTo>
                  <a:cubicBezTo>
                    <a:pt x="278473" y="-4265"/>
                    <a:pt x="246791" y="-4265"/>
                    <a:pt x="207798" y="12794"/>
                  </a:cubicBezTo>
                  <a:cubicBezTo>
                    <a:pt x="188302" y="20106"/>
                    <a:pt x="171243" y="32291"/>
                    <a:pt x="151746" y="44476"/>
                  </a:cubicBezTo>
                  <a:cubicBezTo>
                    <a:pt x="112753" y="17669"/>
                    <a:pt x="76197" y="609"/>
                    <a:pt x="46952" y="609"/>
                  </a:cubicBezTo>
                  <a:lnTo>
                    <a:pt x="46952" y="609"/>
                  </a:lnTo>
                  <a:cubicBezTo>
                    <a:pt x="42078" y="609"/>
                    <a:pt x="37204" y="5483"/>
                    <a:pt x="37204" y="10357"/>
                  </a:cubicBezTo>
                  <a:cubicBezTo>
                    <a:pt x="37204" y="15232"/>
                    <a:pt x="42078" y="20106"/>
                    <a:pt x="46952" y="20106"/>
                  </a:cubicBezTo>
                  <a:cubicBezTo>
                    <a:pt x="71323" y="20106"/>
                    <a:pt x="103005" y="34728"/>
                    <a:pt x="134687" y="56661"/>
                  </a:cubicBezTo>
                  <a:cubicBezTo>
                    <a:pt x="120064" y="68847"/>
                    <a:pt x="105442" y="81032"/>
                    <a:pt x="90820" y="95654"/>
                  </a:cubicBezTo>
                  <a:cubicBezTo>
                    <a:pt x="78634" y="110276"/>
                    <a:pt x="66449" y="124899"/>
                    <a:pt x="54264" y="139521"/>
                  </a:cubicBezTo>
                  <a:cubicBezTo>
                    <a:pt x="34767" y="110276"/>
                    <a:pt x="22582" y="81032"/>
                    <a:pt x="17708" y="59098"/>
                  </a:cubicBezTo>
                  <a:cubicBezTo>
                    <a:pt x="17708" y="54224"/>
                    <a:pt x="12834" y="49350"/>
                    <a:pt x="7959" y="51787"/>
                  </a:cubicBezTo>
                  <a:cubicBezTo>
                    <a:pt x="3085" y="51787"/>
                    <a:pt x="-1789" y="56661"/>
                    <a:pt x="648" y="61535"/>
                  </a:cubicBezTo>
                  <a:cubicBezTo>
                    <a:pt x="5522" y="88343"/>
                    <a:pt x="20145" y="120025"/>
                    <a:pt x="44515" y="154143"/>
                  </a:cubicBezTo>
                  <a:cubicBezTo>
                    <a:pt x="32330" y="173640"/>
                    <a:pt x="20145" y="190699"/>
                    <a:pt x="12834" y="207758"/>
                  </a:cubicBezTo>
                  <a:cubicBezTo>
                    <a:pt x="-4226" y="246751"/>
                    <a:pt x="-4226" y="278433"/>
                    <a:pt x="12834" y="295492"/>
                  </a:cubicBezTo>
                  <a:cubicBezTo>
                    <a:pt x="20145" y="302803"/>
                    <a:pt x="32330" y="307677"/>
                    <a:pt x="46952" y="307677"/>
                  </a:cubicBezTo>
                  <a:cubicBezTo>
                    <a:pt x="61575" y="307677"/>
                    <a:pt x="78634" y="302803"/>
                    <a:pt x="98131" y="295492"/>
                  </a:cubicBezTo>
                  <a:cubicBezTo>
                    <a:pt x="134687" y="278433"/>
                    <a:pt x="173680" y="251625"/>
                    <a:pt x="210236" y="215069"/>
                  </a:cubicBezTo>
                  <a:cubicBezTo>
                    <a:pt x="224858" y="200447"/>
                    <a:pt x="239480" y="185825"/>
                    <a:pt x="249229" y="171203"/>
                  </a:cubicBezTo>
                  <a:cubicBezTo>
                    <a:pt x="283347" y="222380"/>
                    <a:pt x="295533" y="266247"/>
                    <a:pt x="278473" y="283307"/>
                  </a:cubicBezTo>
                  <a:cubicBezTo>
                    <a:pt x="268725" y="295492"/>
                    <a:pt x="244354" y="293055"/>
                    <a:pt x="212673" y="278433"/>
                  </a:cubicBezTo>
                  <a:cubicBezTo>
                    <a:pt x="210236" y="278433"/>
                    <a:pt x="207798" y="278433"/>
                    <a:pt x="205361" y="278433"/>
                  </a:cubicBezTo>
                  <a:cubicBezTo>
                    <a:pt x="202924" y="278433"/>
                    <a:pt x="200487" y="280870"/>
                    <a:pt x="200487" y="283307"/>
                  </a:cubicBezTo>
                  <a:cubicBezTo>
                    <a:pt x="198050" y="288181"/>
                    <a:pt x="200487" y="293055"/>
                    <a:pt x="205361" y="295492"/>
                  </a:cubicBezTo>
                  <a:cubicBezTo>
                    <a:pt x="224858" y="305240"/>
                    <a:pt x="241917" y="307677"/>
                    <a:pt x="258977" y="307677"/>
                  </a:cubicBezTo>
                  <a:cubicBezTo>
                    <a:pt x="273599" y="307677"/>
                    <a:pt x="285784" y="302803"/>
                    <a:pt x="293096" y="295492"/>
                  </a:cubicBezTo>
                  <a:cubicBezTo>
                    <a:pt x="310155" y="278433"/>
                    <a:pt x="310155" y="246751"/>
                    <a:pt x="293096" y="207758"/>
                  </a:cubicBezTo>
                  <a:close/>
                  <a:moveTo>
                    <a:pt x="25019" y="283307"/>
                  </a:moveTo>
                  <a:cubicBezTo>
                    <a:pt x="15271" y="273558"/>
                    <a:pt x="15271" y="249188"/>
                    <a:pt x="29893" y="217506"/>
                  </a:cubicBezTo>
                  <a:cubicBezTo>
                    <a:pt x="34767" y="202884"/>
                    <a:pt x="44515" y="185825"/>
                    <a:pt x="54264" y="171203"/>
                  </a:cubicBezTo>
                  <a:cubicBezTo>
                    <a:pt x="66449" y="185825"/>
                    <a:pt x="78634" y="200447"/>
                    <a:pt x="93257" y="215069"/>
                  </a:cubicBezTo>
                  <a:cubicBezTo>
                    <a:pt x="107879" y="229692"/>
                    <a:pt x="122501" y="241877"/>
                    <a:pt x="137124" y="254062"/>
                  </a:cubicBezTo>
                  <a:cubicBezTo>
                    <a:pt x="83508" y="288181"/>
                    <a:pt x="39641" y="297929"/>
                    <a:pt x="25019" y="283307"/>
                  </a:cubicBezTo>
                  <a:close/>
                  <a:moveTo>
                    <a:pt x="198050" y="200447"/>
                  </a:moveTo>
                  <a:cubicBezTo>
                    <a:pt x="183428" y="215069"/>
                    <a:pt x="166368" y="229692"/>
                    <a:pt x="151746" y="241877"/>
                  </a:cubicBezTo>
                  <a:cubicBezTo>
                    <a:pt x="137124" y="229692"/>
                    <a:pt x="120064" y="217506"/>
                    <a:pt x="105442" y="202884"/>
                  </a:cubicBezTo>
                  <a:cubicBezTo>
                    <a:pt x="90820" y="185825"/>
                    <a:pt x="78634" y="171203"/>
                    <a:pt x="66449" y="154143"/>
                  </a:cubicBezTo>
                  <a:cubicBezTo>
                    <a:pt x="78634" y="139521"/>
                    <a:pt x="90820" y="122462"/>
                    <a:pt x="105442" y="107839"/>
                  </a:cubicBezTo>
                  <a:cubicBezTo>
                    <a:pt x="120064" y="93217"/>
                    <a:pt x="134687" y="78595"/>
                    <a:pt x="151746" y="68847"/>
                  </a:cubicBezTo>
                  <a:cubicBezTo>
                    <a:pt x="166368" y="81032"/>
                    <a:pt x="183428" y="93217"/>
                    <a:pt x="198050" y="107839"/>
                  </a:cubicBezTo>
                  <a:cubicBezTo>
                    <a:pt x="212673" y="122462"/>
                    <a:pt x="227295" y="139521"/>
                    <a:pt x="237043" y="154143"/>
                  </a:cubicBezTo>
                  <a:cubicBezTo>
                    <a:pt x="227295" y="171203"/>
                    <a:pt x="212673" y="185825"/>
                    <a:pt x="198050" y="200447"/>
                  </a:cubicBezTo>
                  <a:close/>
                </a:path>
              </a:pathLst>
            </a:custGeom>
            <a:solidFill>
              <a:schemeClr val="accent1"/>
            </a:solidFill>
            <a:ln w="241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F67543E-D3A7-4AD1-A3C7-F6906D0F50D9}"/>
                </a:ext>
              </a:extLst>
            </p:cNvPr>
            <p:cNvSpPr/>
            <p:nvPr/>
          </p:nvSpPr>
          <p:spPr>
            <a:xfrm>
              <a:off x="10159637" y="2058586"/>
              <a:ext cx="304633" cy="277822"/>
            </a:xfrm>
            <a:custGeom>
              <a:avLst/>
              <a:gdLst>
                <a:gd name="connsiteX0" fmla="*/ 182779 w 304633"/>
                <a:gd name="connsiteY0" fmla="*/ 251015 h 277822"/>
                <a:gd name="connsiteX1" fmla="*/ 192528 w 304633"/>
                <a:gd name="connsiteY1" fmla="*/ 255889 h 277822"/>
                <a:gd name="connsiteX2" fmla="*/ 194965 w 304633"/>
                <a:gd name="connsiteY2" fmla="*/ 263200 h 277822"/>
                <a:gd name="connsiteX3" fmla="*/ 190091 w 304633"/>
                <a:gd name="connsiteY3" fmla="*/ 272948 h 277822"/>
                <a:gd name="connsiteX4" fmla="*/ 180342 w 304633"/>
                <a:gd name="connsiteY4" fmla="*/ 277822 h 277822"/>
                <a:gd name="connsiteX5" fmla="*/ 168157 w 304633"/>
                <a:gd name="connsiteY5" fmla="*/ 265637 h 277822"/>
                <a:gd name="connsiteX6" fmla="*/ 173031 w 304633"/>
                <a:gd name="connsiteY6" fmla="*/ 255889 h 277822"/>
                <a:gd name="connsiteX7" fmla="*/ 182779 w 304633"/>
                <a:gd name="connsiteY7" fmla="*/ 251015 h 277822"/>
                <a:gd name="connsiteX8" fmla="*/ 155971 w 304633"/>
                <a:gd name="connsiteY8" fmla="*/ 107230 h 277822"/>
                <a:gd name="connsiteX9" fmla="*/ 194964 w 304633"/>
                <a:gd name="connsiteY9" fmla="*/ 146223 h 277822"/>
                <a:gd name="connsiteX10" fmla="*/ 155971 w 304633"/>
                <a:gd name="connsiteY10" fmla="*/ 185215 h 277822"/>
                <a:gd name="connsiteX11" fmla="*/ 116978 w 304633"/>
                <a:gd name="connsiteY11" fmla="*/ 146223 h 277822"/>
                <a:gd name="connsiteX12" fmla="*/ 155971 w 304633"/>
                <a:gd name="connsiteY12" fmla="*/ 107230 h 277822"/>
                <a:gd name="connsiteX13" fmla="*/ 292447 w 304633"/>
                <a:gd name="connsiteY13" fmla="*/ 60926 h 277822"/>
                <a:gd name="connsiteX14" fmla="*/ 304633 w 304633"/>
                <a:gd name="connsiteY14" fmla="*/ 73111 h 277822"/>
                <a:gd name="connsiteX15" fmla="*/ 299759 w 304633"/>
                <a:gd name="connsiteY15" fmla="*/ 82859 h 277822"/>
                <a:gd name="connsiteX16" fmla="*/ 290010 w 304633"/>
                <a:gd name="connsiteY16" fmla="*/ 87734 h 277822"/>
                <a:gd name="connsiteX17" fmla="*/ 280262 w 304633"/>
                <a:gd name="connsiteY17" fmla="*/ 82859 h 277822"/>
                <a:gd name="connsiteX18" fmla="*/ 277825 w 304633"/>
                <a:gd name="connsiteY18" fmla="*/ 75548 h 277822"/>
                <a:gd name="connsiteX19" fmla="*/ 282699 w 304633"/>
                <a:gd name="connsiteY19" fmla="*/ 65800 h 277822"/>
                <a:gd name="connsiteX20" fmla="*/ 292447 w 304633"/>
                <a:gd name="connsiteY20" fmla="*/ 60926 h 277822"/>
                <a:gd name="connsiteX21" fmla="*/ 14622 w 304633"/>
                <a:gd name="connsiteY21" fmla="*/ 0 h 277822"/>
                <a:gd name="connsiteX22" fmla="*/ 24371 w 304633"/>
                <a:gd name="connsiteY22" fmla="*/ 14622 h 277822"/>
                <a:gd name="connsiteX23" fmla="*/ 21934 w 304633"/>
                <a:gd name="connsiteY23" fmla="*/ 24370 h 277822"/>
                <a:gd name="connsiteX24" fmla="*/ 12185 w 304633"/>
                <a:gd name="connsiteY24" fmla="*/ 29245 h 277822"/>
                <a:gd name="connsiteX25" fmla="*/ 0 w 304633"/>
                <a:gd name="connsiteY25" fmla="*/ 14622 h 277822"/>
                <a:gd name="connsiteX26" fmla="*/ 4874 w 304633"/>
                <a:gd name="connsiteY26" fmla="*/ 4874 h 277822"/>
                <a:gd name="connsiteX27" fmla="*/ 14622 w 304633"/>
                <a:gd name="connsiteY27" fmla="*/ 0 h 27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4633" h="277822">
                  <a:moveTo>
                    <a:pt x="182779" y="251015"/>
                  </a:moveTo>
                  <a:cubicBezTo>
                    <a:pt x="185216" y="251015"/>
                    <a:pt x="190091" y="253452"/>
                    <a:pt x="192528" y="255889"/>
                  </a:cubicBezTo>
                  <a:cubicBezTo>
                    <a:pt x="192528" y="258326"/>
                    <a:pt x="194965" y="260763"/>
                    <a:pt x="194965" y="263200"/>
                  </a:cubicBezTo>
                  <a:cubicBezTo>
                    <a:pt x="194965" y="265637"/>
                    <a:pt x="192528" y="270511"/>
                    <a:pt x="190091" y="272948"/>
                  </a:cubicBezTo>
                  <a:cubicBezTo>
                    <a:pt x="187653" y="275385"/>
                    <a:pt x="185216" y="277822"/>
                    <a:pt x="180342" y="277822"/>
                  </a:cubicBezTo>
                  <a:cubicBezTo>
                    <a:pt x="173031" y="277822"/>
                    <a:pt x="168157" y="272948"/>
                    <a:pt x="168157" y="265637"/>
                  </a:cubicBezTo>
                  <a:cubicBezTo>
                    <a:pt x="168157" y="263200"/>
                    <a:pt x="170594" y="258326"/>
                    <a:pt x="173031" y="255889"/>
                  </a:cubicBezTo>
                  <a:cubicBezTo>
                    <a:pt x="175468" y="253452"/>
                    <a:pt x="177905" y="251015"/>
                    <a:pt x="182779" y="251015"/>
                  </a:cubicBezTo>
                  <a:close/>
                  <a:moveTo>
                    <a:pt x="155971" y="107230"/>
                  </a:moveTo>
                  <a:cubicBezTo>
                    <a:pt x="177506" y="107230"/>
                    <a:pt x="194964" y="124688"/>
                    <a:pt x="194964" y="146223"/>
                  </a:cubicBezTo>
                  <a:cubicBezTo>
                    <a:pt x="194964" y="167758"/>
                    <a:pt x="177506" y="185215"/>
                    <a:pt x="155971" y="185215"/>
                  </a:cubicBezTo>
                  <a:cubicBezTo>
                    <a:pt x="134436" y="185215"/>
                    <a:pt x="116978" y="167758"/>
                    <a:pt x="116978" y="146223"/>
                  </a:cubicBezTo>
                  <a:cubicBezTo>
                    <a:pt x="116978" y="124688"/>
                    <a:pt x="134436" y="107230"/>
                    <a:pt x="155971" y="107230"/>
                  </a:cubicBezTo>
                  <a:close/>
                  <a:moveTo>
                    <a:pt x="292447" y="60926"/>
                  </a:moveTo>
                  <a:cubicBezTo>
                    <a:pt x="299759" y="60926"/>
                    <a:pt x="304633" y="65800"/>
                    <a:pt x="304633" y="73111"/>
                  </a:cubicBezTo>
                  <a:cubicBezTo>
                    <a:pt x="304633" y="75548"/>
                    <a:pt x="302196" y="80422"/>
                    <a:pt x="299759" y="82859"/>
                  </a:cubicBezTo>
                  <a:cubicBezTo>
                    <a:pt x="297321" y="85296"/>
                    <a:pt x="294884" y="87734"/>
                    <a:pt x="290010" y="87734"/>
                  </a:cubicBezTo>
                  <a:cubicBezTo>
                    <a:pt x="287573" y="87734"/>
                    <a:pt x="282699" y="85296"/>
                    <a:pt x="280262" y="82859"/>
                  </a:cubicBezTo>
                  <a:cubicBezTo>
                    <a:pt x="280262" y="82859"/>
                    <a:pt x="277825" y="77985"/>
                    <a:pt x="277825" y="75548"/>
                  </a:cubicBezTo>
                  <a:cubicBezTo>
                    <a:pt x="277825" y="73111"/>
                    <a:pt x="280262" y="68237"/>
                    <a:pt x="282699" y="65800"/>
                  </a:cubicBezTo>
                  <a:cubicBezTo>
                    <a:pt x="285136" y="63363"/>
                    <a:pt x="287573" y="60926"/>
                    <a:pt x="292447" y="60926"/>
                  </a:cubicBezTo>
                  <a:close/>
                  <a:moveTo>
                    <a:pt x="14622" y="0"/>
                  </a:moveTo>
                  <a:cubicBezTo>
                    <a:pt x="19496" y="2437"/>
                    <a:pt x="24371" y="9748"/>
                    <a:pt x="24371" y="14622"/>
                  </a:cubicBezTo>
                  <a:cubicBezTo>
                    <a:pt x="24371" y="19496"/>
                    <a:pt x="24371" y="21933"/>
                    <a:pt x="21934" y="24370"/>
                  </a:cubicBezTo>
                  <a:cubicBezTo>
                    <a:pt x="19496" y="26808"/>
                    <a:pt x="14622" y="29245"/>
                    <a:pt x="12185" y="29245"/>
                  </a:cubicBezTo>
                  <a:cubicBezTo>
                    <a:pt x="4874" y="29245"/>
                    <a:pt x="0" y="21933"/>
                    <a:pt x="0" y="14622"/>
                  </a:cubicBezTo>
                  <a:cubicBezTo>
                    <a:pt x="0" y="12185"/>
                    <a:pt x="2437" y="7311"/>
                    <a:pt x="4874" y="4874"/>
                  </a:cubicBezTo>
                  <a:cubicBezTo>
                    <a:pt x="7311" y="2437"/>
                    <a:pt x="9748" y="0"/>
                    <a:pt x="14622" y="0"/>
                  </a:cubicBezTo>
                  <a:close/>
                </a:path>
              </a:pathLst>
            </a:custGeom>
            <a:solidFill>
              <a:schemeClr val="accent2"/>
            </a:solidFill>
            <a:ln w="241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9" name="矩形 19">
            <a:extLst>
              <a:ext uri="{FF2B5EF4-FFF2-40B4-BE49-F238E27FC236}">
                <a16:creationId xmlns:a16="http://schemas.microsoft.com/office/drawing/2014/main" id="{8AA627E9-79F8-4221-A34B-927E63A263B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788045" y="4440253"/>
            <a:ext cx="3060000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0" anchor="t" anchorCtr="0">
            <a:spAutoFit/>
          </a:bodyPr>
          <a:lstStyle/>
          <a:p>
            <a:pPr defTabSz="413385" fontAlgn="ctr">
              <a:lnSpc>
                <a:spcPct val="150000"/>
              </a:lnSpc>
            </a:pP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增加与</a:t>
            </a:r>
            <a:r>
              <a:rPr lang="en-US" altLang="zh-CN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DI</a:t>
            </a: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对比优势：</a:t>
            </a:r>
            <a:endParaRPr lang="en-US" altLang="zh-CN" sz="1200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413385" fontAlgn="ctr">
              <a:lnSpc>
                <a:spcPct val="150000"/>
              </a:lnSpc>
            </a:pPr>
            <a:r>
              <a:rPr lang="zh-CN" altLang="en-US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训练模型，小样本训练，速度等</a:t>
            </a:r>
            <a:endParaRPr lang="en-US" altLang="zh-CN" sz="1200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7E5DADAD-88CC-48EE-B176-52078FF77356}"/>
              </a:ext>
            </a:extLst>
          </p:cNvPr>
          <p:cNvGrpSpPr/>
          <p:nvPr/>
        </p:nvGrpSpPr>
        <p:grpSpPr>
          <a:xfrm>
            <a:off x="6900780" y="4007915"/>
            <a:ext cx="489720" cy="358954"/>
            <a:chOff x="6900780" y="3969815"/>
            <a:chExt cx="489720" cy="358954"/>
          </a:xfrm>
        </p:grpSpPr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2574A15-E6C7-410C-B589-C908F80E67F4}"/>
                </a:ext>
              </a:extLst>
            </p:cNvPr>
            <p:cNvSpPr/>
            <p:nvPr/>
          </p:nvSpPr>
          <p:spPr>
            <a:xfrm>
              <a:off x="6940989" y="3999554"/>
              <a:ext cx="427824" cy="218607"/>
            </a:xfrm>
            <a:custGeom>
              <a:avLst/>
              <a:gdLst>
                <a:gd name="connsiteX0" fmla="*/ 386085 w 427824"/>
                <a:gd name="connsiteY0" fmla="*/ 82956 h 218607"/>
                <a:gd name="connsiteX1" fmla="*/ 386085 w 427824"/>
                <a:gd name="connsiteY1" fmla="*/ 82956 h 218607"/>
                <a:gd name="connsiteX2" fmla="*/ 354781 w 427824"/>
                <a:gd name="connsiteY2" fmla="*/ 74608 h 218607"/>
                <a:gd name="connsiteX3" fmla="*/ 350607 w 427824"/>
                <a:gd name="connsiteY3" fmla="*/ 76695 h 218607"/>
                <a:gd name="connsiteX4" fmla="*/ 342259 w 427824"/>
                <a:gd name="connsiteY4" fmla="*/ 74608 h 218607"/>
                <a:gd name="connsiteX5" fmla="*/ 344346 w 427824"/>
                <a:gd name="connsiteY5" fmla="*/ 66260 h 218607"/>
                <a:gd name="connsiteX6" fmla="*/ 350607 w 427824"/>
                <a:gd name="connsiteY6" fmla="*/ 62087 h 218607"/>
                <a:gd name="connsiteX7" fmla="*/ 354781 w 427824"/>
                <a:gd name="connsiteY7" fmla="*/ 62087 h 218607"/>
                <a:gd name="connsiteX8" fmla="*/ 383998 w 427824"/>
                <a:gd name="connsiteY8" fmla="*/ 70434 h 218607"/>
                <a:gd name="connsiteX9" fmla="*/ 419477 w 427824"/>
                <a:gd name="connsiteY9" fmla="*/ 49565 h 218607"/>
                <a:gd name="connsiteX10" fmla="*/ 425737 w 427824"/>
                <a:gd name="connsiteY10" fmla="*/ 49565 h 218607"/>
                <a:gd name="connsiteX11" fmla="*/ 427824 w 427824"/>
                <a:gd name="connsiteY11" fmla="*/ 53739 h 218607"/>
                <a:gd name="connsiteX12" fmla="*/ 425737 w 427824"/>
                <a:gd name="connsiteY12" fmla="*/ 57913 h 218607"/>
                <a:gd name="connsiteX13" fmla="*/ 388172 w 427824"/>
                <a:gd name="connsiteY13" fmla="*/ 80869 h 218607"/>
                <a:gd name="connsiteX14" fmla="*/ 386085 w 427824"/>
                <a:gd name="connsiteY14" fmla="*/ 82956 h 218607"/>
                <a:gd name="connsiteX15" fmla="*/ 386085 w 427824"/>
                <a:gd name="connsiteY15" fmla="*/ 82956 h 218607"/>
                <a:gd name="connsiteX16" fmla="*/ 398607 w 427824"/>
                <a:gd name="connsiteY16" fmla="*/ 26609 h 218607"/>
                <a:gd name="connsiteX17" fmla="*/ 392346 w 427824"/>
                <a:gd name="connsiteY17" fmla="*/ 22435 h 218607"/>
                <a:gd name="connsiteX18" fmla="*/ 394433 w 427824"/>
                <a:gd name="connsiteY18" fmla="*/ 16174 h 218607"/>
                <a:gd name="connsiteX19" fmla="*/ 419477 w 427824"/>
                <a:gd name="connsiteY19" fmla="*/ 1565 h 218607"/>
                <a:gd name="connsiteX20" fmla="*/ 425737 w 427824"/>
                <a:gd name="connsiteY20" fmla="*/ 1565 h 218607"/>
                <a:gd name="connsiteX21" fmla="*/ 427824 w 427824"/>
                <a:gd name="connsiteY21" fmla="*/ 5739 h 218607"/>
                <a:gd name="connsiteX22" fmla="*/ 425737 w 427824"/>
                <a:gd name="connsiteY22" fmla="*/ 9913 h 218607"/>
                <a:gd name="connsiteX23" fmla="*/ 402781 w 427824"/>
                <a:gd name="connsiteY23" fmla="*/ 24522 h 218607"/>
                <a:gd name="connsiteX24" fmla="*/ 398607 w 427824"/>
                <a:gd name="connsiteY24" fmla="*/ 26609 h 218607"/>
                <a:gd name="connsiteX25" fmla="*/ 398607 w 427824"/>
                <a:gd name="connsiteY25" fmla="*/ 26609 h 218607"/>
                <a:gd name="connsiteX26" fmla="*/ 14609 w 427824"/>
                <a:gd name="connsiteY26" fmla="*/ 218607 h 218607"/>
                <a:gd name="connsiteX27" fmla="*/ 0 w 427824"/>
                <a:gd name="connsiteY27" fmla="*/ 206085 h 218607"/>
                <a:gd name="connsiteX28" fmla="*/ 10435 w 427824"/>
                <a:gd name="connsiteY28" fmla="*/ 189390 h 218607"/>
                <a:gd name="connsiteX29" fmla="*/ 29217 w 427824"/>
                <a:gd name="connsiteY29" fmla="*/ 197738 h 218607"/>
                <a:gd name="connsiteX30" fmla="*/ 22956 w 427824"/>
                <a:gd name="connsiteY30" fmla="*/ 216520 h 218607"/>
                <a:gd name="connsiteX31" fmla="*/ 14609 w 427824"/>
                <a:gd name="connsiteY31" fmla="*/ 218607 h 218607"/>
                <a:gd name="connsiteX32" fmla="*/ 14609 w 427824"/>
                <a:gd name="connsiteY32" fmla="*/ 218607 h 218607"/>
                <a:gd name="connsiteX33" fmla="*/ 14609 w 427824"/>
                <a:gd name="connsiteY33" fmla="*/ 199825 h 218607"/>
                <a:gd name="connsiteX34" fmla="*/ 14609 w 427824"/>
                <a:gd name="connsiteY34" fmla="*/ 199825 h 218607"/>
                <a:gd name="connsiteX35" fmla="*/ 10435 w 427824"/>
                <a:gd name="connsiteY35" fmla="*/ 203999 h 218607"/>
                <a:gd name="connsiteX36" fmla="*/ 14609 w 427824"/>
                <a:gd name="connsiteY36" fmla="*/ 206085 h 218607"/>
                <a:gd name="connsiteX37" fmla="*/ 18783 w 427824"/>
                <a:gd name="connsiteY37" fmla="*/ 201912 h 218607"/>
                <a:gd name="connsiteX38" fmla="*/ 14609 w 427824"/>
                <a:gd name="connsiteY38" fmla="*/ 199825 h 218607"/>
                <a:gd name="connsiteX39" fmla="*/ 14609 w 427824"/>
                <a:gd name="connsiteY39" fmla="*/ 199825 h 218607"/>
                <a:gd name="connsiteX40" fmla="*/ 14609 w 427824"/>
                <a:gd name="connsiteY40" fmla="*/ 199825 h 21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27824" h="218607">
                  <a:moveTo>
                    <a:pt x="386085" y="82956"/>
                  </a:moveTo>
                  <a:cubicBezTo>
                    <a:pt x="383998" y="82956"/>
                    <a:pt x="383998" y="82956"/>
                    <a:pt x="386085" y="82956"/>
                  </a:cubicBezTo>
                  <a:lnTo>
                    <a:pt x="354781" y="74608"/>
                  </a:lnTo>
                  <a:lnTo>
                    <a:pt x="350607" y="76695"/>
                  </a:lnTo>
                  <a:cubicBezTo>
                    <a:pt x="348520" y="78782"/>
                    <a:pt x="344346" y="76695"/>
                    <a:pt x="342259" y="74608"/>
                  </a:cubicBezTo>
                  <a:cubicBezTo>
                    <a:pt x="340173" y="72521"/>
                    <a:pt x="342259" y="68347"/>
                    <a:pt x="344346" y="66260"/>
                  </a:cubicBezTo>
                  <a:lnTo>
                    <a:pt x="350607" y="62087"/>
                  </a:lnTo>
                  <a:cubicBezTo>
                    <a:pt x="352694" y="62087"/>
                    <a:pt x="352694" y="62087"/>
                    <a:pt x="354781" y="62087"/>
                  </a:cubicBezTo>
                  <a:lnTo>
                    <a:pt x="383998" y="70434"/>
                  </a:lnTo>
                  <a:lnTo>
                    <a:pt x="419477" y="49565"/>
                  </a:lnTo>
                  <a:cubicBezTo>
                    <a:pt x="421563" y="47478"/>
                    <a:pt x="423650" y="47478"/>
                    <a:pt x="425737" y="49565"/>
                  </a:cubicBezTo>
                  <a:cubicBezTo>
                    <a:pt x="427824" y="51652"/>
                    <a:pt x="427824" y="51652"/>
                    <a:pt x="427824" y="53739"/>
                  </a:cubicBezTo>
                  <a:cubicBezTo>
                    <a:pt x="427824" y="55826"/>
                    <a:pt x="425737" y="57913"/>
                    <a:pt x="425737" y="57913"/>
                  </a:cubicBezTo>
                  <a:lnTo>
                    <a:pt x="388172" y="80869"/>
                  </a:lnTo>
                  <a:cubicBezTo>
                    <a:pt x="388172" y="82956"/>
                    <a:pt x="386085" y="82956"/>
                    <a:pt x="386085" y="82956"/>
                  </a:cubicBezTo>
                  <a:lnTo>
                    <a:pt x="386085" y="82956"/>
                  </a:lnTo>
                  <a:close/>
                  <a:moveTo>
                    <a:pt x="398607" y="26609"/>
                  </a:moveTo>
                  <a:cubicBezTo>
                    <a:pt x="396520" y="26609"/>
                    <a:pt x="394433" y="24522"/>
                    <a:pt x="392346" y="22435"/>
                  </a:cubicBezTo>
                  <a:cubicBezTo>
                    <a:pt x="392346" y="20348"/>
                    <a:pt x="392346" y="16174"/>
                    <a:pt x="394433" y="16174"/>
                  </a:cubicBezTo>
                  <a:lnTo>
                    <a:pt x="419477" y="1565"/>
                  </a:lnTo>
                  <a:cubicBezTo>
                    <a:pt x="421563" y="-522"/>
                    <a:pt x="423650" y="-522"/>
                    <a:pt x="425737" y="1565"/>
                  </a:cubicBezTo>
                  <a:cubicBezTo>
                    <a:pt x="427824" y="3652"/>
                    <a:pt x="427824" y="3652"/>
                    <a:pt x="427824" y="5739"/>
                  </a:cubicBezTo>
                  <a:cubicBezTo>
                    <a:pt x="427824" y="7826"/>
                    <a:pt x="425737" y="9913"/>
                    <a:pt x="425737" y="9913"/>
                  </a:cubicBezTo>
                  <a:lnTo>
                    <a:pt x="402781" y="24522"/>
                  </a:lnTo>
                  <a:cubicBezTo>
                    <a:pt x="400694" y="26609"/>
                    <a:pt x="400694" y="26609"/>
                    <a:pt x="398607" y="26609"/>
                  </a:cubicBezTo>
                  <a:lnTo>
                    <a:pt x="398607" y="26609"/>
                  </a:lnTo>
                  <a:close/>
                  <a:moveTo>
                    <a:pt x="14609" y="218607"/>
                  </a:moveTo>
                  <a:cubicBezTo>
                    <a:pt x="6261" y="218607"/>
                    <a:pt x="0" y="212346"/>
                    <a:pt x="0" y="206085"/>
                  </a:cubicBezTo>
                  <a:cubicBezTo>
                    <a:pt x="0" y="197738"/>
                    <a:pt x="4174" y="191477"/>
                    <a:pt x="10435" y="189390"/>
                  </a:cubicBezTo>
                  <a:cubicBezTo>
                    <a:pt x="18783" y="187303"/>
                    <a:pt x="25043" y="191477"/>
                    <a:pt x="29217" y="197738"/>
                  </a:cubicBezTo>
                  <a:cubicBezTo>
                    <a:pt x="31304" y="203999"/>
                    <a:pt x="29217" y="212346"/>
                    <a:pt x="22956" y="216520"/>
                  </a:cubicBezTo>
                  <a:cubicBezTo>
                    <a:pt x="20869" y="218607"/>
                    <a:pt x="16696" y="218607"/>
                    <a:pt x="14609" y="218607"/>
                  </a:cubicBezTo>
                  <a:lnTo>
                    <a:pt x="14609" y="218607"/>
                  </a:lnTo>
                  <a:close/>
                  <a:moveTo>
                    <a:pt x="14609" y="199825"/>
                  </a:moveTo>
                  <a:cubicBezTo>
                    <a:pt x="14609" y="199825"/>
                    <a:pt x="12522" y="199825"/>
                    <a:pt x="14609" y="199825"/>
                  </a:cubicBezTo>
                  <a:cubicBezTo>
                    <a:pt x="10435" y="201912"/>
                    <a:pt x="10435" y="203999"/>
                    <a:pt x="10435" y="203999"/>
                  </a:cubicBezTo>
                  <a:cubicBezTo>
                    <a:pt x="10435" y="206085"/>
                    <a:pt x="12522" y="206085"/>
                    <a:pt x="14609" y="206085"/>
                  </a:cubicBezTo>
                  <a:cubicBezTo>
                    <a:pt x="16696" y="206085"/>
                    <a:pt x="18783" y="203999"/>
                    <a:pt x="18783" y="201912"/>
                  </a:cubicBezTo>
                  <a:cubicBezTo>
                    <a:pt x="18783" y="201912"/>
                    <a:pt x="16696" y="199825"/>
                    <a:pt x="14609" y="199825"/>
                  </a:cubicBezTo>
                  <a:cubicBezTo>
                    <a:pt x="14609" y="199825"/>
                    <a:pt x="14609" y="199825"/>
                    <a:pt x="14609" y="199825"/>
                  </a:cubicBezTo>
                  <a:lnTo>
                    <a:pt x="14609" y="199825"/>
                  </a:lnTo>
                  <a:close/>
                </a:path>
              </a:pathLst>
            </a:custGeom>
            <a:solidFill>
              <a:srgbClr val="B6252D"/>
            </a:solidFill>
            <a:ln w="20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68700102-55EF-4D06-BE9D-D6294264C313}"/>
                </a:ext>
              </a:extLst>
            </p:cNvPr>
            <p:cNvSpPr/>
            <p:nvPr/>
          </p:nvSpPr>
          <p:spPr>
            <a:xfrm>
              <a:off x="6900780" y="3983882"/>
              <a:ext cx="489720" cy="313583"/>
            </a:xfrm>
            <a:custGeom>
              <a:avLst/>
              <a:gdLst>
                <a:gd name="connsiteX0" fmla="*/ 69424 w 489720"/>
                <a:gd name="connsiteY0" fmla="*/ 294800 h 313583"/>
                <a:gd name="connsiteX1" fmla="*/ 65250 w 489720"/>
                <a:gd name="connsiteY1" fmla="*/ 296887 h 313583"/>
                <a:gd name="connsiteX2" fmla="*/ 65250 w 489720"/>
                <a:gd name="connsiteY2" fmla="*/ 298974 h 313583"/>
                <a:gd name="connsiteX3" fmla="*/ 71511 w 489720"/>
                <a:gd name="connsiteY3" fmla="*/ 301061 h 313583"/>
                <a:gd name="connsiteX4" fmla="*/ 73219 w 489720"/>
                <a:gd name="connsiteY4" fmla="*/ 295939 h 313583"/>
                <a:gd name="connsiteX5" fmla="*/ 71512 w 489720"/>
                <a:gd name="connsiteY5" fmla="*/ 294801 h 313583"/>
                <a:gd name="connsiteX6" fmla="*/ 71513 w 489720"/>
                <a:gd name="connsiteY6" fmla="*/ 294800 h 313583"/>
                <a:gd name="connsiteX7" fmla="*/ 15164 w 489720"/>
                <a:gd name="connsiteY7" fmla="*/ 276018 h 313583"/>
                <a:gd name="connsiteX8" fmla="*/ 10990 w 489720"/>
                <a:gd name="connsiteY8" fmla="*/ 280192 h 313583"/>
                <a:gd name="connsiteX9" fmla="*/ 15164 w 489720"/>
                <a:gd name="connsiteY9" fmla="*/ 282279 h 313583"/>
                <a:gd name="connsiteX10" fmla="*/ 19338 w 489720"/>
                <a:gd name="connsiteY10" fmla="*/ 278105 h 313583"/>
                <a:gd name="connsiteX11" fmla="*/ 15164 w 489720"/>
                <a:gd name="connsiteY11" fmla="*/ 276018 h 313583"/>
                <a:gd name="connsiteX12" fmla="*/ 61077 w 489720"/>
                <a:gd name="connsiteY12" fmla="*/ 250975 h 313583"/>
                <a:gd name="connsiteX13" fmla="*/ 56903 w 489720"/>
                <a:gd name="connsiteY13" fmla="*/ 253062 h 313583"/>
                <a:gd name="connsiteX14" fmla="*/ 54816 w 489720"/>
                <a:gd name="connsiteY14" fmla="*/ 259322 h 313583"/>
                <a:gd name="connsiteX15" fmla="*/ 61077 w 489720"/>
                <a:gd name="connsiteY15" fmla="*/ 261409 h 313583"/>
                <a:gd name="connsiteX16" fmla="*/ 63164 w 489720"/>
                <a:gd name="connsiteY16" fmla="*/ 253062 h 313583"/>
                <a:gd name="connsiteX17" fmla="*/ 61077 w 489720"/>
                <a:gd name="connsiteY17" fmla="*/ 250975 h 313583"/>
                <a:gd name="connsiteX18" fmla="*/ 62642 w 489720"/>
                <a:gd name="connsiteY18" fmla="*/ 241062 h 313583"/>
                <a:gd name="connsiteX19" fmla="*/ 71511 w 489720"/>
                <a:gd name="connsiteY19" fmla="*/ 248888 h 313583"/>
                <a:gd name="connsiteX20" fmla="*/ 65250 w 489720"/>
                <a:gd name="connsiteY20" fmla="*/ 269757 h 313583"/>
                <a:gd name="connsiteX21" fmla="*/ 58990 w 489720"/>
                <a:gd name="connsiteY21" fmla="*/ 271844 h 313583"/>
                <a:gd name="connsiteX22" fmla="*/ 52131 w 489720"/>
                <a:gd name="connsiteY22" fmla="*/ 265965 h 313583"/>
                <a:gd name="connsiteX23" fmla="*/ 29773 w 489720"/>
                <a:gd name="connsiteY23" fmla="*/ 280193 h 313583"/>
                <a:gd name="connsiteX24" fmla="*/ 28207 w 489720"/>
                <a:gd name="connsiteY24" fmla="*/ 280193 h 313583"/>
                <a:gd name="connsiteX25" fmla="*/ 29772 w 489720"/>
                <a:gd name="connsiteY25" fmla="*/ 286453 h 313583"/>
                <a:gd name="connsiteX26" fmla="*/ 15164 w 489720"/>
                <a:gd name="connsiteY26" fmla="*/ 296887 h 313583"/>
                <a:gd name="connsiteX27" fmla="*/ 555 w 489720"/>
                <a:gd name="connsiteY27" fmla="*/ 284366 h 313583"/>
                <a:gd name="connsiteX28" fmla="*/ 6816 w 489720"/>
                <a:gd name="connsiteY28" fmla="*/ 267670 h 313583"/>
                <a:gd name="connsiteX29" fmla="*/ 16207 w 489720"/>
                <a:gd name="connsiteY29" fmla="*/ 265583 h 313583"/>
                <a:gd name="connsiteX30" fmla="*/ 24371 w 489720"/>
                <a:gd name="connsiteY30" fmla="*/ 269212 h 313583"/>
                <a:gd name="connsiteX31" fmla="*/ 44618 w 489720"/>
                <a:gd name="connsiteY31" fmla="*/ 256327 h 313583"/>
                <a:gd name="connsiteX32" fmla="*/ 45164 w 489720"/>
                <a:gd name="connsiteY32" fmla="*/ 249410 h 313583"/>
                <a:gd name="connsiteX33" fmla="*/ 50642 w 489720"/>
                <a:gd name="connsiteY33" fmla="*/ 242627 h 313583"/>
                <a:gd name="connsiteX34" fmla="*/ 62642 w 489720"/>
                <a:gd name="connsiteY34" fmla="*/ 241062 h 313583"/>
                <a:gd name="connsiteX35" fmla="*/ 154990 w 489720"/>
                <a:gd name="connsiteY35" fmla="*/ 215497 h 313583"/>
                <a:gd name="connsiteX36" fmla="*/ 163337 w 489720"/>
                <a:gd name="connsiteY36" fmla="*/ 217584 h 313583"/>
                <a:gd name="connsiteX37" fmla="*/ 161251 w 489720"/>
                <a:gd name="connsiteY37" fmla="*/ 225932 h 313583"/>
                <a:gd name="connsiteX38" fmla="*/ 129946 w 489720"/>
                <a:gd name="connsiteY38" fmla="*/ 242628 h 313583"/>
                <a:gd name="connsiteX39" fmla="*/ 121599 w 489720"/>
                <a:gd name="connsiteY39" fmla="*/ 271845 h 313583"/>
                <a:gd name="connsiteX40" fmla="*/ 119512 w 489720"/>
                <a:gd name="connsiteY40" fmla="*/ 276019 h 313583"/>
                <a:gd name="connsiteX41" fmla="*/ 82445 w 489720"/>
                <a:gd name="connsiteY41" fmla="*/ 297479 h 313583"/>
                <a:gd name="connsiteX42" fmla="*/ 77772 w 489720"/>
                <a:gd name="connsiteY42" fmla="*/ 311496 h 313583"/>
                <a:gd name="connsiteX43" fmla="*/ 69424 w 489720"/>
                <a:gd name="connsiteY43" fmla="*/ 313583 h 313583"/>
                <a:gd name="connsiteX44" fmla="*/ 54816 w 489720"/>
                <a:gd name="connsiteY44" fmla="*/ 301061 h 313583"/>
                <a:gd name="connsiteX45" fmla="*/ 65250 w 489720"/>
                <a:gd name="connsiteY45" fmla="*/ 284366 h 313583"/>
                <a:gd name="connsiteX46" fmla="*/ 76207 w 489720"/>
                <a:gd name="connsiteY46" fmla="*/ 285410 h 313583"/>
                <a:gd name="connsiteX47" fmla="*/ 77256 w 489720"/>
                <a:gd name="connsiteY47" fmla="*/ 286389 h 313583"/>
                <a:gd name="connsiteX48" fmla="*/ 109077 w 489720"/>
                <a:gd name="connsiteY48" fmla="*/ 267671 h 313583"/>
                <a:gd name="connsiteX49" fmla="*/ 117425 w 489720"/>
                <a:gd name="connsiteY49" fmla="*/ 238454 h 313583"/>
                <a:gd name="connsiteX50" fmla="*/ 119512 w 489720"/>
                <a:gd name="connsiteY50" fmla="*/ 234280 h 313583"/>
                <a:gd name="connsiteX51" fmla="*/ 388728 w 489720"/>
                <a:gd name="connsiteY51" fmla="*/ 188367 h 313583"/>
                <a:gd name="connsiteX52" fmla="*/ 376206 w 489720"/>
                <a:gd name="connsiteY52" fmla="*/ 200888 h 313583"/>
                <a:gd name="connsiteX53" fmla="*/ 388728 w 489720"/>
                <a:gd name="connsiteY53" fmla="*/ 213410 h 313583"/>
                <a:gd name="connsiteX54" fmla="*/ 401250 w 489720"/>
                <a:gd name="connsiteY54" fmla="*/ 200888 h 313583"/>
                <a:gd name="connsiteX55" fmla="*/ 388728 w 489720"/>
                <a:gd name="connsiteY55" fmla="*/ 188367 h 313583"/>
                <a:gd name="connsiteX56" fmla="*/ 94468 w 489720"/>
                <a:gd name="connsiteY56" fmla="*/ 188366 h 313583"/>
                <a:gd name="connsiteX57" fmla="*/ 98642 w 489720"/>
                <a:gd name="connsiteY57" fmla="*/ 188366 h 313583"/>
                <a:gd name="connsiteX58" fmla="*/ 127859 w 489720"/>
                <a:gd name="connsiteY58" fmla="*/ 196714 h 313583"/>
                <a:gd name="connsiteX59" fmla="*/ 142468 w 489720"/>
                <a:gd name="connsiteY59" fmla="*/ 188366 h 313583"/>
                <a:gd name="connsiteX60" fmla="*/ 150815 w 489720"/>
                <a:gd name="connsiteY60" fmla="*/ 190453 h 313583"/>
                <a:gd name="connsiteX61" fmla="*/ 148728 w 489720"/>
                <a:gd name="connsiteY61" fmla="*/ 198801 h 313583"/>
                <a:gd name="connsiteX62" fmla="*/ 132033 w 489720"/>
                <a:gd name="connsiteY62" fmla="*/ 207149 h 313583"/>
                <a:gd name="connsiteX63" fmla="*/ 127859 w 489720"/>
                <a:gd name="connsiteY63" fmla="*/ 207149 h 313583"/>
                <a:gd name="connsiteX64" fmla="*/ 98642 w 489720"/>
                <a:gd name="connsiteY64" fmla="*/ 198801 h 313583"/>
                <a:gd name="connsiteX65" fmla="*/ 69424 w 489720"/>
                <a:gd name="connsiteY65" fmla="*/ 215497 h 313583"/>
                <a:gd name="connsiteX66" fmla="*/ 67337 w 489720"/>
                <a:gd name="connsiteY66" fmla="*/ 217584 h 313583"/>
                <a:gd name="connsiteX67" fmla="*/ 61077 w 489720"/>
                <a:gd name="connsiteY67" fmla="*/ 213410 h 313583"/>
                <a:gd name="connsiteX68" fmla="*/ 63164 w 489720"/>
                <a:gd name="connsiteY68" fmla="*/ 207149 h 313583"/>
                <a:gd name="connsiteX69" fmla="*/ 384815 w 489720"/>
                <a:gd name="connsiteY69" fmla="*/ 176367 h 313583"/>
                <a:gd name="connsiteX70" fmla="*/ 399163 w 489720"/>
                <a:gd name="connsiteY70" fmla="*/ 177932 h 313583"/>
                <a:gd name="connsiteX71" fmla="*/ 413771 w 489720"/>
                <a:gd name="connsiteY71" fmla="*/ 200888 h 313583"/>
                <a:gd name="connsiteX72" fmla="*/ 388728 w 489720"/>
                <a:gd name="connsiteY72" fmla="*/ 225932 h 313583"/>
                <a:gd name="connsiteX73" fmla="*/ 365772 w 489720"/>
                <a:gd name="connsiteY73" fmla="*/ 211323 h 313583"/>
                <a:gd name="connsiteX74" fmla="*/ 372032 w 489720"/>
                <a:gd name="connsiteY74" fmla="*/ 184193 h 313583"/>
                <a:gd name="connsiteX75" fmla="*/ 384815 w 489720"/>
                <a:gd name="connsiteY75" fmla="*/ 176367 h 313583"/>
                <a:gd name="connsiteX76" fmla="*/ 86120 w 489720"/>
                <a:gd name="connsiteY76" fmla="*/ 127846 h 313583"/>
                <a:gd name="connsiteX77" fmla="*/ 73598 w 489720"/>
                <a:gd name="connsiteY77" fmla="*/ 140367 h 313583"/>
                <a:gd name="connsiteX78" fmla="*/ 86120 w 489720"/>
                <a:gd name="connsiteY78" fmla="*/ 152889 h 313583"/>
                <a:gd name="connsiteX79" fmla="*/ 98642 w 489720"/>
                <a:gd name="connsiteY79" fmla="*/ 140367 h 313583"/>
                <a:gd name="connsiteX80" fmla="*/ 94468 w 489720"/>
                <a:gd name="connsiteY80" fmla="*/ 132020 h 313583"/>
                <a:gd name="connsiteX81" fmla="*/ 86120 w 489720"/>
                <a:gd name="connsiteY81" fmla="*/ 127846 h 313583"/>
                <a:gd name="connsiteX82" fmla="*/ 82207 w 489720"/>
                <a:gd name="connsiteY82" fmla="*/ 115846 h 313583"/>
                <a:gd name="connsiteX83" fmla="*/ 96555 w 489720"/>
                <a:gd name="connsiteY83" fmla="*/ 117411 h 313583"/>
                <a:gd name="connsiteX84" fmla="*/ 113250 w 489720"/>
                <a:gd name="connsiteY84" fmla="*/ 138280 h 313583"/>
                <a:gd name="connsiteX85" fmla="*/ 88207 w 489720"/>
                <a:gd name="connsiteY85" fmla="*/ 163324 h 313583"/>
                <a:gd name="connsiteX86" fmla="*/ 65251 w 489720"/>
                <a:gd name="connsiteY86" fmla="*/ 148715 h 313583"/>
                <a:gd name="connsiteX87" fmla="*/ 69424 w 489720"/>
                <a:gd name="connsiteY87" fmla="*/ 123672 h 313583"/>
                <a:gd name="connsiteX88" fmla="*/ 82207 w 489720"/>
                <a:gd name="connsiteY88" fmla="*/ 115846 h 313583"/>
                <a:gd name="connsiteX89" fmla="*/ 470119 w 489720"/>
                <a:gd name="connsiteY89" fmla="*/ 63150 h 313583"/>
                <a:gd name="connsiteX90" fmla="*/ 468032 w 489720"/>
                <a:gd name="connsiteY90" fmla="*/ 67324 h 313583"/>
                <a:gd name="connsiteX91" fmla="*/ 470119 w 489720"/>
                <a:gd name="connsiteY91" fmla="*/ 71498 h 313583"/>
                <a:gd name="connsiteX92" fmla="*/ 474293 w 489720"/>
                <a:gd name="connsiteY92" fmla="*/ 69411 h 313583"/>
                <a:gd name="connsiteX93" fmla="*/ 474293 w 489720"/>
                <a:gd name="connsiteY93" fmla="*/ 65237 h 313583"/>
                <a:gd name="connsiteX94" fmla="*/ 470119 w 489720"/>
                <a:gd name="connsiteY94" fmla="*/ 63150 h 313583"/>
                <a:gd name="connsiteX95" fmla="*/ 473250 w 489720"/>
                <a:gd name="connsiteY95" fmla="*/ 50629 h 313583"/>
                <a:gd name="connsiteX96" fmla="*/ 482641 w 489720"/>
                <a:gd name="connsiteY96" fmla="*/ 54803 h 313583"/>
                <a:gd name="connsiteX97" fmla="*/ 486815 w 489720"/>
                <a:gd name="connsiteY97" fmla="*/ 71498 h 313583"/>
                <a:gd name="connsiteX98" fmla="*/ 472206 w 489720"/>
                <a:gd name="connsiteY98" fmla="*/ 81933 h 313583"/>
                <a:gd name="connsiteX99" fmla="*/ 457597 w 489720"/>
                <a:gd name="connsiteY99" fmla="*/ 69411 h 313583"/>
                <a:gd name="connsiteX100" fmla="*/ 463858 w 489720"/>
                <a:gd name="connsiteY100" fmla="*/ 52716 h 313583"/>
                <a:gd name="connsiteX101" fmla="*/ 473250 w 489720"/>
                <a:gd name="connsiteY101" fmla="*/ 50629 h 313583"/>
                <a:gd name="connsiteX102" fmla="*/ 428380 w 489720"/>
                <a:gd name="connsiteY102" fmla="*/ 38107 h 313583"/>
                <a:gd name="connsiteX103" fmla="*/ 426293 w 489720"/>
                <a:gd name="connsiteY103" fmla="*/ 42281 h 313583"/>
                <a:gd name="connsiteX104" fmla="*/ 428380 w 489720"/>
                <a:gd name="connsiteY104" fmla="*/ 46455 h 313583"/>
                <a:gd name="connsiteX105" fmla="*/ 430467 w 489720"/>
                <a:gd name="connsiteY105" fmla="*/ 46455 h 313583"/>
                <a:gd name="connsiteX106" fmla="*/ 432554 w 489720"/>
                <a:gd name="connsiteY106" fmla="*/ 40194 h 313583"/>
                <a:gd name="connsiteX107" fmla="*/ 428380 w 489720"/>
                <a:gd name="connsiteY107" fmla="*/ 38107 h 313583"/>
                <a:gd name="connsiteX108" fmla="*/ 433598 w 489720"/>
                <a:gd name="connsiteY108" fmla="*/ 27672 h 313583"/>
                <a:gd name="connsiteX109" fmla="*/ 442989 w 489720"/>
                <a:gd name="connsiteY109" fmla="*/ 31846 h 313583"/>
                <a:gd name="connsiteX110" fmla="*/ 447163 w 489720"/>
                <a:gd name="connsiteY110" fmla="*/ 48542 h 313583"/>
                <a:gd name="connsiteX111" fmla="*/ 430467 w 489720"/>
                <a:gd name="connsiteY111" fmla="*/ 56890 h 313583"/>
                <a:gd name="connsiteX112" fmla="*/ 426293 w 489720"/>
                <a:gd name="connsiteY112" fmla="*/ 56890 h 313583"/>
                <a:gd name="connsiteX113" fmla="*/ 415858 w 489720"/>
                <a:gd name="connsiteY113" fmla="*/ 44368 h 313583"/>
                <a:gd name="connsiteX114" fmla="*/ 424206 w 489720"/>
                <a:gd name="connsiteY114" fmla="*/ 29759 h 313583"/>
                <a:gd name="connsiteX115" fmla="*/ 433598 w 489720"/>
                <a:gd name="connsiteY115" fmla="*/ 27672 h 313583"/>
                <a:gd name="connsiteX116" fmla="*/ 474293 w 489720"/>
                <a:gd name="connsiteY116" fmla="*/ 13064 h 313583"/>
                <a:gd name="connsiteX117" fmla="*/ 470119 w 489720"/>
                <a:gd name="connsiteY117" fmla="*/ 17238 h 313583"/>
                <a:gd name="connsiteX118" fmla="*/ 472206 w 489720"/>
                <a:gd name="connsiteY118" fmla="*/ 21412 h 313583"/>
                <a:gd name="connsiteX119" fmla="*/ 474293 w 489720"/>
                <a:gd name="connsiteY119" fmla="*/ 21412 h 313583"/>
                <a:gd name="connsiteX120" fmla="*/ 476380 w 489720"/>
                <a:gd name="connsiteY120" fmla="*/ 17238 h 313583"/>
                <a:gd name="connsiteX121" fmla="*/ 474293 w 489720"/>
                <a:gd name="connsiteY121" fmla="*/ 13064 h 313583"/>
                <a:gd name="connsiteX122" fmla="*/ 411684 w 489720"/>
                <a:gd name="connsiteY122" fmla="*/ 8890 h 313583"/>
                <a:gd name="connsiteX123" fmla="*/ 407510 w 489720"/>
                <a:gd name="connsiteY123" fmla="*/ 15151 h 313583"/>
                <a:gd name="connsiteX124" fmla="*/ 413771 w 489720"/>
                <a:gd name="connsiteY124" fmla="*/ 17238 h 313583"/>
                <a:gd name="connsiteX125" fmla="*/ 415858 w 489720"/>
                <a:gd name="connsiteY125" fmla="*/ 13064 h 313583"/>
                <a:gd name="connsiteX126" fmla="*/ 411684 w 489720"/>
                <a:gd name="connsiteY126" fmla="*/ 8890 h 313583"/>
                <a:gd name="connsiteX127" fmla="*/ 475337 w 489720"/>
                <a:gd name="connsiteY127" fmla="*/ 542 h 313583"/>
                <a:gd name="connsiteX128" fmla="*/ 484728 w 489720"/>
                <a:gd name="connsiteY128" fmla="*/ 4716 h 313583"/>
                <a:gd name="connsiteX129" fmla="*/ 488902 w 489720"/>
                <a:gd name="connsiteY129" fmla="*/ 21412 h 313583"/>
                <a:gd name="connsiteX130" fmla="*/ 474293 w 489720"/>
                <a:gd name="connsiteY130" fmla="*/ 31846 h 313583"/>
                <a:gd name="connsiteX131" fmla="*/ 459684 w 489720"/>
                <a:gd name="connsiteY131" fmla="*/ 19325 h 313583"/>
                <a:gd name="connsiteX132" fmla="*/ 465945 w 489720"/>
                <a:gd name="connsiteY132" fmla="*/ 2629 h 313583"/>
                <a:gd name="connsiteX133" fmla="*/ 475337 w 489720"/>
                <a:gd name="connsiteY133" fmla="*/ 542 h 313583"/>
                <a:gd name="connsiteX134" fmla="*/ 407511 w 489720"/>
                <a:gd name="connsiteY134" fmla="*/ 542 h 313583"/>
                <a:gd name="connsiteX135" fmla="*/ 426293 w 489720"/>
                <a:gd name="connsiteY135" fmla="*/ 8890 h 313583"/>
                <a:gd name="connsiteX136" fmla="*/ 420032 w 489720"/>
                <a:gd name="connsiteY136" fmla="*/ 27672 h 313583"/>
                <a:gd name="connsiteX137" fmla="*/ 411685 w 489720"/>
                <a:gd name="connsiteY137" fmla="*/ 29759 h 313583"/>
                <a:gd name="connsiteX138" fmla="*/ 401250 w 489720"/>
                <a:gd name="connsiteY138" fmla="*/ 25846 h 313583"/>
                <a:gd name="connsiteX139" fmla="*/ 400359 w 489720"/>
                <a:gd name="connsiteY139" fmla="*/ 24008 h 313583"/>
                <a:gd name="connsiteX140" fmla="*/ 372033 w 489720"/>
                <a:gd name="connsiteY140" fmla="*/ 40194 h 313583"/>
                <a:gd name="connsiteX141" fmla="*/ 365772 w 489720"/>
                <a:gd name="connsiteY141" fmla="*/ 63150 h 313583"/>
                <a:gd name="connsiteX142" fmla="*/ 361598 w 489720"/>
                <a:gd name="connsiteY142" fmla="*/ 69411 h 313583"/>
                <a:gd name="connsiteX143" fmla="*/ 357424 w 489720"/>
                <a:gd name="connsiteY143" fmla="*/ 67324 h 313583"/>
                <a:gd name="connsiteX144" fmla="*/ 355337 w 489720"/>
                <a:gd name="connsiteY144" fmla="*/ 61063 h 313583"/>
                <a:gd name="connsiteX145" fmla="*/ 361598 w 489720"/>
                <a:gd name="connsiteY145" fmla="*/ 36020 h 313583"/>
                <a:gd name="connsiteX146" fmla="*/ 363685 w 489720"/>
                <a:gd name="connsiteY146" fmla="*/ 31846 h 313583"/>
                <a:gd name="connsiteX147" fmla="*/ 394989 w 489720"/>
                <a:gd name="connsiteY147" fmla="*/ 13064 h 313583"/>
                <a:gd name="connsiteX148" fmla="*/ 399050 w 489720"/>
                <a:gd name="connsiteY148" fmla="*/ 14079 h 31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489720" h="313583">
                  <a:moveTo>
                    <a:pt x="69424" y="294800"/>
                  </a:moveTo>
                  <a:cubicBezTo>
                    <a:pt x="67337" y="294800"/>
                    <a:pt x="65250" y="296887"/>
                    <a:pt x="65250" y="296887"/>
                  </a:cubicBezTo>
                  <a:cubicBezTo>
                    <a:pt x="65250" y="296887"/>
                    <a:pt x="65250" y="298974"/>
                    <a:pt x="65250" y="298974"/>
                  </a:cubicBezTo>
                  <a:cubicBezTo>
                    <a:pt x="67337" y="301061"/>
                    <a:pt x="69424" y="301061"/>
                    <a:pt x="71511" y="301061"/>
                  </a:cubicBezTo>
                  <a:lnTo>
                    <a:pt x="73219" y="295939"/>
                  </a:lnTo>
                  <a:lnTo>
                    <a:pt x="71512" y="294801"/>
                  </a:lnTo>
                  <a:lnTo>
                    <a:pt x="71513" y="294800"/>
                  </a:lnTo>
                  <a:close/>
                  <a:moveTo>
                    <a:pt x="15164" y="276018"/>
                  </a:moveTo>
                  <a:cubicBezTo>
                    <a:pt x="10990" y="278105"/>
                    <a:pt x="10990" y="280192"/>
                    <a:pt x="10990" y="280192"/>
                  </a:cubicBezTo>
                  <a:cubicBezTo>
                    <a:pt x="10990" y="282279"/>
                    <a:pt x="13077" y="282279"/>
                    <a:pt x="15164" y="282279"/>
                  </a:cubicBezTo>
                  <a:cubicBezTo>
                    <a:pt x="17251" y="282279"/>
                    <a:pt x="19338" y="280192"/>
                    <a:pt x="19338" y="278105"/>
                  </a:cubicBezTo>
                  <a:cubicBezTo>
                    <a:pt x="19338" y="278105"/>
                    <a:pt x="19338" y="278105"/>
                    <a:pt x="15164" y="276018"/>
                  </a:cubicBezTo>
                  <a:close/>
                  <a:moveTo>
                    <a:pt x="61077" y="250975"/>
                  </a:moveTo>
                  <a:cubicBezTo>
                    <a:pt x="58990" y="250975"/>
                    <a:pt x="58990" y="253062"/>
                    <a:pt x="56903" y="253062"/>
                  </a:cubicBezTo>
                  <a:cubicBezTo>
                    <a:pt x="54816" y="255149"/>
                    <a:pt x="54816" y="257236"/>
                    <a:pt x="54816" y="259322"/>
                  </a:cubicBezTo>
                  <a:cubicBezTo>
                    <a:pt x="56903" y="261409"/>
                    <a:pt x="58990" y="261409"/>
                    <a:pt x="61077" y="261409"/>
                  </a:cubicBezTo>
                  <a:cubicBezTo>
                    <a:pt x="63164" y="257236"/>
                    <a:pt x="63164" y="255149"/>
                    <a:pt x="63164" y="253062"/>
                  </a:cubicBezTo>
                  <a:cubicBezTo>
                    <a:pt x="63164" y="253062"/>
                    <a:pt x="61077" y="250975"/>
                    <a:pt x="61077" y="250975"/>
                  </a:cubicBezTo>
                  <a:close/>
                  <a:moveTo>
                    <a:pt x="62642" y="241062"/>
                  </a:moveTo>
                  <a:cubicBezTo>
                    <a:pt x="66294" y="242106"/>
                    <a:pt x="69424" y="244714"/>
                    <a:pt x="71511" y="248888"/>
                  </a:cubicBezTo>
                  <a:cubicBezTo>
                    <a:pt x="75685" y="257236"/>
                    <a:pt x="73598" y="265583"/>
                    <a:pt x="65250" y="269757"/>
                  </a:cubicBezTo>
                  <a:cubicBezTo>
                    <a:pt x="65250" y="269757"/>
                    <a:pt x="61077" y="271844"/>
                    <a:pt x="58990" y="271844"/>
                  </a:cubicBezTo>
                  <a:lnTo>
                    <a:pt x="52131" y="265965"/>
                  </a:lnTo>
                  <a:lnTo>
                    <a:pt x="29773" y="280193"/>
                  </a:lnTo>
                  <a:lnTo>
                    <a:pt x="28207" y="280193"/>
                  </a:lnTo>
                  <a:lnTo>
                    <a:pt x="29772" y="286453"/>
                  </a:lnTo>
                  <a:cubicBezTo>
                    <a:pt x="27685" y="292713"/>
                    <a:pt x="23512" y="296887"/>
                    <a:pt x="15164" y="296887"/>
                  </a:cubicBezTo>
                  <a:cubicBezTo>
                    <a:pt x="8903" y="296887"/>
                    <a:pt x="2642" y="292713"/>
                    <a:pt x="555" y="284366"/>
                  </a:cubicBezTo>
                  <a:cubicBezTo>
                    <a:pt x="-1532" y="278105"/>
                    <a:pt x="2642" y="269757"/>
                    <a:pt x="6816" y="267670"/>
                  </a:cubicBezTo>
                  <a:cubicBezTo>
                    <a:pt x="9946" y="265583"/>
                    <a:pt x="13077" y="265061"/>
                    <a:pt x="16207" y="265583"/>
                  </a:cubicBezTo>
                  <a:lnTo>
                    <a:pt x="24371" y="269212"/>
                  </a:lnTo>
                  <a:lnTo>
                    <a:pt x="44618" y="256327"/>
                  </a:lnTo>
                  <a:lnTo>
                    <a:pt x="45164" y="249410"/>
                  </a:lnTo>
                  <a:cubicBezTo>
                    <a:pt x="46468" y="246279"/>
                    <a:pt x="48555" y="243671"/>
                    <a:pt x="50642" y="242627"/>
                  </a:cubicBezTo>
                  <a:cubicBezTo>
                    <a:pt x="54816" y="240540"/>
                    <a:pt x="58990" y="240019"/>
                    <a:pt x="62642" y="241062"/>
                  </a:cubicBezTo>
                  <a:close/>
                  <a:moveTo>
                    <a:pt x="154990" y="215497"/>
                  </a:moveTo>
                  <a:cubicBezTo>
                    <a:pt x="157077" y="213410"/>
                    <a:pt x="161251" y="215497"/>
                    <a:pt x="163337" y="217584"/>
                  </a:cubicBezTo>
                  <a:cubicBezTo>
                    <a:pt x="165424" y="219671"/>
                    <a:pt x="163337" y="223845"/>
                    <a:pt x="161251" y="225932"/>
                  </a:cubicBezTo>
                  <a:lnTo>
                    <a:pt x="129946" y="242628"/>
                  </a:lnTo>
                  <a:lnTo>
                    <a:pt x="121599" y="271845"/>
                  </a:lnTo>
                  <a:cubicBezTo>
                    <a:pt x="121599" y="273932"/>
                    <a:pt x="119512" y="273932"/>
                    <a:pt x="119512" y="276019"/>
                  </a:cubicBezTo>
                  <a:lnTo>
                    <a:pt x="82445" y="297479"/>
                  </a:lnTo>
                  <a:lnTo>
                    <a:pt x="77772" y="311496"/>
                  </a:lnTo>
                  <a:cubicBezTo>
                    <a:pt x="75685" y="313583"/>
                    <a:pt x="71511" y="313583"/>
                    <a:pt x="69424" y="313583"/>
                  </a:cubicBezTo>
                  <a:cubicBezTo>
                    <a:pt x="61077" y="313583"/>
                    <a:pt x="54816" y="307322"/>
                    <a:pt x="54816" y="301061"/>
                  </a:cubicBezTo>
                  <a:cubicBezTo>
                    <a:pt x="54816" y="292713"/>
                    <a:pt x="58990" y="286453"/>
                    <a:pt x="65250" y="284366"/>
                  </a:cubicBezTo>
                  <a:cubicBezTo>
                    <a:pt x="69424" y="283323"/>
                    <a:pt x="73077" y="283844"/>
                    <a:pt x="76207" y="285410"/>
                  </a:cubicBezTo>
                  <a:lnTo>
                    <a:pt x="77256" y="286389"/>
                  </a:lnTo>
                  <a:lnTo>
                    <a:pt x="109077" y="267671"/>
                  </a:lnTo>
                  <a:lnTo>
                    <a:pt x="117425" y="238454"/>
                  </a:lnTo>
                  <a:cubicBezTo>
                    <a:pt x="117425" y="236367"/>
                    <a:pt x="119512" y="236367"/>
                    <a:pt x="119512" y="234280"/>
                  </a:cubicBezTo>
                  <a:close/>
                  <a:moveTo>
                    <a:pt x="388728" y="188367"/>
                  </a:moveTo>
                  <a:cubicBezTo>
                    <a:pt x="382467" y="188367"/>
                    <a:pt x="376206" y="194627"/>
                    <a:pt x="376206" y="200888"/>
                  </a:cubicBezTo>
                  <a:cubicBezTo>
                    <a:pt x="376206" y="207149"/>
                    <a:pt x="382467" y="213410"/>
                    <a:pt x="388728" y="213410"/>
                  </a:cubicBezTo>
                  <a:cubicBezTo>
                    <a:pt x="397076" y="213410"/>
                    <a:pt x="401250" y="207149"/>
                    <a:pt x="401250" y="200888"/>
                  </a:cubicBezTo>
                  <a:cubicBezTo>
                    <a:pt x="401250" y="194627"/>
                    <a:pt x="394989" y="188367"/>
                    <a:pt x="388728" y="188367"/>
                  </a:cubicBezTo>
                  <a:close/>
                  <a:moveTo>
                    <a:pt x="94468" y="188366"/>
                  </a:moveTo>
                  <a:cubicBezTo>
                    <a:pt x="96555" y="188366"/>
                    <a:pt x="96555" y="188366"/>
                    <a:pt x="98642" y="188366"/>
                  </a:cubicBezTo>
                  <a:lnTo>
                    <a:pt x="127859" y="196714"/>
                  </a:lnTo>
                  <a:lnTo>
                    <a:pt x="142468" y="188366"/>
                  </a:lnTo>
                  <a:cubicBezTo>
                    <a:pt x="144555" y="186280"/>
                    <a:pt x="148728" y="188366"/>
                    <a:pt x="150815" y="190453"/>
                  </a:cubicBezTo>
                  <a:cubicBezTo>
                    <a:pt x="152902" y="192540"/>
                    <a:pt x="150815" y="196714"/>
                    <a:pt x="148728" y="198801"/>
                  </a:cubicBezTo>
                  <a:lnTo>
                    <a:pt x="132033" y="207149"/>
                  </a:lnTo>
                  <a:cubicBezTo>
                    <a:pt x="129946" y="207149"/>
                    <a:pt x="129946" y="207149"/>
                    <a:pt x="127859" y="207149"/>
                  </a:cubicBezTo>
                  <a:lnTo>
                    <a:pt x="98642" y="198801"/>
                  </a:lnTo>
                  <a:lnTo>
                    <a:pt x="69424" y="215497"/>
                  </a:lnTo>
                  <a:cubicBezTo>
                    <a:pt x="69424" y="217584"/>
                    <a:pt x="67337" y="217584"/>
                    <a:pt x="67337" y="217584"/>
                  </a:cubicBezTo>
                  <a:cubicBezTo>
                    <a:pt x="65250" y="217584"/>
                    <a:pt x="63164" y="215497"/>
                    <a:pt x="61077" y="213410"/>
                  </a:cubicBezTo>
                  <a:cubicBezTo>
                    <a:pt x="61077" y="211323"/>
                    <a:pt x="61077" y="207149"/>
                    <a:pt x="63164" y="207149"/>
                  </a:cubicBezTo>
                  <a:close/>
                  <a:moveTo>
                    <a:pt x="384815" y="176367"/>
                  </a:moveTo>
                  <a:cubicBezTo>
                    <a:pt x="389772" y="175323"/>
                    <a:pt x="394989" y="175845"/>
                    <a:pt x="399163" y="177932"/>
                  </a:cubicBezTo>
                  <a:cubicBezTo>
                    <a:pt x="407511" y="182106"/>
                    <a:pt x="413771" y="190454"/>
                    <a:pt x="413771" y="200888"/>
                  </a:cubicBezTo>
                  <a:cubicBezTo>
                    <a:pt x="413771" y="215497"/>
                    <a:pt x="403337" y="225932"/>
                    <a:pt x="388728" y="225932"/>
                  </a:cubicBezTo>
                  <a:cubicBezTo>
                    <a:pt x="378293" y="225932"/>
                    <a:pt x="369946" y="219671"/>
                    <a:pt x="365772" y="211323"/>
                  </a:cubicBezTo>
                  <a:cubicBezTo>
                    <a:pt x="363685" y="200888"/>
                    <a:pt x="365772" y="190454"/>
                    <a:pt x="372032" y="184193"/>
                  </a:cubicBezTo>
                  <a:cubicBezTo>
                    <a:pt x="375163" y="180019"/>
                    <a:pt x="379859" y="177410"/>
                    <a:pt x="384815" y="176367"/>
                  </a:cubicBezTo>
                  <a:close/>
                  <a:moveTo>
                    <a:pt x="86120" y="127846"/>
                  </a:moveTo>
                  <a:cubicBezTo>
                    <a:pt x="79859" y="127846"/>
                    <a:pt x="73598" y="134106"/>
                    <a:pt x="73598" y="140367"/>
                  </a:cubicBezTo>
                  <a:cubicBezTo>
                    <a:pt x="73598" y="146628"/>
                    <a:pt x="79859" y="152889"/>
                    <a:pt x="86120" y="152889"/>
                  </a:cubicBezTo>
                  <a:cubicBezTo>
                    <a:pt x="94468" y="152889"/>
                    <a:pt x="100729" y="146628"/>
                    <a:pt x="98642" y="140367"/>
                  </a:cubicBezTo>
                  <a:cubicBezTo>
                    <a:pt x="98642" y="138280"/>
                    <a:pt x="96555" y="134106"/>
                    <a:pt x="94468" y="132020"/>
                  </a:cubicBezTo>
                  <a:cubicBezTo>
                    <a:pt x="92381" y="129933"/>
                    <a:pt x="90294" y="127846"/>
                    <a:pt x="86120" y="127846"/>
                  </a:cubicBezTo>
                  <a:close/>
                  <a:moveTo>
                    <a:pt x="82207" y="115846"/>
                  </a:moveTo>
                  <a:cubicBezTo>
                    <a:pt x="87164" y="114802"/>
                    <a:pt x="92381" y="115324"/>
                    <a:pt x="96555" y="117411"/>
                  </a:cubicBezTo>
                  <a:cubicBezTo>
                    <a:pt x="104903" y="121585"/>
                    <a:pt x="111163" y="129933"/>
                    <a:pt x="113250" y="138280"/>
                  </a:cubicBezTo>
                  <a:cubicBezTo>
                    <a:pt x="113250" y="152889"/>
                    <a:pt x="102816" y="163324"/>
                    <a:pt x="88207" y="163324"/>
                  </a:cubicBezTo>
                  <a:cubicBezTo>
                    <a:pt x="77772" y="163324"/>
                    <a:pt x="69424" y="157063"/>
                    <a:pt x="65251" y="148715"/>
                  </a:cubicBezTo>
                  <a:cubicBezTo>
                    <a:pt x="61077" y="140367"/>
                    <a:pt x="63164" y="129933"/>
                    <a:pt x="69424" y="123672"/>
                  </a:cubicBezTo>
                  <a:cubicBezTo>
                    <a:pt x="72555" y="119498"/>
                    <a:pt x="77251" y="116889"/>
                    <a:pt x="82207" y="115846"/>
                  </a:cubicBezTo>
                  <a:close/>
                  <a:moveTo>
                    <a:pt x="470119" y="63150"/>
                  </a:moveTo>
                  <a:cubicBezTo>
                    <a:pt x="468032" y="63150"/>
                    <a:pt x="468032" y="65237"/>
                    <a:pt x="468032" y="67324"/>
                  </a:cubicBezTo>
                  <a:cubicBezTo>
                    <a:pt x="468032" y="69411"/>
                    <a:pt x="470119" y="69411"/>
                    <a:pt x="470119" y="71498"/>
                  </a:cubicBezTo>
                  <a:cubicBezTo>
                    <a:pt x="472206" y="71498"/>
                    <a:pt x="472206" y="71498"/>
                    <a:pt x="474293" y="69411"/>
                  </a:cubicBezTo>
                  <a:cubicBezTo>
                    <a:pt x="474293" y="67324"/>
                    <a:pt x="476380" y="67324"/>
                    <a:pt x="474293" y="65237"/>
                  </a:cubicBezTo>
                  <a:cubicBezTo>
                    <a:pt x="474293" y="63150"/>
                    <a:pt x="472206" y="61063"/>
                    <a:pt x="470119" y="63150"/>
                  </a:cubicBezTo>
                  <a:close/>
                  <a:moveTo>
                    <a:pt x="473250" y="50629"/>
                  </a:moveTo>
                  <a:cubicBezTo>
                    <a:pt x="476380" y="51151"/>
                    <a:pt x="479511" y="52716"/>
                    <a:pt x="482641" y="54803"/>
                  </a:cubicBezTo>
                  <a:cubicBezTo>
                    <a:pt x="486815" y="58977"/>
                    <a:pt x="488902" y="65237"/>
                    <a:pt x="486815" y="71498"/>
                  </a:cubicBezTo>
                  <a:cubicBezTo>
                    <a:pt x="484728" y="77759"/>
                    <a:pt x="478467" y="81933"/>
                    <a:pt x="472206" y="81933"/>
                  </a:cubicBezTo>
                  <a:cubicBezTo>
                    <a:pt x="465945" y="81933"/>
                    <a:pt x="459684" y="77759"/>
                    <a:pt x="457597" y="69411"/>
                  </a:cubicBezTo>
                  <a:cubicBezTo>
                    <a:pt x="455510" y="63150"/>
                    <a:pt x="459684" y="54803"/>
                    <a:pt x="463858" y="52716"/>
                  </a:cubicBezTo>
                  <a:cubicBezTo>
                    <a:pt x="466989" y="50629"/>
                    <a:pt x="470119" y="50107"/>
                    <a:pt x="473250" y="50629"/>
                  </a:cubicBezTo>
                  <a:close/>
                  <a:moveTo>
                    <a:pt x="428380" y="38107"/>
                  </a:moveTo>
                  <a:cubicBezTo>
                    <a:pt x="426293" y="38107"/>
                    <a:pt x="426293" y="40194"/>
                    <a:pt x="426293" y="42281"/>
                  </a:cubicBezTo>
                  <a:cubicBezTo>
                    <a:pt x="426293" y="44368"/>
                    <a:pt x="428380" y="44368"/>
                    <a:pt x="428380" y="46455"/>
                  </a:cubicBezTo>
                  <a:cubicBezTo>
                    <a:pt x="428380" y="46455"/>
                    <a:pt x="430467" y="46455"/>
                    <a:pt x="430467" y="46455"/>
                  </a:cubicBezTo>
                  <a:cubicBezTo>
                    <a:pt x="432554" y="44368"/>
                    <a:pt x="432554" y="42281"/>
                    <a:pt x="432554" y="40194"/>
                  </a:cubicBezTo>
                  <a:cubicBezTo>
                    <a:pt x="432554" y="38107"/>
                    <a:pt x="430467" y="36020"/>
                    <a:pt x="428380" y="38107"/>
                  </a:cubicBezTo>
                  <a:close/>
                  <a:moveTo>
                    <a:pt x="433598" y="27672"/>
                  </a:moveTo>
                  <a:cubicBezTo>
                    <a:pt x="436728" y="28194"/>
                    <a:pt x="439859" y="29759"/>
                    <a:pt x="442989" y="31846"/>
                  </a:cubicBezTo>
                  <a:cubicBezTo>
                    <a:pt x="447163" y="36020"/>
                    <a:pt x="449250" y="42281"/>
                    <a:pt x="447163" y="48542"/>
                  </a:cubicBezTo>
                  <a:cubicBezTo>
                    <a:pt x="442989" y="52716"/>
                    <a:pt x="436728" y="56890"/>
                    <a:pt x="430467" y="56890"/>
                  </a:cubicBezTo>
                  <a:cubicBezTo>
                    <a:pt x="428380" y="56890"/>
                    <a:pt x="428380" y="56890"/>
                    <a:pt x="426293" y="56890"/>
                  </a:cubicBezTo>
                  <a:cubicBezTo>
                    <a:pt x="420032" y="54803"/>
                    <a:pt x="415858" y="50629"/>
                    <a:pt x="415858" y="44368"/>
                  </a:cubicBezTo>
                  <a:cubicBezTo>
                    <a:pt x="415858" y="38107"/>
                    <a:pt x="417945" y="31846"/>
                    <a:pt x="424206" y="29759"/>
                  </a:cubicBezTo>
                  <a:cubicBezTo>
                    <a:pt x="427337" y="27672"/>
                    <a:pt x="430467" y="27150"/>
                    <a:pt x="433598" y="27672"/>
                  </a:cubicBezTo>
                  <a:close/>
                  <a:moveTo>
                    <a:pt x="474293" y="13064"/>
                  </a:moveTo>
                  <a:cubicBezTo>
                    <a:pt x="470119" y="15151"/>
                    <a:pt x="470119" y="15151"/>
                    <a:pt x="470119" y="17238"/>
                  </a:cubicBezTo>
                  <a:cubicBezTo>
                    <a:pt x="470119" y="19325"/>
                    <a:pt x="472206" y="19325"/>
                    <a:pt x="472206" y="21412"/>
                  </a:cubicBezTo>
                  <a:cubicBezTo>
                    <a:pt x="472206" y="21412"/>
                    <a:pt x="474293" y="21412"/>
                    <a:pt x="474293" y="21412"/>
                  </a:cubicBezTo>
                  <a:cubicBezTo>
                    <a:pt x="476380" y="21412"/>
                    <a:pt x="476380" y="19325"/>
                    <a:pt x="476380" y="17238"/>
                  </a:cubicBezTo>
                  <a:cubicBezTo>
                    <a:pt x="476380" y="13064"/>
                    <a:pt x="476380" y="13064"/>
                    <a:pt x="474293" y="13064"/>
                  </a:cubicBezTo>
                  <a:close/>
                  <a:moveTo>
                    <a:pt x="411684" y="8890"/>
                  </a:moveTo>
                  <a:cubicBezTo>
                    <a:pt x="407510" y="10977"/>
                    <a:pt x="407510" y="13064"/>
                    <a:pt x="407510" y="15151"/>
                  </a:cubicBezTo>
                  <a:cubicBezTo>
                    <a:pt x="409597" y="17238"/>
                    <a:pt x="411684" y="17238"/>
                    <a:pt x="413771" y="17238"/>
                  </a:cubicBezTo>
                  <a:cubicBezTo>
                    <a:pt x="415858" y="17238"/>
                    <a:pt x="415858" y="15151"/>
                    <a:pt x="415858" y="13064"/>
                  </a:cubicBezTo>
                  <a:cubicBezTo>
                    <a:pt x="413771" y="10977"/>
                    <a:pt x="411684" y="8890"/>
                    <a:pt x="411684" y="8890"/>
                  </a:cubicBezTo>
                  <a:close/>
                  <a:moveTo>
                    <a:pt x="475337" y="542"/>
                  </a:moveTo>
                  <a:cubicBezTo>
                    <a:pt x="478467" y="1064"/>
                    <a:pt x="481598" y="2629"/>
                    <a:pt x="484728" y="4716"/>
                  </a:cubicBezTo>
                  <a:cubicBezTo>
                    <a:pt x="488902" y="8890"/>
                    <a:pt x="490989" y="15151"/>
                    <a:pt x="488902" y="21412"/>
                  </a:cubicBezTo>
                  <a:cubicBezTo>
                    <a:pt x="486815" y="27672"/>
                    <a:pt x="480554" y="31846"/>
                    <a:pt x="474293" y="31846"/>
                  </a:cubicBezTo>
                  <a:cubicBezTo>
                    <a:pt x="468032" y="31846"/>
                    <a:pt x="461771" y="27672"/>
                    <a:pt x="459684" y="19325"/>
                  </a:cubicBezTo>
                  <a:cubicBezTo>
                    <a:pt x="457597" y="13064"/>
                    <a:pt x="459684" y="6803"/>
                    <a:pt x="465945" y="2629"/>
                  </a:cubicBezTo>
                  <a:cubicBezTo>
                    <a:pt x="469076" y="542"/>
                    <a:pt x="472206" y="20"/>
                    <a:pt x="475337" y="542"/>
                  </a:cubicBezTo>
                  <a:close/>
                  <a:moveTo>
                    <a:pt x="407511" y="542"/>
                  </a:moveTo>
                  <a:cubicBezTo>
                    <a:pt x="415859" y="-1545"/>
                    <a:pt x="422119" y="2629"/>
                    <a:pt x="426293" y="8890"/>
                  </a:cubicBezTo>
                  <a:cubicBezTo>
                    <a:pt x="428380" y="15150"/>
                    <a:pt x="426293" y="23498"/>
                    <a:pt x="420032" y="27672"/>
                  </a:cubicBezTo>
                  <a:cubicBezTo>
                    <a:pt x="415859" y="27672"/>
                    <a:pt x="413772" y="29759"/>
                    <a:pt x="411685" y="29759"/>
                  </a:cubicBezTo>
                  <a:cubicBezTo>
                    <a:pt x="407511" y="29759"/>
                    <a:pt x="403859" y="28194"/>
                    <a:pt x="401250" y="25846"/>
                  </a:cubicBezTo>
                  <a:lnTo>
                    <a:pt x="400359" y="24008"/>
                  </a:lnTo>
                  <a:lnTo>
                    <a:pt x="372033" y="40194"/>
                  </a:lnTo>
                  <a:lnTo>
                    <a:pt x="365772" y="63150"/>
                  </a:lnTo>
                  <a:cubicBezTo>
                    <a:pt x="365772" y="67324"/>
                    <a:pt x="363685" y="69411"/>
                    <a:pt x="361598" y="69411"/>
                  </a:cubicBezTo>
                  <a:cubicBezTo>
                    <a:pt x="359511" y="69411"/>
                    <a:pt x="357424" y="69411"/>
                    <a:pt x="357424" y="67324"/>
                  </a:cubicBezTo>
                  <a:cubicBezTo>
                    <a:pt x="355337" y="65237"/>
                    <a:pt x="355337" y="63150"/>
                    <a:pt x="355337" y="61063"/>
                  </a:cubicBezTo>
                  <a:lnTo>
                    <a:pt x="361598" y="36020"/>
                  </a:lnTo>
                  <a:cubicBezTo>
                    <a:pt x="361598" y="33933"/>
                    <a:pt x="363685" y="33933"/>
                    <a:pt x="363685" y="31846"/>
                  </a:cubicBezTo>
                  <a:lnTo>
                    <a:pt x="394989" y="13064"/>
                  </a:lnTo>
                  <a:lnTo>
                    <a:pt x="399050" y="14079"/>
                  </a:lnTo>
                  <a:close/>
                </a:path>
              </a:pathLst>
            </a:custGeom>
            <a:solidFill>
              <a:schemeClr val="accent2"/>
            </a:solidFill>
            <a:ln w="20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A195A758-3A40-4EF2-9077-66143BAB6350}"/>
                </a:ext>
              </a:extLst>
            </p:cNvPr>
            <p:cNvSpPr/>
            <p:nvPr/>
          </p:nvSpPr>
          <p:spPr>
            <a:xfrm>
              <a:off x="6981862" y="3969815"/>
              <a:ext cx="313906" cy="358954"/>
            </a:xfrm>
            <a:custGeom>
              <a:avLst/>
              <a:gdLst>
                <a:gd name="connsiteX0" fmla="*/ 7125 w 313906"/>
                <a:gd name="connsiteY0" fmla="*/ 166955 h 358954"/>
                <a:gd name="connsiteX1" fmla="*/ 13386 w 313906"/>
                <a:gd name="connsiteY1" fmla="*/ 173216 h 358954"/>
                <a:gd name="connsiteX2" fmla="*/ 13386 w 313906"/>
                <a:gd name="connsiteY2" fmla="*/ 262954 h 358954"/>
                <a:gd name="connsiteX3" fmla="*/ 157385 w 313906"/>
                <a:gd name="connsiteY3" fmla="*/ 346432 h 358954"/>
                <a:gd name="connsiteX4" fmla="*/ 305558 w 313906"/>
                <a:gd name="connsiteY4" fmla="*/ 260867 h 358954"/>
                <a:gd name="connsiteX5" fmla="*/ 311819 w 313906"/>
                <a:gd name="connsiteY5" fmla="*/ 260867 h 358954"/>
                <a:gd name="connsiteX6" fmla="*/ 313906 w 313906"/>
                <a:gd name="connsiteY6" fmla="*/ 265041 h 358954"/>
                <a:gd name="connsiteX7" fmla="*/ 311819 w 313906"/>
                <a:gd name="connsiteY7" fmla="*/ 269215 h 358954"/>
                <a:gd name="connsiteX8" fmla="*/ 161559 w 313906"/>
                <a:gd name="connsiteY8" fmla="*/ 356867 h 358954"/>
                <a:gd name="connsiteX9" fmla="*/ 157385 w 313906"/>
                <a:gd name="connsiteY9" fmla="*/ 358954 h 358954"/>
                <a:gd name="connsiteX10" fmla="*/ 155298 w 313906"/>
                <a:gd name="connsiteY10" fmla="*/ 358954 h 358954"/>
                <a:gd name="connsiteX11" fmla="*/ 2951 w 313906"/>
                <a:gd name="connsiteY11" fmla="*/ 271302 h 358954"/>
                <a:gd name="connsiteX12" fmla="*/ 864 w 313906"/>
                <a:gd name="connsiteY12" fmla="*/ 267128 h 358954"/>
                <a:gd name="connsiteX13" fmla="*/ 864 w 313906"/>
                <a:gd name="connsiteY13" fmla="*/ 173216 h 358954"/>
                <a:gd name="connsiteX14" fmla="*/ 7125 w 313906"/>
                <a:gd name="connsiteY14" fmla="*/ 166955 h 358954"/>
                <a:gd name="connsiteX15" fmla="*/ 232516 w 313906"/>
                <a:gd name="connsiteY15" fmla="*/ 144114 h 358954"/>
                <a:gd name="connsiteX16" fmla="*/ 163647 w 313906"/>
                <a:gd name="connsiteY16" fmla="*/ 183650 h 358954"/>
                <a:gd name="connsiteX17" fmla="*/ 163647 w 313906"/>
                <a:gd name="connsiteY17" fmla="*/ 264477 h 358954"/>
                <a:gd name="connsiteX18" fmla="*/ 232516 w 313906"/>
                <a:gd name="connsiteY18" fmla="*/ 225389 h 358954"/>
                <a:gd name="connsiteX19" fmla="*/ 78082 w 313906"/>
                <a:gd name="connsiteY19" fmla="*/ 141804 h 358954"/>
                <a:gd name="connsiteX20" fmla="*/ 78082 w 313906"/>
                <a:gd name="connsiteY20" fmla="*/ 225389 h 358954"/>
                <a:gd name="connsiteX21" fmla="*/ 151125 w 313906"/>
                <a:gd name="connsiteY21" fmla="*/ 266846 h 358954"/>
                <a:gd name="connsiteX22" fmla="*/ 151125 w 313906"/>
                <a:gd name="connsiteY22" fmla="*/ 183362 h 358954"/>
                <a:gd name="connsiteX23" fmla="*/ 155299 w 313906"/>
                <a:gd name="connsiteY23" fmla="*/ 91825 h 358954"/>
                <a:gd name="connsiteX24" fmla="*/ 83433 w 313906"/>
                <a:gd name="connsiteY24" fmla="*/ 132613 h 358954"/>
                <a:gd name="connsiteX25" fmla="*/ 156316 w 313906"/>
                <a:gd name="connsiteY25" fmla="*/ 173530 h 358954"/>
                <a:gd name="connsiteX26" fmla="*/ 227543 w 313906"/>
                <a:gd name="connsiteY26" fmla="*/ 132828 h 358954"/>
                <a:gd name="connsiteX27" fmla="*/ 151125 w 313906"/>
                <a:gd name="connsiteY27" fmla="*/ 79303 h 358954"/>
                <a:gd name="connsiteX28" fmla="*/ 157386 w 313906"/>
                <a:gd name="connsiteY28" fmla="*/ 79303 h 358954"/>
                <a:gd name="connsiteX29" fmla="*/ 239043 w 313906"/>
                <a:gd name="connsiteY29" fmla="*/ 126256 h 358954"/>
                <a:gd name="connsiteX30" fmla="*/ 270081 w 313906"/>
                <a:gd name="connsiteY30" fmla="*/ 108520 h 358954"/>
                <a:gd name="connsiteX31" fmla="*/ 278429 w 313906"/>
                <a:gd name="connsiteY31" fmla="*/ 110607 h 358954"/>
                <a:gd name="connsiteX32" fmla="*/ 276342 w 313906"/>
                <a:gd name="connsiteY32" fmla="*/ 118955 h 358954"/>
                <a:gd name="connsiteX33" fmla="*/ 242951 w 313906"/>
                <a:gd name="connsiteY33" fmla="*/ 138124 h 358954"/>
                <a:gd name="connsiteX34" fmla="*/ 242951 w 313906"/>
                <a:gd name="connsiteY34" fmla="*/ 227476 h 358954"/>
                <a:gd name="connsiteX35" fmla="*/ 240864 w 313906"/>
                <a:gd name="connsiteY35" fmla="*/ 231650 h 358954"/>
                <a:gd name="connsiteX36" fmla="*/ 163647 w 313906"/>
                <a:gd name="connsiteY36" fmla="*/ 276049 h 358954"/>
                <a:gd name="connsiteX37" fmla="*/ 163647 w 313906"/>
                <a:gd name="connsiteY37" fmla="*/ 317215 h 358954"/>
                <a:gd name="connsiteX38" fmla="*/ 157386 w 313906"/>
                <a:gd name="connsiteY38" fmla="*/ 321388 h 358954"/>
                <a:gd name="connsiteX39" fmla="*/ 151125 w 313906"/>
                <a:gd name="connsiteY39" fmla="*/ 315128 h 358954"/>
                <a:gd name="connsiteX40" fmla="*/ 151125 w 313906"/>
                <a:gd name="connsiteY40" fmla="*/ 280536 h 358954"/>
                <a:gd name="connsiteX41" fmla="*/ 69734 w 313906"/>
                <a:gd name="connsiteY41" fmla="*/ 233737 h 358954"/>
                <a:gd name="connsiteX42" fmla="*/ 65560 w 313906"/>
                <a:gd name="connsiteY42" fmla="*/ 227476 h 358954"/>
                <a:gd name="connsiteX43" fmla="*/ 65560 w 313906"/>
                <a:gd name="connsiteY43" fmla="*/ 134679 h 358954"/>
                <a:gd name="connsiteX44" fmla="*/ 34256 w 313906"/>
                <a:gd name="connsiteY44" fmla="*/ 116868 h 358954"/>
                <a:gd name="connsiteX45" fmla="*/ 32169 w 313906"/>
                <a:gd name="connsiteY45" fmla="*/ 112694 h 358954"/>
                <a:gd name="connsiteX46" fmla="*/ 34256 w 313906"/>
                <a:gd name="connsiteY46" fmla="*/ 108520 h 358954"/>
                <a:gd name="connsiteX47" fmla="*/ 40517 w 313906"/>
                <a:gd name="connsiteY47" fmla="*/ 108520 h 358954"/>
                <a:gd name="connsiteX48" fmla="*/ 70773 w 313906"/>
                <a:gd name="connsiteY48" fmla="*/ 125506 h 358954"/>
                <a:gd name="connsiteX49" fmla="*/ 153212 w 313906"/>
                <a:gd name="connsiteY49" fmla="*/ 0 h 358954"/>
                <a:gd name="connsiteX50" fmla="*/ 159472 w 313906"/>
                <a:gd name="connsiteY50" fmla="*/ 0 h 358954"/>
                <a:gd name="connsiteX51" fmla="*/ 309733 w 313906"/>
                <a:gd name="connsiteY51" fmla="*/ 87652 h 358954"/>
                <a:gd name="connsiteX52" fmla="*/ 311820 w 313906"/>
                <a:gd name="connsiteY52" fmla="*/ 91825 h 358954"/>
                <a:gd name="connsiteX53" fmla="*/ 311820 w 313906"/>
                <a:gd name="connsiteY53" fmla="*/ 194086 h 358954"/>
                <a:gd name="connsiteX54" fmla="*/ 309733 w 313906"/>
                <a:gd name="connsiteY54" fmla="*/ 198259 h 358954"/>
                <a:gd name="connsiteX55" fmla="*/ 305559 w 313906"/>
                <a:gd name="connsiteY55" fmla="*/ 202433 h 358954"/>
                <a:gd name="connsiteX56" fmla="*/ 301385 w 313906"/>
                <a:gd name="connsiteY56" fmla="*/ 200346 h 358954"/>
                <a:gd name="connsiteX57" fmla="*/ 299298 w 313906"/>
                <a:gd name="connsiteY57" fmla="*/ 196172 h 358954"/>
                <a:gd name="connsiteX58" fmla="*/ 299298 w 313906"/>
                <a:gd name="connsiteY58" fmla="*/ 95999 h 358954"/>
                <a:gd name="connsiteX59" fmla="*/ 155299 w 313906"/>
                <a:gd name="connsiteY59" fmla="*/ 12522 h 358954"/>
                <a:gd name="connsiteX60" fmla="*/ 9212 w 313906"/>
                <a:gd name="connsiteY60" fmla="*/ 98086 h 358954"/>
                <a:gd name="connsiteX61" fmla="*/ 864 w 313906"/>
                <a:gd name="connsiteY61" fmla="*/ 95999 h 358954"/>
                <a:gd name="connsiteX62" fmla="*/ 2951 w 313906"/>
                <a:gd name="connsiteY62" fmla="*/ 87652 h 35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13906" h="358954">
                  <a:moveTo>
                    <a:pt x="7125" y="166955"/>
                  </a:moveTo>
                  <a:cubicBezTo>
                    <a:pt x="11299" y="166955"/>
                    <a:pt x="13386" y="169042"/>
                    <a:pt x="13386" y="173216"/>
                  </a:cubicBezTo>
                  <a:lnTo>
                    <a:pt x="13386" y="262954"/>
                  </a:lnTo>
                  <a:lnTo>
                    <a:pt x="157385" y="346432"/>
                  </a:lnTo>
                  <a:lnTo>
                    <a:pt x="305558" y="260867"/>
                  </a:lnTo>
                  <a:cubicBezTo>
                    <a:pt x="307645" y="258780"/>
                    <a:pt x="309732" y="258780"/>
                    <a:pt x="311819" y="260867"/>
                  </a:cubicBezTo>
                  <a:cubicBezTo>
                    <a:pt x="313906" y="260867"/>
                    <a:pt x="313906" y="262954"/>
                    <a:pt x="313906" y="265041"/>
                  </a:cubicBezTo>
                  <a:cubicBezTo>
                    <a:pt x="313906" y="267128"/>
                    <a:pt x="311819" y="269215"/>
                    <a:pt x="311819" y="269215"/>
                  </a:cubicBezTo>
                  <a:lnTo>
                    <a:pt x="161559" y="356867"/>
                  </a:lnTo>
                  <a:cubicBezTo>
                    <a:pt x="157385" y="358954"/>
                    <a:pt x="157385" y="358954"/>
                    <a:pt x="157385" y="358954"/>
                  </a:cubicBezTo>
                  <a:cubicBezTo>
                    <a:pt x="157385" y="358954"/>
                    <a:pt x="155298" y="358954"/>
                    <a:pt x="155298" y="358954"/>
                  </a:cubicBezTo>
                  <a:lnTo>
                    <a:pt x="2951" y="271302"/>
                  </a:lnTo>
                  <a:cubicBezTo>
                    <a:pt x="864" y="271302"/>
                    <a:pt x="864" y="269215"/>
                    <a:pt x="864" y="267128"/>
                  </a:cubicBezTo>
                  <a:lnTo>
                    <a:pt x="864" y="173216"/>
                  </a:lnTo>
                  <a:cubicBezTo>
                    <a:pt x="864" y="169042"/>
                    <a:pt x="2951" y="166955"/>
                    <a:pt x="7125" y="166955"/>
                  </a:cubicBezTo>
                  <a:close/>
                  <a:moveTo>
                    <a:pt x="232516" y="144114"/>
                  </a:moveTo>
                  <a:lnTo>
                    <a:pt x="163647" y="183650"/>
                  </a:lnTo>
                  <a:lnTo>
                    <a:pt x="163647" y="264477"/>
                  </a:lnTo>
                  <a:lnTo>
                    <a:pt x="232516" y="225389"/>
                  </a:lnTo>
                  <a:close/>
                  <a:moveTo>
                    <a:pt x="78082" y="141804"/>
                  </a:moveTo>
                  <a:lnTo>
                    <a:pt x="78082" y="225389"/>
                  </a:lnTo>
                  <a:lnTo>
                    <a:pt x="151125" y="266846"/>
                  </a:lnTo>
                  <a:lnTo>
                    <a:pt x="151125" y="183362"/>
                  </a:lnTo>
                  <a:close/>
                  <a:moveTo>
                    <a:pt x="155299" y="91825"/>
                  </a:moveTo>
                  <a:lnTo>
                    <a:pt x="83433" y="132613"/>
                  </a:lnTo>
                  <a:lnTo>
                    <a:pt x="156316" y="173530"/>
                  </a:lnTo>
                  <a:lnTo>
                    <a:pt x="227543" y="132828"/>
                  </a:lnTo>
                  <a:close/>
                  <a:moveTo>
                    <a:pt x="151125" y="79303"/>
                  </a:moveTo>
                  <a:cubicBezTo>
                    <a:pt x="153212" y="79303"/>
                    <a:pt x="155299" y="79303"/>
                    <a:pt x="157386" y="79303"/>
                  </a:cubicBezTo>
                  <a:lnTo>
                    <a:pt x="239043" y="126256"/>
                  </a:lnTo>
                  <a:lnTo>
                    <a:pt x="270081" y="108520"/>
                  </a:lnTo>
                  <a:cubicBezTo>
                    <a:pt x="272168" y="106433"/>
                    <a:pt x="276342" y="108520"/>
                    <a:pt x="278429" y="110607"/>
                  </a:cubicBezTo>
                  <a:cubicBezTo>
                    <a:pt x="280516" y="112694"/>
                    <a:pt x="278429" y="116868"/>
                    <a:pt x="276342" y="118955"/>
                  </a:cubicBezTo>
                  <a:lnTo>
                    <a:pt x="242951" y="138124"/>
                  </a:lnTo>
                  <a:lnTo>
                    <a:pt x="242951" y="227476"/>
                  </a:lnTo>
                  <a:cubicBezTo>
                    <a:pt x="242951" y="229563"/>
                    <a:pt x="240864" y="231650"/>
                    <a:pt x="240864" y="231650"/>
                  </a:cubicBezTo>
                  <a:lnTo>
                    <a:pt x="163647" y="276049"/>
                  </a:lnTo>
                  <a:lnTo>
                    <a:pt x="163647" y="317215"/>
                  </a:lnTo>
                  <a:cubicBezTo>
                    <a:pt x="161560" y="319302"/>
                    <a:pt x="159473" y="321388"/>
                    <a:pt x="157386" y="321388"/>
                  </a:cubicBezTo>
                  <a:cubicBezTo>
                    <a:pt x="153212" y="321388"/>
                    <a:pt x="151125" y="319302"/>
                    <a:pt x="151125" y="315128"/>
                  </a:cubicBezTo>
                  <a:lnTo>
                    <a:pt x="151125" y="280536"/>
                  </a:lnTo>
                  <a:lnTo>
                    <a:pt x="69734" y="233737"/>
                  </a:lnTo>
                  <a:cubicBezTo>
                    <a:pt x="67647" y="231650"/>
                    <a:pt x="65560" y="229563"/>
                    <a:pt x="65560" y="227476"/>
                  </a:cubicBezTo>
                  <a:lnTo>
                    <a:pt x="65560" y="134679"/>
                  </a:lnTo>
                  <a:lnTo>
                    <a:pt x="34256" y="116868"/>
                  </a:lnTo>
                  <a:cubicBezTo>
                    <a:pt x="32169" y="116868"/>
                    <a:pt x="32169" y="114781"/>
                    <a:pt x="32169" y="112694"/>
                  </a:cubicBezTo>
                  <a:cubicBezTo>
                    <a:pt x="32169" y="110607"/>
                    <a:pt x="34256" y="108520"/>
                    <a:pt x="34256" y="108520"/>
                  </a:cubicBezTo>
                  <a:cubicBezTo>
                    <a:pt x="36343" y="106433"/>
                    <a:pt x="38430" y="106433"/>
                    <a:pt x="40517" y="108520"/>
                  </a:cubicBezTo>
                  <a:lnTo>
                    <a:pt x="70773" y="125506"/>
                  </a:lnTo>
                  <a:close/>
                  <a:moveTo>
                    <a:pt x="153212" y="0"/>
                  </a:moveTo>
                  <a:cubicBezTo>
                    <a:pt x="155299" y="0"/>
                    <a:pt x="157386" y="0"/>
                    <a:pt x="159472" y="0"/>
                  </a:cubicBezTo>
                  <a:lnTo>
                    <a:pt x="309733" y="87652"/>
                  </a:lnTo>
                  <a:cubicBezTo>
                    <a:pt x="311820" y="87652"/>
                    <a:pt x="311820" y="89738"/>
                    <a:pt x="311820" y="91825"/>
                  </a:cubicBezTo>
                  <a:lnTo>
                    <a:pt x="311820" y="194086"/>
                  </a:lnTo>
                  <a:cubicBezTo>
                    <a:pt x="311820" y="196172"/>
                    <a:pt x="311820" y="196172"/>
                    <a:pt x="309733" y="198259"/>
                  </a:cubicBezTo>
                  <a:cubicBezTo>
                    <a:pt x="309733" y="200346"/>
                    <a:pt x="307646" y="202433"/>
                    <a:pt x="305559" y="202433"/>
                  </a:cubicBezTo>
                  <a:cubicBezTo>
                    <a:pt x="303472" y="202433"/>
                    <a:pt x="303472" y="202433"/>
                    <a:pt x="301385" y="200346"/>
                  </a:cubicBezTo>
                  <a:cubicBezTo>
                    <a:pt x="299298" y="198259"/>
                    <a:pt x="299298" y="198259"/>
                    <a:pt x="299298" y="196172"/>
                  </a:cubicBezTo>
                  <a:lnTo>
                    <a:pt x="299298" y="95999"/>
                  </a:lnTo>
                  <a:lnTo>
                    <a:pt x="155299" y="12522"/>
                  </a:lnTo>
                  <a:lnTo>
                    <a:pt x="9212" y="98086"/>
                  </a:lnTo>
                  <a:cubicBezTo>
                    <a:pt x="7125" y="100173"/>
                    <a:pt x="2951" y="98086"/>
                    <a:pt x="864" y="95999"/>
                  </a:cubicBezTo>
                  <a:cubicBezTo>
                    <a:pt x="-1223" y="91825"/>
                    <a:pt x="864" y="89738"/>
                    <a:pt x="2951" y="87652"/>
                  </a:cubicBezTo>
                  <a:close/>
                </a:path>
              </a:pathLst>
            </a:custGeom>
            <a:solidFill>
              <a:schemeClr val="accent1"/>
            </a:solidFill>
            <a:ln w="20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A3EE76DF-4B2F-43EB-96E3-8F505671F18E}"/>
              </a:ext>
            </a:extLst>
          </p:cNvPr>
          <p:cNvGrpSpPr/>
          <p:nvPr/>
        </p:nvGrpSpPr>
        <p:grpSpPr>
          <a:xfrm>
            <a:off x="10120965" y="3982805"/>
            <a:ext cx="394160" cy="391936"/>
            <a:chOff x="7727215" y="5406522"/>
            <a:chExt cx="1888228" cy="1877573"/>
          </a:xfrm>
        </p:grpSpPr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3FDA97D-1CAA-42C3-87D4-CFEE47AE6B45}"/>
                </a:ext>
              </a:extLst>
            </p:cNvPr>
            <p:cNvSpPr/>
            <p:nvPr/>
          </p:nvSpPr>
          <p:spPr>
            <a:xfrm>
              <a:off x="7727215" y="5406522"/>
              <a:ext cx="1888228" cy="1877573"/>
            </a:xfrm>
            <a:custGeom>
              <a:avLst/>
              <a:gdLst>
                <a:gd name="connsiteX0" fmla="*/ 1720977 w 1888228"/>
                <a:gd name="connsiteY0" fmla="*/ 894207 h 1877573"/>
                <a:gd name="connsiteX1" fmla="*/ 1888228 w 1888228"/>
                <a:gd name="connsiteY1" fmla="*/ 1051942 h 1877573"/>
                <a:gd name="connsiteX2" fmla="*/ 1888228 w 1888228"/>
                <a:gd name="connsiteY2" fmla="*/ 1133857 h 1877573"/>
                <a:gd name="connsiteX3" fmla="*/ 1685544 w 1888228"/>
                <a:gd name="connsiteY3" fmla="*/ 942976 h 1877573"/>
                <a:gd name="connsiteX4" fmla="*/ 502158 w 1888228"/>
                <a:gd name="connsiteY4" fmla="*/ 184786 h 1877573"/>
                <a:gd name="connsiteX5" fmla="*/ 528828 w 1888228"/>
                <a:gd name="connsiteY5" fmla="*/ 201168 h 1877573"/>
                <a:gd name="connsiteX6" fmla="*/ 715518 w 1888228"/>
                <a:gd name="connsiteY6" fmla="*/ 588265 h 1877573"/>
                <a:gd name="connsiteX7" fmla="*/ 933830 w 1888228"/>
                <a:gd name="connsiteY7" fmla="*/ 422911 h 1877573"/>
                <a:gd name="connsiteX8" fmla="*/ 951738 w 1888228"/>
                <a:gd name="connsiteY8" fmla="*/ 416815 h 1877573"/>
                <a:gd name="connsiteX9" fmla="*/ 973074 w 1888228"/>
                <a:gd name="connsiteY9" fmla="*/ 425577 h 1877573"/>
                <a:gd name="connsiteX10" fmla="*/ 973835 w 1888228"/>
                <a:gd name="connsiteY10" fmla="*/ 426340 h 1877573"/>
                <a:gd name="connsiteX11" fmla="*/ 1214247 w 1888228"/>
                <a:gd name="connsiteY11" fmla="*/ 638176 h 1877573"/>
                <a:gd name="connsiteX12" fmla="*/ 1378077 w 1888228"/>
                <a:gd name="connsiteY12" fmla="*/ 590170 h 1877573"/>
                <a:gd name="connsiteX13" fmla="*/ 1386459 w 1888228"/>
                <a:gd name="connsiteY13" fmla="*/ 589027 h 1877573"/>
                <a:gd name="connsiteX14" fmla="*/ 1406652 w 1888228"/>
                <a:gd name="connsiteY14" fmla="*/ 597027 h 1877573"/>
                <a:gd name="connsiteX15" fmla="*/ 1415416 w 1888228"/>
                <a:gd name="connsiteY15" fmla="*/ 605028 h 1877573"/>
                <a:gd name="connsiteX16" fmla="*/ 1479423 w 1888228"/>
                <a:gd name="connsiteY16" fmla="*/ 665607 h 1877573"/>
                <a:gd name="connsiteX17" fmla="*/ 1443991 w 1888228"/>
                <a:gd name="connsiteY17" fmla="*/ 714376 h 1877573"/>
                <a:gd name="connsiteX18" fmla="*/ 1378077 w 1888228"/>
                <a:gd name="connsiteY18" fmla="*/ 652653 h 1877573"/>
                <a:gd name="connsiteX19" fmla="*/ 1214628 w 1888228"/>
                <a:gd name="connsiteY19" fmla="*/ 699897 h 1877573"/>
                <a:gd name="connsiteX20" fmla="*/ 1206245 w 1888228"/>
                <a:gd name="connsiteY20" fmla="*/ 701041 h 1877573"/>
                <a:gd name="connsiteX21" fmla="*/ 1186434 w 1888228"/>
                <a:gd name="connsiteY21" fmla="*/ 693421 h 1877573"/>
                <a:gd name="connsiteX22" fmla="*/ 950214 w 1888228"/>
                <a:gd name="connsiteY22" fmla="*/ 485013 h 1877573"/>
                <a:gd name="connsiteX23" fmla="*/ 733044 w 1888228"/>
                <a:gd name="connsiteY23" fmla="*/ 649606 h 1877573"/>
                <a:gd name="connsiteX24" fmla="*/ 722375 w 1888228"/>
                <a:gd name="connsiteY24" fmla="*/ 657607 h 1877573"/>
                <a:gd name="connsiteX25" fmla="*/ 717423 w 1888228"/>
                <a:gd name="connsiteY25" fmla="*/ 660655 h 1877573"/>
                <a:gd name="connsiteX26" fmla="*/ 704469 w 1888228"/>
                <a:gd name="connsiteY26" fmla="*/ 663702 h 1877573"/>
                <a:gd name="connsiteX27" fmla="*/ 677418 w 1888228"/>
                <a:gd name="connsiteY27" fmla="*/ 646938 h 1877573"/>
                <a:gd name="connsiteX28" fmla="*/ 488442 w 1888228"/>
                <a:gd name="connsiteY28" fmla="*/ 255271 h 1877573"/>
                <a:gd name="connsiteX29" fmla="*/ 269748 w 1888228"/>
                <a:gd name="connsiteY29" fmla="*/ 368047 h 1877573"/>
                <a:gd name="connsiteX30" fmla="*/ 269748 w 1888228"/>
                <a:gd name="connsiteY30" fmla="*/ 300610 h 1877573"/>
                <a:gd name="connsiteX31" fmla="*/ 488442 w 1888228"/>
                <a:gd name="connsiteY31" fmla="*/ 188215 h 1877573"/>
                <a:gd name="connsiteX32" fmla="*/ 502158 w 1888228"/>
                <a:gd name="connsiteY32" fmla="*/ 184786 h 1877573"/>
                <a:gd name="connsiteX33" fmla="*/ 120015 w 1888228"/>
                <a:gd name="connsiteY33" fmla="*/ 0 h 1877573"/>
                <a:gd name="connsiteX34" fmla="*/ 224791 w 1888228"/>
                <a:gd name="connsiteY34" fmla="*/ 139827 h 1877573"/>
                <a:gd name="connsiteX35" fmla="*/ 150114 w 1888228"/>
                <a:gd name="connsiteY35" fmla="*/ 139827 h 1877573"/>
                <a:gd name="connsiteX36" fmla="*/ 150114 w 1888228"/>
                <a:gd name="connsiteY36" fmla="*/ 1727835 h 1877573"/>
                <a:gd name="connsiteX37" fmla="*/ 1738122 w 1888228"/>
                <a:gd name="connsiteY37" fmla="*/ 1727835 h 1877573"/>
                <a:gd name="connsiteX38" fmla="*/ 1738122 w 1888228"/>
                <a:gd name="connsiteY38" fmla="*/ 1652778 h 1877573"/>
                <a:gd name="connsiteX39" fmla="*/ 1877940 w 1888228"/>
                <a:gd name="connsiteY39" fmla="*/ 1757934 h 1877573"/>
                <a:gd name="connsiteX40" fmla="*/ 1738122 w 1888228"/>
                <a:gd name="connsiteY40" fmla="*/ 1862709 h 1877573"/>
                <a:gd name="connsiteX41" fmla="*/ 1738122 w 1888228"/>
                <a:gd name="connsiteY41" fmla="*/ 1787651 h 1877573"/>
                <a:gd name="connsiteX42" fmla="*/ 150114 w 1888228"/>
                <a:gd name="connsiteY42" fmla="*/ 1787651 h 1877573"/>
                <a:gd name="connsiteX43" fmla="*/ 150114 w 1888228"/>
                <a:gd name="connsiteY43" fmla="*/ 1877573 h 1877573"/>
                <a:gd name="connsiteX44" fmla="*/ 90297 w 1888228"/>
                <a:gd name="connsiteY44" fmla="*/ 1877573 h 1877573"/>
                <a:gd name="connsiteX45" fmla="*/ 90297 w 1888228"/>
                <a:gd name="connsiteY45" fmla="*/ 1787651 h 1877573"/>
                <a:gd name="connsiteX46" fmla="*/ 0 w 1888228"/>
                <a:gd name="connsiteY46" fmla="*/ 1787651 h 1877573"/>
                <a:gd name="connsiteX47" fmla="*/ 0 w 1888228"/>
                <a:gd name="connsiteY47" fmla="*/ 1727835 h 1877573"/>
                <a:gd name="connsiteX48" fmla="*/ 90297 w 1888228"/>
                <a:gd name="connsiteY48" fmla="*/ 1727835 h 1877573"/>
                <a:gd name="connsiteX49" fmla="*/ 90297 w 1888228"/>
                <a:gd name="connsiteY49" fmla="*/ 139827 h 1877573"/>
                <a:gd name="connsiteX50" fmla="*/ 15240 w 1888228"/>
                <a:gd name="connsiteY50" fmla="*/ 139827 h 187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888228" h="1877573">
                  <a:moveTo>
                    <a:pt x="1720977" y="894207"/>
                  </a:moveTo>
                  <a:lnTo>
                    <a:pt x="1888228" y="1051942"/>
                  </a:lnTo>
                  <a:lnTo>
                    <a:pt x="1888228" y="1133857"/>
                  </a:lnTo>
                  <a:lnTo>
                    <a:pt x="1685544" y="942976"/>
                  </a:lnTo>
                  <a:close/>
                  <a:moveTo>
                    <a:pt x="502158" y="184786"/>
                  </a:moveTo>
                  <a:cubicBezTo>
                    <a:pt x="513588" y="184786"/>
                    <a:pt x="523494" y="190882"/>
                    <a:pt x="528828" y="201168"/>
                  </a:cubicBezTo>
                  <a:lnTo>
                    <a:pt x="715518" y="588265"/>
                  </a:lnTo>
                  <a:lnTo>
                    <a:pt x="933830" y="422911"/>
                  </a:lnTo>
                  <a:cubicBezTo>
                    <a:pt x="939166" y="419101"/>
                    <a:pt x="945260" y="416815"/>
                    <a:pt x="951738" y="416815"/>
                  </a:cubicBezTo>
                  <a:cubicBezTo>
                    <a:pt x="959739" y="416815"/>
                    <a:pt x="967359" y="419862"/>
                    <a:pt x="973074" y="425577"/>
                  </a:cubicBezTo>
                  <a:lnTo>
                    <a:pt x="973835" y="426340"/>
                  </a:lnTo>
                  <a:lnTo>
                    <a:pt x="1214247" y="638176"/>
                  </a:lnTo>
                  <a:lnTo>
                    <a:pt x="1378077" y="590170"/>
                  </a:lnTo>
                  <a:cubicBezTo>
                    <a:pt x="1380744" y="589407"/>
                    <a:pt x="1383410" y="589027"/>
                    <a:pt x="1386459" y="589027"/>
                  </a:cubicBezTo>
                  <a:cubicBezTo>
                    <a:pt x="1394079" y="589027"/>
                    <a:pt x="1401318" y="591693"/>
                    <a:pt x="1406652" y="597027"/>
                  </a:cubicBezTo>
                  <a:lnTo>
                    <a:pt x="1415416" y="605028"/>
                  </a:lnTo>
                  <a:lnTo>
                    <a:pt x="1479423" y="665607"/>
                  </a:lnTo>
                  <a:lnTo>
                    <a:pt x="1443991" y="714376"/>
                  </a:lnTo>
                  <a:lnTo>
                    <a:pt x="1378077" y="652653"/>
                  </a:lnTo>
                  <a:lnTo>
                    <a:pt x="1214628" y="699897"/>
                  </a:lnTo>
                  <a:cubicBezTo>
                    <a:pt x="1211960" y="700660"/>
                    <a:pt x="1209294" y="701041"/>
                    <a:pt x="1206245" y="701041"/>
                  </a:cubicBezTo>
                  <a:cubicBezTo>
                    <a:pt x="1199007" y="701041"/>
                    <a:pt x="1191768" y="698373"/>
                    <a:pt x="1186434" y="693421"/>
                  </a:cubicBezTo>
                  <a:lnTo>
                    <a:pt x="950214" y="485013"/>
                  </a:lnTo>
                  <a:lnTo>
                    <a:pt x="733044" y="649606"/>
                  </a:lnTo>
                  <a:lnTo>
                    <a:pt x="722375" y="657607"/>
                  </a:lnTo>
                  <a:cubicBezTo>
                    <a:pt x="720852" y="658750"/>
                    <a:pt x="719328" y="659892"/>
                    <a:pt x="717423" y="660655"/>
                  </a:cubicBezTo>
                  <a:cubicBezTo>
                    <a:pt x="713232" y="662560"/>
                    <a:pt x="709040" y="663702"/>
                    <a:pt x="704469" y="663702"/>
                  </a:cubicBezTo>
                  <a:cubicBezTo>
                    <a:pt x="693039" y="663702"/>
                    <a:pt x="682752" y="657226"/>
                    <a:pt x="677418" y="646938"/>
                  </a:cubicBezTo>
                  <a:lnTo>
                    <a:pt x="488442" y="255271"/>
                  </a:lnTo>
                  <a:lnTo>
                    <a:pt x="269748" y="368047"/>
                  </a:lnTo>
                  <a:lnTo>
                    <a:pt x="269748" y="300610"/>
                  </a:lnTo>
                  <a:lnTo>
                    <a:pt x="488442" y="188215"/>
                  </a:lnTo>
                  <a:cubicBezTo>
                    <a:pt x="492633" y="185928"/>
                    <a:pt x="497206" y="184786"/>
                    <a:pt x="502158" y="184786"/>
                  </a:cubicBezTo>
                  <a:close/>
                  <a:moveTo>
                    <a:pt x="120015" y="0"/>
                  </a:moveTo>
                  <a:lnTo>
                    <a:pt x="224791" y="139827"/>
                  </a:lnTo>
                  <a:lnTo>
                    <a:pt x="150114" y="139827"/>
                  </a:lnTo>
                  <a:lnTo>
                    <a:pt x="150114" y="1727835"/>
                  </a:lnTo>
                  <a:lnTo>
                    <a:pt x="1738122" y="1727835"/>
                  </a:lnTo>
                  <a:lnTo>
                    <a:pt x="1738122" y="1652778"/>
                  </a:lnTo>
                  <a:lnTo>
                    <a:pt x="1877940" y="1757934"/>
                  </a:lnTo>
                  <a:lnTo>
                    <a:pt x="1738122" y="1862709"/>
                  </a:lnTo>
                  <a:lnTo>
                    <a:pt x="1738122" y="1787651"/>
                  </a:lnTo>
                  <a:lnTo>
                    <a:pt x="150114" y="1787651"/>
                  </a:lnTo>
                  <a:lnTo>
                    <a:pt x="150114" y="1877573"/>
                  </a:lnTo>
                  <a:lnTo>
                    <a:pt x="90297" y="1877573"/>
                  </a:lnTo>
                  <a:lnTo>
                    <a:pt x="90297" y="1787651"/>
                  </a:lnTo>
                  <a:lnTo>
                    <a:pt x="0" y="1787651"/>
                  </a:lnTo>
                  <a:lnTo>
                    <a:pt x="0" y="1727835"/>
                  </a:lnTo>
                  <a:lnTo>
                    <a:pt x="90297" y="1727835"/>
                  </a:lnTo>
                  <a:lnTo>
                    <a:pt x="90297" y="139827"/>
                  </a:lnTo>
                  <a:lnTo>
                    <a:pt x="15240" y="139827"/>
                  </a:lnTo>
                  <a:close/>
                </a:path>
              </a:pathLst>
            </a:custGeom>
            <a:solidFill>
              <a:schemeClr val="accent1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75BFE3B5-FE12-4F0C-AFCB-D1B98F8EBE77}"/>
                </a:ext>
              </a:extLst>
            </p:cNvPr>
            <p:cNvSpPr/>
            <p:nvPr/>
          </p:nvSpPr>
          <p:spPr>
            <a:xfrm>
              <a:off x="7996964" y="5688463"/>
              <a:ext cx="1618107" cy="1326261"/>
            </a:xfrm>
            <a:custGeom>
              <a:avLst/>
              <a:gdLst>
                <a:gd name="connsiteX0" fmla="*/ 0 w 1618107"/>
                <a:gd name="connsiteY0" fmla="*/ 1325880 h 1326261"/>
                <a:gd name="connsiteX1" fmla="*/ 0 w 1618107"/>
                <a:gd name="connsiteY1" fmla="*/ 1213866 h 1326261"/>
                <a:gd name="connsiteX2" fmla="*/ 254128 w 1618107"/>
                <a:gd name="connsiteY2" fmla="*/ 912876 h 1326261"/>
                <a:gd name="connsiteX3" fmla="*/ 299848 w 1618107"/>
                <a:gd name="connsiteY3" fmla="*/ 891921 h 1326261"/>
                <a:gd name="connsiteX4" fmla="*/ 324992 w 1618107"/>
                <a:gd name="connsiteY4" fmla="*/ 897255 h 1326261"/>
                <a:gd name="connsiteX5" fmla="*/ 475869 w 1618107"/>
                <a:gd name="connsiteY5" fmla="*/ 966977 h 1326261"/>
                <a:gd name="connsiteX6" fmla="*/ 708660 w 1618107"/>
                <a:gd name="connsiteY6" fmla="*/ 653796 h 1326261"/>
                <a:gd name="connsiteX7" fmla="*/ 756285 w 1618107"/>
                <a:gd name="connsiteY7" fmla="*/ 629792 h 1326261"/>
                <a:gd name="connsiteX8" fmla="*/ 795148 w 1618107"/>
                <a:gd name="connsiteY8" fmla="*/ 643890 h 1326261"/>
                <a:gd name="connsiteX9" fmla="*/ 1022222 w 1618107"/>
                <a:gd name="connsiteY9" fmla="*/ 821436 h 1326261"/>
                <a:gd name="connsiteX10" fmla="*/ 1618108 w 1618107"/>
                <a:gd name="connsiteY10" fmla="*/ 0 h 1326261"/>
                <a:gd name="connsiteX11" fmla="*/ 1618108 w 1618107"/>
                <a:gd name="connsiteY11" fmla="*/ 203454 h 1326261"/>
                <a:gd name="connsiteX12" fmla="*/ 1082803 w 1618107"/>
                <a:gd name="connsiteY12" fmla="*/ 941070 h 1326261"/>
                <a:gd name="connsiteX13" fmla="*/ 1081277 w 1618107"/>
                <a:gd name="connsiteY13" fmla="*/ 942975 h 1326261"/>
                <a:gd name="connsiteX14" fmla="*/ 1034034 w 1618107"/>
                <a:gd name="connsiteY14" fmla="*/ 965835 h 1326261"/>
                <a:gd name="connsiteX15" fmla="*/ 997457 w 1618107"/>
                <a:gd name="connsiteY15" fmla="*/ 953261 h 1326261"/>
                <a:gd name="connsiteX16" fmla="*/ 768096 w 1618107"/>
                <a:gd name="connsiteY16" fmla="*/ 773811 h 1326261"/>
                <a:gd name="connsiteX17" fmla="*/ 544830 w 1618107"/>
                <a:gd name="connsiteY17" fmla="*/ 1074420 h 1326261"/>
                <a:gd name="connsiteX18" fmla="*/ 494919 w 1618107"/>
                <a:gd name="connsiteY18" fmla="*/ 1101090 h 1326261"/>
                <a:gd name="connsiteX19" fmla="*/ 470154 w 1618107"/>
                <a:gd name="connsiteY19" fmla="*/ 1095756 h 1326261"/>
                <a:gd name="connsiteX20" fmla="*/ 316230 w 1618107"/>
                <a:gd name="connsiteY20" fmla="*/ 1024890 h 1326261"/>
                <a:gd name="connsiteX21" fmla="*/ 62102 w 1618107"/>
                <a:gd name="connsiteY21" fmla="*/ 1326261 h 1326261"/>
                <a:gd name="connsiteX22" fmla="*/ 0 w 1618107"/>
                <a:gd name="connsiteY22" fmla="*/ 1326261 h 132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8107" h="1326261">
                  <a:moveTo>
                    <a:pt x="0" y="1325880"/>
                  </a:moveTo>
                  <a:lnTo>
                    <a:pt x="0" y="1213866"/>
                  </a:lnTo>
                  <a:lnTo>
                    <a:pt x="254128" y="912876"/>
                  </a:lnTo>
                  <a:cubicBezTo>
                    <a:pt x="265558" y="899541"/>
                    <a:pt x="281940" y="891921"/>
                    <a:pt x="299848" y="891921"/>
                  </a:cubicBezTo>
                  <a:cubicBezTo>
                    <a:pt x="308610" y="891921"/>
                    <a:pt x="316993" y="893826"/>
                    <a:pt x="324992" y="897255"/>
                  </a:cubicBezTo>
                  <a:lnTo>
                    <a:pt x="475869" y="966977"/>
                  </a:lnTo>
                  <a:lnTo>
                    <a:pt x="708660" y="653796"/>
                  </a:lnTo>
                  <a:cubicBezTo>
                    <a:pt x="720090" y="638556"/>
                    <a:pt x="737235" y="629792"/>
                    <a:pt x="756285" y="629792"/>
                  </a:cubicBezTo>
                  <a:cubicBezTo>
                    <a:pt x="770383" y="629792"/>
                    <a:pt x="784097" y="634746"/>
                    <a:pt x="795148" y="643890"/>
                  </a:cubicBezTo>
                  <a:lnTo>
                    <a:pt x="1022222" y="821436"/>
                  </a:lnTo>
                  <a:lnTo>
                    <a:pt x="1618108" y="0"/>
                  </a:lnTo>
                  <a:lnTo>
                    <a:pt x="1618108" y="203454"/>
                  </a:lnTo>
                  <a:lnTo>
                    <a:pt x="1082803" y="941070"/>
                  </a:lnTo>
                  <a:cubicBezTo>
                    <a:pt x="1082803" y="941070"/>
                    <a:pt x="1081277" y="942594"/>
                    <a:pt x="1081277" y="942975"/>
                  </a:cubicBezTo>
                  <a:cubicBezTo>
                    <a:pt x="1069847" y="957834"/>
                    <a:pt x="1052702" y="965835"/>
                    <a:pt x="1034034" y="965835"/>
                  </a:cubicBezTo>
                  <a:cubicBezTo>
                    <a:pt x="1020699" y="965835"/>
                    <a:pt x="1008126" y="961644"/>
                    <a:pt x="997457" y="953261"/>
                  </a:cubicBezTo>
                  <a:lnTo>
                    <a:pt x="768096" y="773811"/>
                  </a:lnTo>
                  <a:lnTo>
                    <a:pt x="544830" y="1074420"/>
                  </a:lnTo>
                  <a:cubicBezTo>
                    <a:pt x="533781" y="1091184"/>
                    <a:pt x="515113" y="1101090"/>
                    <a:pt x="494919" y="1101090"/>
                  </a:cubicBezTo>
                  <a:cubicBezTo>
                    <a:pt x="486156" y="1101090"/>
                    <a:pt x="477774" y="1099185"/>
                    <a:pt x="470154" y="1095756"/>
                  </a:cubicBezTo>
                  <a:lnTo>
                    <a:pt x="316230" y="1024890"/>
                  </a:lnTo>
                  <a:lnTo>
                    <a:pt x="62102" y="1326261"/>
                  </a:lnTo>
                  <a:lnTo>
                    <a:pt x="0" y="1326261"/>
                  </a:lnTo>
                  <a:close/>
                </a:path>
              </a:pathLst>
            </a:custGeom>
            <a:solidFill>
              <a:schemeClr val="accent2"/>
            </a:solidFill>
            <a:ln w="1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8" name="箭头: 右 27">
            <a:extLst>
              <a:ext uri="{FF2B5EF4-FFF2-40B4-BE49-F238E27FC236}">
                <a16:creationId xmlns:a16="http://schemas.microsoft.com/office/drawing/2014/main" id="{60BDEC56-154D-4A71-A10E-28F2C5171E7F}"/>
              </a:ext>
            </a:extLst>
          </p:cNvPr>
          <p:cNvSpPr/>
          <p:nvPr/>
        </p:nvSpPr>
        <p:spPr>
          <a:xfrm rot="16200000">
            <a:off x="8131457" y="600633"/>
            <a:ext cx="551697" cy="293341"/>
          </a:xfrm>
          <a:prstGeom prst="rightArrow">
            <a:avLst/>
          </a:prstGeom>
          <a:noFill/>
          <a:ln w="3175">
            <a:gradFill flip="none" rotWithShape="1">
              <a:gsLst>
                <a:gs pos="2000">
                  <a:schemeClr val="accent2">
                    <a:alpha val="0"/>
                  </a:schemeClr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A32CC9A-441A-464E-AB7C-2CE55DE7D2ED}"/>
              </a:ext>
            </a:extLst>
          </p:cNvPr>
          <p:cNvSpPr txBox="1"/>
          <p:nvPr/>
        </p:nvSpPr>
        <p:spPr>
          <a:xfrm>
            <a:off x="8008634" y="1816984"/>
            <a:ext cx="5645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800" b="1" dirty="0">
                <a:solidFill>
                  <a:schemeClr val="tx1">
                    <a:alpha val="3000"/>
                  </a:schemeClr>
                </a:solidFill>
                <a:latin typeface="+mn-ea"/>
              </a:rPr>
              <a:t>1</a:t>
            </a:r>
            <a:endParaRPr lang="zh-CN" altLang="en-US" sz="4800" b="1" dirty="0">
              <a:solidFill>
                <a:schemeClr val="tx1">
                  <a:alpha val="3000"/>
                </a:schemeClr>
              </a:solidFill>
              <a:latin typeface="+mn-ea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5655E4F-CE3A-4565-8A02-3A836D3C17B2}"/>
              </a:ext>
            </a:extLst>
          </p:cNvPr>
          <p:cNvSpPr txBox="1"/>
          <p:nvPr/>
        </p:nvSpPr>
        <p:spPr>
          <a:xfrm>
            <a:off x="11233097" y="1816984"/>
            <a:ext cx="5645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800" b="1" dirty="0">
                <a:solidFill>
                  <a:schemeClr val="tx1">
                    <a:alpha val="3000"/>
                  </a:schemeClr>
                </a:solidFill>
                <a:latin typeface="+mn-ea"/>
              </a:rPr>
              <a:t>2</a:t>
            </a:r>
            <a:endParaRPr lang="zh-CN" altLang="en-US" sz="4800" b="1" dirty="0">
              <a:solidFill>
                <a:schemeClr val="tx1">
                  <a:alpha val="3000"/>
                </a:schemeClr>
              </a:solidFill>
              <a:latin typeface="+mn-ea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97EF72C-3E9F-476A-8D0C-C651D32254AB}"/>
              </a:ext>
            </a:extLst>
          </p:cNvPr>
          <p:cNvSpPr txBox="1"/>
          <p:nvPr/>
        </p:nvSpPr>
        <p:spPr>
          <a:xfrm>
            <a:off x="8008634" y="3732410"/>
            <a:ext cx="5645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800" b="1" dirty="0">
                <a:solidFill>
                  <a:schemeClr val="tx1">
                    <a:alpha val="3000"/>
                  </a:schemeClr>
                </a:solidFill>
                <a:latin typeface="+mn-ea"/>
              </a:rPr>
              <a:t>3</a:t>
            </a:r>
            <a:endParaRPr lang="zh-CN" altLang="en-US" sz="4800" b="1" dirty="0">
              <a:solidFill>
                <a:schemeClr val="tx1">
                  <a:alpha val="3000"/>
                </a:schemeClr>
              </a:solidFill>
              <a:latin typeface="+mn-ea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03DD169C-D806-4442-8F48-9FEC3911EDD3}"/>
              </a:ext>
            </a:extLst>
          </p:cNvPr>
          <p:cNvSpPr txBox="1"/>
          <p:nvPr/>
        </p:nvSpPr>
        <p:spPr>
          <a:xfrm>
            <a:off x="11233097" y="3732410"/>
            <a:ext cx="5645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800" b="1" dirty="0">
                <a:solidFill>
                  <a:schemeClr val="tx1">
                    <a:alpha val="3000"/>
                  </a:schemeClr>
                </a:solidFill>
                <a:latin typeface="+mn-ea"/>
              </a:rPr>
              <a:t>4</a:t>
            </a:r>
            <a:endParaRPr lang="zh-CN" altLang="en-US" sz="4800" b="1" dirty="0">
              <a:solidFill>
                <a:schemeClr val="tx1">
                  <a:alpha val="3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24051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: 圆顶角 57">
            <a:extLst>
              <a:ext uri="{FF2B5EF4-FFF2-40B4-BE49-F238E27FC236}">
                <a16:creationId xmlns:a16="http://schemas.microsoft.com/office/drawing/2014/main" id="{249DB039-BBE8-437B-AFD5-A497BD675BDB}"/>
              </a:ext>
            </a:extLst>
          </p:cNvPr>
          <p:cNvSpPr/>
          <p:nvPr/>
        </p:nvSpPr>
        <p:spPr>
          <a:xfrm>
            <a:off x="-11942" y="1280161"/>
            <a:ext cx="12203942" cy="506041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8650695A-B4E5-468A-951B-03A66CECAC24}"/>
              </a:ext>
            </a:extLst>
          </p:cNvPr>
          <p:cNvGrpSpPr/>
          <p:nvPr/>
        </p:nvGrpSpPr>
        <p:grpSpPr>
          <a:xfrm>
            <a:off x="259210" y="1981201"/>
            <a:ext cx="4128266" cy="3560296"/>
            <a:chOff x="4503174" y="3196801"/>
            <a:chExt cx="3185652" cy="2557984"/>
          </a:xfrm>
        </p:grpSpPr>
        <p:grpSp>
          <p:nvGrpSpPr>
            <p:cNvPr id="60" name="组合 59">
              <a:extLst>
                <a:ext uri="{FF2B5EF4-FFF2-40B4-BE49-F238E27FC236}">
                  <a16:creationId xmlns:a16="http://schemas.microsoft.com/office/drawing/2014/main" id="{FE8D5794-FD4F-4342-812F-D8026EF1FA2D}"/>
                </a:ext>
              </a:extLst>
            </p:cNvPr>
            <p:cNvGrpSpPr/>
            <p:nvPr/>
          </p:nvGrpSpPr>
          <p:grpSpPr>
            <a:xfrm>
              <a:off x="4503174" y="3196801"/>
              <a:ext cx="3185652" cy="2532684"/>
              <a:chOff x="1070365" y="4603752"/>
              <a:chExt cx="1980810" cy="1574800"/>
            </a:xfrm>
          </p:grpSpPr>
          <p:pic>
            <p:nvPicPr>
              <p:cNvPr id="62" name="图片 61">
                <a:extLst>
                  <a:ext uri="{FF2B5EF4-FFF2-40B4-BE49-F238E27FC236}">
                    <a16:creationId xmlns:a16="http://schemas.microsoft.com/office/drawing/2014/main" id="{936ADFDA-FA8F-4431-A837-D5D3635862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0365" y="4603752"/>
                <a:ext cx="1980810" cy="1574800"/>
              </a:xfrm>
              <a:prstGeom prst="rect">
                <a:avLst/>
              </a:prstGeom>
            </p:spPr>
          </p:pic>
          <p:pic>
            <p:nvPicPr>
              <p:cNvPr id="63" name="图片 62">
                <a:extLst>
                  <a:ext uri="{FF2B5EF4-FFF2-40B4-BE49-F238E27FC236}">
                    <a16:creationId xmlns:a16="http://schemas.microsoft.com/office/drawing/2014/main" id="{7EA6F6FB-A37D-4C75-8B1B-A3F1040037A7}"/>
                  </a:ext>
                </a:extLst>
              </p:cNvPr>
              <p:cNvPicPr>
                <a:picLocks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9521" y="4701715"/>
                <a:ext cx="1794333" cy="966794"/>
              </a:xfrm>
              <a:prstGeom prst="rect">
                <a:avLst/>
              </a:prstGeom>
            </p:spPr>
          </p:pic>
        </p:grpSp>
        <p:pic>
          <p:nvPicPr>
            <p:cNvPr id="61" name="图片 60">
              <a:extLst>
                <a:ext uri="{FF2B5EF4-FFF2-40B4-BE49-F238E27FC236}">
                  <a16:creationId xmlns:a16="http://schemas.microsoft.com/office/drawing/2014/main" id="{76ECE351-1409-49CE-ABBC-C92E9FCD4EED}"/>
                </a:ext>
              </a:extLst>
            </p:cNvPr>
            <p:cNvPicPr>
              <a:picLocks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3197"/>
            <a:stretch/>
          </p:blipFill>
          <p:spPr>
            <a:xfrm>
              <a:off x="4503174" y="5562281"/>
              <a:ext cx="3185652" cy="192504"/>
            </a:xfrm>
            <a:prstGeom prst="rect">
              <a:avLst/>
            </a:prstGeom>
            <a:effectLst>
              <a:outerShdw blurRad="38100" dist="50800" dir="5400000" sx="103000" sy="103000" algn="t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4" name="标题 1">
            <a:extLst>
              <a:ext uri="{FF2B5EF4-FFF2-40B4-BE49-F238E27FC236}">
                <a16:creationId xmlns:a16="http://schemas.microsoft.com/office/drawing/2014/main" id="{61119FD4-8A48-4C20-B58A-537AEEEACAC8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0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/>
              <a:t>SMore ViMo</a:t>
            </a:r>
            <a:r>
              <a:rPr lang="en-US" altLang="zh-CN" dirty="0"/>
              <a:t> </a:t>
            </a:r>
            <a:r>
              <a:rPr lang="zh-CN" altLang="en-US" dirty="0"/>
              <a:t>训练平台功能</a:t>
            </a:r>
          </a:p>
        </p:txBody>
      </p:sp>
      <p:sp>
        <p:nvSpPr>
          <p:cNvPr id="99" name="TextBox 13">
            <a:extLst>
              <a:ext uri="{FF2B5EF4-FFF2-40B4-BE49-F238E27FC236}">
                <a16:creationId xmlns:a16="http://schemas.microsoft.com/office/drawing/2014/main" id="{AAB1E412-40CF-4922-9D0B-DA76DE73C682}"/>
              </a:ext>
            </a:extLst>
          </p:cNvPr>
          <p:cNvSpPr txBox="1"/>
          <p:nvPr/>
        </p:nvSpPr>
        <p:spPr>
          <a:xfrm>
            <a:off x="5996888" y="1946166"/>
            <a:ext cx="19749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200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zh-CN" altLang="en-US" sz="14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利用成像系统，获取图像</a:t>
            </a:r>
            <a:endParaRPr lang="en-US" sz="1400" b="1" kern="0" dirty="0"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</a:endParaRPr>
          </a:p>
        </p:txBody>
      </p:sp>
      <p:sp>
        <p:nvSpPr>
          <p:cNvPr id="100" name="TextBox 14">
            <a:extLst>
              <a:ext uri="{FF2B5EF4-FFF2-40B4-BE49-F238E27FC236}">
                <a16:creationId xmlns:a16="http://schemas.microsoft.com/office/drawing/2014/main" id="{4D146856-C1A7-4302-A95D-CF74153A10AD}"/>
              </a:ext>
            </a:extLst>
          </p:cNvPr>
          <p:cNvSpPr txBox="1"/>
          <p:nvPr/>
        </p:nvSpPr>
        <p:spPr>
          <a:xfrm>
            <a:off x="5996888" y="2204871"/>
            <a:ext cx="26161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9200" fontAlgn="base">
              <a:spcAft>
                <a:spcPct val="0"/>
              </a:spcAft>
              <a:buSzPct val="100000"/>
            </a:pPr>
            <a:r>
              <a:rPr lang="zh-CN" alt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8"/>
              </a:rPr>
              <a:t>获取包含识别目标的各种情况下的图像</a:t>
            </a: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8"/>
            </a:endParaRPr>
          </a:p>
        </p:txBody>
      </p:sp>
      <p:sp>
        <p:nvSpPr>
          <p:cNvPr id="115" name="TextBox 13">
            <a:extLst>
              <a:ext uri="{FF2B5EF4-FFF2-40B4-BE49-F238E27FC236}">
                <a16:creationId xmlns:a16="http://schemas.microsoft.com/office/drawing/2014/main" id="{A2E501AD-A3B1-424C-ADC5-3E73B97FBE78}"/>
              </a:ext>
            </a:extLst>
          </p:cNvPr>
          <p:cNvSpPr txBox="1"/>
          <p:nvPr/>
        </p:nvSpPr>
        <p:spPr>
          <a:xfrm>
            <a:off x="5996888" y="3027713"/>
            <a:ext cx="19749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algn="r"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pPr algn="l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半自动化标注，简单快速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TextBox 14">
            <a:extLst>
              <a:ext uri="{FF2B5EF4-FFF2-40B4-BE49-F238E27FC236}">
                <a16:creationId xmlns:a16="http://schemas.microsoft.com/office/drawing/2014/main" id="{A580B620-AE6C-4B07-AC8A-8517A112F723}"/>
              </a:ext>
            </a:extLst>
          </p:cNvPr>
          <p:cNvSpPr txBox="1"/>
          <p:nvPr/>
        </p:nvSpPr>
        <p:spPr>
          <a:xfrm>
            <a:off x="5996888" y="3294383"/>
            <a:ext cx="40325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r"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pPr algn="l"/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端对端技术，整行标注；无需以字符划分，简单快速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6" name="组合 58">
            <a:extLst>
              <a:ext uri="{FF2B5EF4-FFF2-40B4-BE49-F238E27FC236}">
                <a16:creationId xmlns:a16="http://schemas.microsoft.com/office/drawing/2014/main" id="{0A54AAAC-2FCE-40E9-8A92-4959B923B23A}"/>
              </a:ext>
            </a:extLst>
          </p:cNvPr>
          <p:cNvGrpSpPr/>
          <p:nvPr/>
        </p:nvGrpSpPr>
        <p:grpSpPr>
          <a:xfrm>
            <a:off x="10448123" y="2886790"/>
            <a:ext cx="1068093" cy="732290"/>
            <a:chOff x="3965998" y="5530360"/>
            <a:chExt cx="2048161" cy="1057423"/>
          </a:xfrm>
        </p:grpSpPr>
        <p:pic>
          <p:nvPicPr>
            <p:cNvPr id="77" name="图片 56" descr="图片包含 钟表, 黑色, 标志, 白色&#10;&#10;描述已自动生成">
              <a:extLst>
                <a:ext uri="{FF2B5EF4-FFF2-40B4-BE49-F238E27FC236}">
                  <a16:creationId xmlns:a16="http://schemas.microsoft.com/office/drawing/2014/main" id="{1E0DFCE3-F3D4-4F2F-A361-957345088C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5998" y="5530360"/>
              <a:ext cx="2048161" cy="1057423"/>
            </a:xfrm>
            <a:prstGeom prst="rect">
              <a:avLst/>
            </a:prstGeom>
          </p:spPr>
        </p:pic>
        <p:sp>
          <p:nvSpPr>
            <p:cNvPr id="78" name="矩形 57">
              <a:extLst>
                <a:ext uri="{FF2B5EF4-FFF2-40B4-BE49-F238E27FC236}">
                  <a16:creationId xmlns:a16="http://schemas.microsoft.com/office/drawing/2014/main" id="{8D7332A5-E96D-4CA0-A31F-02FF5032B0FE}"/>
                </a:ext>
              </a:extLst>
            </p:cNvPr>
            <p:cNvSpPr/>
            <p:nvPr/>
          </p:nvSpPr>
          <p:spPr>
            <a:xfrm rot="20460000">
              <a:off x="4095702" y="5802414"/>
              <a:ext cx="1805611" cy="411962"/>
            </a:xfrm>
            <a:prstGeom prst="rect">
              <a:avLst/>
            </a:prstGeom>
            <a:noFill/>
            <a:ln w="9525" cap="flat">
              <a:solidFill>
                <a:schemeClr val="accent5"/>
              </a:solidFill>
              <a:prstDash val="solid"/>
              <a:round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 Neue Medium"/>
                <a:sym typeface="Helvetica Neue Medium"/>
              </a:endParaRPr>
            </a:p>
          </p:txBody>
        </p:sp>
      </p:grpSp>
      <p:sp>
        <p:nvSpPr>
          <p:cNvPr id="127" name="TextBox 13">
            <a:extLst>
              <a:ext uri="{FF2B5EF4-FFF2-40B4-BE49-F238E27FC236}">
                <a16:creationId xmlns:a16="http://schemas.microsoft.com/office/drawing/2014/main" id="{537AF7B9-80ED-44E2-BC32-3469706C20ED}"/>
              </a:ext>
            </a:extLst>
          </p:cNvPr>
          <p:cNvSpPr txBox="1"/>
          <p:nvPr/>
        </p:nvSpPr>
        <p:spPr>
          <a:xfrm flipH="1">
            <a:off x="5996888" y="4124858"/>
            <a:ext cx="16158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操作，训练模型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TextBox 14">
            <a:extLst>
              <a:ext uri="{FF2B5EF4-FFF2-40B4-BE49-F238E27FC236}">
                <a16:creationId xmlns:a16="http://schemas.microsoft.com/office/drawing/2014/main" id="{E9E6CFB3-6D53-41DD-96AF-259F5D6592E5}"/>
              </a:ext>
            </a:extLst>
          </p:cNvPr>
          <p:cNvSpPr txBox="1"/>
          <p:nvPr/>
        </p:nvSpPr>
        <p:spPr>
          <a:xfrm flipH="1">
            <a:off x="5996888" y="4387873"/>
            <a:ext cx="32179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模型类型，前后处理，可视化训练结果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TextBox 13">
            <a:extLst>
              <a:ext uri="{FF2B5EF4-FFF2-40B4-BE49-F238E27FC236}">
                <a16:creationId xmlns:a16="http://schemas.microsoft.com/office/drawing/2014/main" id="{48453839-2370-4ECD-9158-70332ABF84C1}"/>
              </a:ext>
            </a:extLst>
          </p:cNvPr>
          <p:cNvSpPr txBox="1"/>
          <p:nvPr/>
        </p:nvSpPr>
        <p:spPr>
          <a:xfrm flipH="1">
            <a:off x="5996888" y="5211209"/>
            <a:ext cx="19909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验证通过，一键导出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</a:p>
        </p:txBody>
      </p:sp>
      <p:sp>
        <p:nvSpPr>
          <p:cNvPr id="135" name="TextBox 14">
            <a:extLst>
              <a:ext uri="{FF2B5EF4-FFF2-40B4-BE49-F238E27FC236}">
                <a16:creationId xmlns:a16="http://schemas.microsoft.com/office/drawing/2014/main" id="{27BCBC29-7677-4E2A-9BA9-42B4BE15DF92}"/>
              </a:ext>
            </a:extLst>
          </p:cNvPr>
          <p:cNvSpPr txBox="1"/>
          <p:nvPr/>
        </p:nvSpPr>
        <p:spPr>
          <a:xfrm flipH="1">
            <a:off x="5996887" y="5481363"/>
            <a:ext cx="38496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defTabSz="1219200" fontAlgn="base">
              <a:spcBef>
                <a:spcPts val="800"/>
              </a:spcBef>
              <a:spcAft>
                <a:spcPct val="0"/>
              </a:spcAft>
              <a:buSzPct val="100000"/>
              <a:defRPr sz="1200" kern="0">
                <a:solidFill>
                  <a:srgbClr val="000000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Arial Unicode MS" pitchFamily="34" charset="-128"/>
              </a:defRPr>
            </a:lvl1pPr>
          </a:lstStyle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验证好的模型，导出为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可在推理平台直接运行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6" name="图片 85">
            <a:extLst>
              <a:ext uri="{FF2B5EF4-FFF2-40B4-BE49-F238E27FC236}">
                <a16:creationId xmlns:a16="http://schemas.microsoft.com/office/drawing/2014/main" id="{94B7552D-9CDB-46EF-9068-8D6C633E957F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17" r="99"/>
          <a:stretch/>
        </p:blipFill>
        <p:spPr>
          <a:xfrm>
            <a:off x="10455420" y="3974179"/>
            <a:ext cx="1060796" cy="737680"/>
          </a:xfrm>
          <a:prstGeom prst="rect">
            <a:avLst/>
          </a:prstGeom>
          <a:ln>
            <a:noFill/>
          </a:ln>
        </p:spPr>
      </p:pic>
      <p:pic>
        <p:nvPicPr>
          <p:cNvPr id="87" name="图片 49">
            <a:extLst>
              <a:ext uri="{FF2B5EF4-FFF2-40B4-BE49-F238E27FC236}">
                <a16:creationId xmlns:a16="http://schemas.microsoft.com/office/drawing/2014/main" id="{DD400AE8-DDA7-4C5D-A4B2-64DB3908FE1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1527" r="1"/>
          <a:stretch/>
        </p:blipFill>
        <p:spPr>
          <a:xfrm>
            <a:off x="10455421" y="4954118"/>
            <a:ext cx="1060796" cy="952208"/>
          </a:xfrm>
          <a:prstGeom prst="rect">
            <a:avLst/>
          </a:prstGeom>
        </p:spPr>
      </p:pic>
      <p:sp>
        <p:nvSpPr>
          <p:cNvPr id="2" name="矩形: 圆角 1">
            <a:extLst>
              <a:ext uri="{FF2B5EF4-FFF2-40B4-BE49-F238E27FC236}">
                <a16:creationId xmlns:a16="http://schemas.microsoft.com/office/drawing/2014/main" id="{4A35CF87-0C02-49AC-8B06-6193FF9B27F7}"/>
              </a:ext>
            </a:extLst>
          </p:cNvPr>
          <p:cNvSpPr/>
          <p:nvPr/>
        </p:nvSpPr>
        <p:spPr>
          <a:xfrm>
            <a:off x="5348238" y="1904424"/>
            <a:ext cx="516856" cy="51685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300" dirty="0"/>
              <a:t>采集</a:t>
            </a:r>
            <a:br>
              <a:rPr lang="en-US" altLang="zh-CN" sz="1300" dirty="0"/>
            </a:br>
            <a:r>
              <a:rPr lang="zh-CN" altLang="en-US" sz="1300" dirty="0"/>
              <a:t>图像</a:t>
            </a:r>
            <a:endParaRPr lang="en-US" altLang="zh-CN" sz="1300" dirty="0"/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58AFCBF8-F533-4E8B-8782-D4FDDB8F8464}"/>
              </a:ext>
            </a:extLst>
          </p:cNvPr>
          <p:cNvSpPr/>
          <p:nvPr/>
        </p:nvSpPr>
        <p:spPr>
          <a:xfrm>
            <a:off x="5348238" y="2994508"/>
            <a:ext cx="516856" cy="51685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300" dirty="0"/>
              <a:t>标注</a:t>
            </a:r>
            <a:br>
              <a:rPr lang="en-US" altLang="zh-CN" sz="1300" dirty="0"/>
            </a:br>
            <a:r>
              <a:rPr lang="zh-CN" altLang="en-US" sz="1300" dirty="0"/>
              <a:t>数据</a:t>
            </a:r>
            <a:endParaRPr lang="en-US" altLang="zh-CN" sz="1300" dirty="0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40BD524F-6F03-4390-A377-08A835F7B478}"/>
              </a:ext>
            </a:extLst>
          </p:cNvPr>
          <p:cNvSpPr/>
          <p:nvPr/>
        </p:nvSpPr>
        <p:spPr>
          <a:xfrm>
            <a:off x="5348238" y="4084592"/>
            <a:ext cx="516856" cy="5168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300" dirty="0"/>
              <a:t>训练</a:t>
            </a:r>
            <a:br>
              <a:rPr lang="en-US" altLang="zh-CN" sz="1300" dirty="0"/>
            </a:br>
            <a:r>
              <a:rPr lang="zh-CN" altLang="en-US" sz="1300" dirty="0"/>
              <a:t>模型</a:t>
            </a:r>
            <a:endParaRPr lang="en-US" altLang="zh-CN" sz="1300" dirty="0"/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33AB50F4-51E5-45EB-8B7B-02EBAC1F452A}"/>
              </a:ext>
            </a:extLst>
          </p:cNvPr>
          <p:cNvSpPr/>
          <p:nvPr/>
        </p:nvSpPr>
        <p:spPr>
          <a:xfrm>
            <a:off x="5348238" y="5174674"/>
            <a:ext cx="516856" cy="5168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300" dirty="0"/>
              <a:t>导出</a:t>
            </a:r>
            <a:br>
              <a:rPr lang="en-US" altLang="zh-CN" sz="1300" dirty="0"/>
            </a:br>
            <a:r>
              <a:rPr lang="zh-CN" altLang="en-US" sz="1300" dirty="0"/>
              <a:t>模型</a:t>
            </a:r>
            <a:endParaRPr lang="en-US" altLang="zh-CN" sz="13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B3B276E-C8DC-4A44-B6E8-BA2D7F78ED5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455420" y="1801685"/>
            <a:ext cx="1060796" cy="737680"/>
          </a:xfrm>
          <a:prstGeom prst="rect">
            <a:avLst/>
          </a:prstGeom>
        </p:spPr>
      </p:pic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90830B85-D19E-4485-A64B-FD4C33AF6982}"/>
              </a:ext>
            </a:extLst>
          </p:cNvPr>
          <p:cNvCxnSpPr/>
          <p:nvPr/>
        </p:nvCxnSpPr>
        <p:spPr>
          <a:xfrm>
            <a:off x="5081100" y="1633156"/>
            <a:ext cx="676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1D8EB8A9-A20D-4AE1-BEED-DAF76AB48760}"/>
              </a:ext>
            </a:extLst>
          </p:cNvPr>
          <p:cNvCxnSpPr/>
          <p:nvPr/>
        </p:nvCxnSpPr>
        <p:spPr>
          <a:xfrm>
            <a:off x="5081100" y="2707893"/>
            <a:ext cx="676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0FBAB90E-695A-4096-9BE0-9B8B1400B190}"/>
              </a:ext>
            </a:extLst>
          </p:cNvPr>
          <p:cNvCxnSpPr/>
          <p:nvPr/>
        </p:nvCxnSpPr>
        <p:spPr>
          <a:xfrm>
            <a:off x="5081100" y="3797977"/>
            <a:ext cx="676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E4966C53-83DF-40E0-94A4-80089F212398}"/>
              </a:ext>
            </a:extLst>
          </p:cNvPr>
          <p:cNvCxnSpPr/>
          <p:nvPr/>
        </p:nvCxnSpPr>
        <p:spPr>
          <a:xfrm>
            <a:off x="5081100" y="4888061"/>
            <a:ext cx="676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9E15AFD0-1C96-4364-BB0B-D0569EE00AEE}"/>
              </a:ext>
            </a:extLst>
          </p:cNvPr>
          <p:cNvCxnSpPr/>
          <p:nvPr/>
        </p:nvCxnSpPr>
        <p:spPr>
          <a:xfrm>
            <a:off x="5081100" y="5966091"/>
            <a:ext cx="676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8273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1CFFB3EA-48DC-407B-947C-CEEB0D1B757E}"/>
              </a:ext>
            </a:extLst>
          </p:cNvPr>
          <p:cNvSpPr/>
          <p:nvPr/>
        </p:nvSpPr>
        <p:spPr>
          <a:xfrm>
            <a:off x="825500" y="2349500"/>
            <a:ext cx="3365500" cy="3658108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92EB4696-E0D9-44E1-BF79-EACEE559E3E4}"/>
              </a:ext>
            </a:extLst>
          </p:cNvPr>
          <p:cNvSpPr/>
          <p:nvPr/>
        </p:nvSpPr>
        <p:spPr>
          <a:xfrm>
            <a:off x="4413250" y="2349500"/>
            <a:ext cx="3365500" cy="3658108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DB0E63B3-9B58-4828-9408-819E2DF33DE6}"/>
              </a:ext>
            </a:extLst>
          </p:cNvPr>
          <p:cNvSpPr/>
          <p:nvPr/>
        </p:nvSpPr>
        <p:spPr>
          <a:xfrm>
            <a:off x="8001000" y="2349500"/>
            <a:ext cx="3365500" cy="3658108"/>
          </a:xfrm>
          <a:prstGeom prst="roundRect">
            <a:avLst>
              <a:gd name="adj" fmla="val 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701436C-1057-4B9A-B8F1-B9BDB5D74108}"/>
              </a:ext>
            </a:extLst>
          </p:cNvPr>
          <p:cNvSpPr/>
          <p:nvPr/>
        </p:nvSpPr>
        <p:spPr>
          <a:xfrm>
            <a:off x="1828417" y="4973730"/>
            <a:ext cx="13596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施周期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029A6CD-784C-47A8-A895-1D9E36DC56C1}"/>
              </a:ext>
            </a:extLst>
          </p:cNvPr>
          <p:cNvSpPr/>
          <p:nvPr/>
        </p:nvSpPr>
        <p:spPr>
          <a:xfrm>
            <a:off x="1828417" y="3165383"/>
            <a:ext cx="1359668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altLang="zh-CN" sz="2000" b="1" dirty="0">
                <a:latin typeface="+mj-ea"/>
                <a:ea typeface="+mj-ea"/>
              </a:rPr>
              <a:t>OCR</a:t>
            </a:r>
            <a:r>
              <a:rPr lang="zh-CN" altLang="en-US" sz="2000" b="1" dirty="0">
                <a:latin typeface="+mj-ea"/>
                <a:ea typeface="+mj-ea"/>
              </a:rPr>
              <a:t> </a:t>
            </a:r>
            <a:r>
              <a:rPr lang="en-US" altLang="zh-CN" sz="2000" b="1" dirty="0">
                <a:latin typeface="+mj-ea"/>
                <a:ea typeface="+mj-ea"/>
              </a:rPr>
              <a:t>SDK</a:t>
            </a:r>
            <a:endParaRPr lang="zh-CN" altLang="en-US" sz="2000" b="1" dirty="0">
              <a:latin typeface="+mj-ea"/>
              <a:ea typeface="+mj-ea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96BE82F-5024-491D-B60B-536BFF5FB4E4}"/>
              </a:ext>
            </a:extLst>
          </p:cNvPr>
          <p:cNvSpPr/>
          <p:nvPr/>
        </p:nvSpPr>
        <p:spPr>
          <a:xfrm>
            <a:off x="5416166" y="4973730"/>
            <a:ext cx="13596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部署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B5A188B-9048-4798-AA62-4A6A06D082C6}"/>
              </a:ext>
            </a:extLst>
          </p:cNvPr>
          <p:cNvSpPr/>
          <p:nvPr/>
        </p:nvSpPr>
        <p:spPr>
          <a:xfrm>
            <a:off x="5366474" y="3165383"/>
            <a:ext cx="1459054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altLang="zh-CN" sz="2000" b="1" dirty="0">
                <a:latin typeface="+mj-ea"/>
                <a:ea typeface="+mj-ea"/>
              </a:rPr>
              <a:t>OCR Edge</a:t>
            </a:r>
            <a:endParaRPr lang="zh-CN" altLang="en-US" sz="2000" b="1" dirty="0">
              <a:latin typeface="+mj-ea"/>
              <a:ea typeface="+mj-ea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7CCBE96-E8EE-4EE4-9DE4-7400A0D76976}"/>
              </a:ext>
            </a:extLst>
          </p:cNvPr>
          <p:cNvSpPr/>
          <p:nvPr/>
        </p:nvSpPr>
        <p:spPr>
          <a:xfrm>
            <a:off x="9003916" y="4973730"/>
            <a:ext cx="13596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部署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9E4F1DED-8EBD-48F1-BE85-FD9B390E7BB2}"/>
              </a:ext>
            </a:extLst>
          </p:cNvPr>
          <p:cNvSpPr/>
          <p:nvPr/>
        </p:nvSpPr>
        <p:spPr>
          <a:xfrm>
            <a:off x="8858717" y="3165383"/>
            <a:ext cx="1650068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altLang="zh-CN" sz="2000" b="1" dirty="0">
                <a:latin typeface="+mj-ea"/>
                <a:ea typeface="+mj-ea"/>
              </a:rPr>
              <a:t>OCR Server</a:t>
            </a:r>
            <a:endParaRPr lang="zh-CN" altLang="en-US" sz="2000" b="1" dirty="0">
              <a:latin typeface="+mj-ea"/>
              <a:ea typeface="+mj-ea"/>
            </a:endParaRP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DB4F4CC6-9F0C-42FF-94F7-0E14CC52AD25}"/>
              </a:ext>
            </a:extLst>
          </p:cNvPr>
          <p:cNvSpPr txBox="1">
            <a:spLocks/>
          </p:cNvSpPr>
          <p:nvPr/>
        </p:nvSpPr>
        <p:spPr>
          <a:xfrm>
            <a:off x="309563" y="579982"/>
            <a:ext cx="11572874" cy="44259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000" b="1" dirty="0" err="1">
                <a:solidFill>
                  <a:schemeClr val="tx1"/>
                </a:solidFill>
              </a:rPr>
              <a:t>SMore</a:t>
            </a:r>
            <a:r>
              <a:rPr lang="en-US" altLang="zh-CN" sz="3000" b="1" dirty="0">
                <a:solidFill>
                  <a:schemeClr val="tx1"/>
                </a:solidFill>
              </a:rPr>
              <a:t> OCR </a:t>
            </a:r>
            <a:r>
              <a:rPr lang="zh-CN" altLang="en-US" sz="3000" b="1" dirty="0">
                <a:solidFill>
                  <a:schemeClr val="tx1"/>
                </a:solidFill>
              </a:rPr>
              <a:t>产品矩阵一览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2A8468C-CE44-410A-A8FB-2A74CFAE36C0}"/>
              </a:ext>
            </a:extLst>
          </p:cNvPr>
          <p:cNvSpPr txBox="1"/>
          <p:nvPr/>
        </p:nvSpPr>
        <p:spPr>
          <a:xfrm>
            <a:off x="342900" y="1096482"/>
            <a:ext cx="11506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200">
                <a:solidFill>
                  <a:schemeClr val="accen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重新定义三种产品</a:t>
            </a:r>
          </a:p>
        </p:txBody>
      </p:sp>
      <p:pic>
        <p:nvPicPr>
          <p:cNvPr id="29" name="图片 28" descr="图形用户界面, 应用程序&#10;&#10;描述已自动生成">
            <a:extLst>
              <a:ext uri="{FF2B5EF4-FFF2-40B4-BE49-F238E27FC236}">
                <a16:creationId xmlns:a16="http://schemas.microsoft.com/office/drawing/2014/main" id="{2547F953-673D-4F57-9D3C-BE6839FC91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55857" y="1784350"/>
            <a:ext cx="1480286" cy="1175520"/>
          </a:xfrm>
          <a:prstGeom prst="rect">
            <a:avLst/>
          </a:prstGeom>
          <a:effectLst/>
        </p:spPr>
      </p:pic>
      <p:pic>
        <p:nvPicPr>
          <p:cNvPr id="47" name="图片 46" descr="图形用户界面, 应用程序&#10;&#10;中度可信度描述已自动生成">
            <a:extLst>
              <a:ext uri="{FF2B5EF4-FFF2-40B4-BE49-F238E27FC236}">
                <a16:creationId xmlns:a16="http://schemas.microsoft.com/office/drawing/2014/main" id="{14D7F16D-0A6B-401C-B08D-73F1FDB9BC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11" t="69259" r="26773" b="12963"/>
          <a:stretch>
            <a:fillRect/>
          </a:stretch>
        </p:blipFill>
        <p:spPr>
          <a:xfrm>
            <a:off x="9056444" y="1119038"/>
            <a:ext cx="1254614" cy="1840832"/>
          </a:xfrm>
          <a:custGeom>
            <a:avLst/>
            <a:gdLst>
              <a:gd name="connsiteX0" fmla="*/ 0 w 830941"/>
              <a:gd name="connsiteY0" fmla="*/ 0 h 1219200"/>
              <a:gd name="connsiteX1" fmla="*/ 830941 w 830941"/>
              <a:gd name="connsiteY1" fmla="*/ 0 h 1219200"/>
              <a:gd name="connsiteX2" fmla="*/ 830941 w 830941"/>
              <a:gd name="connsiteY2" fmla="*/ 1219200 h 1219200"/>
              <a:gd name="connsiteX3" fmla="*/ 0 w 830941"/>
              <a:gd name="connsiteY3" fmla="*/ 121920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941" h="1219200">
                <a:moveTo>
                  <a:pt x="0" y="0"/>
                </a:moveTo>
                <a:lnTo>
                  <a:pt x="830941" y="0"/>
                </a:lnTo>
                <a:lnTo>
                  <a:pt x="830941" y="1219200"/>
                </a:lnTo>
                <a:lnTo>
                  <a:pt x="0" y="1219200"/>
                </a:lnTo>
                <a:close/>
              </a:path>
            </a:pathLst>
          </a:custGeom>
          <a:effectLst/>
        </p:spPr>
      </p:pic>
      <p:sp>
        <p:nvSpPr>
          <p:cNvPr id="53" name="矩形 52">
            <a:extLst>
              <a:ext uri="{FF2B5EF4-FFF2-40B4-BE49-F238E27FC236}">
                <a16:creationId xmlns:a16="http://schemas.microsoft.com/office/drawing/2014/main" id="{D33A333B-AC02-4BF3-848A-B1A7EA75F756}"/>
              </a:ext>
            </a:extLst>
          </p:cNvPr>
          <p:cNvSpPr/>
          <p:nvPr/>
        </p:nvSpPr>
        <p:spPr>
          <a:xfrm>
            <a:off x="1508298" y="3773810"/>
            <a:ext cx="1999906" cy="10283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 </a:t>
            </a:r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OI 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或 </a:t>
            </a:r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CR 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级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二次集成</a:t>
            </a:r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接口，一键部署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0D9C3E0A-EC29-41CB-9669-45D5D3E47B72}"/>
              </a:ext>
            </a:extLst>
          </p:cNvPr>
          <p:cNvSpPr/>
          <p:nvPr/>
        </p:nvSpPr>
        <p:spPr>
          <a:xfrm>
            <a:off x="5285522" y="3773810"/>
            <a:ext cx="1620957" cy="7051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单一产品场景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或无售后运营团队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E6E00DC2-622B-4007-8F2B-CAA3B5E29291}"/>
              </a:ext>
            </a:extLst>
          </p:cNvPr>
          <p:cNvSpPr/>
          <p:nvPr/>
        </p:nvSpPr>
        <p:spPr>
          <a:xfrm>
            <a:off x="8783504" y="3773810"/>
            <a:ext cx="1800493" cy="7051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多产品识别场景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算法升级维护能力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B1164ABC-76B2-4B3D-93A7-FE018DEAEB18}"/>
              </a:ext>
            </a:extLst>
          </p:cNvPr>
          <p:cNvCxnSpPr>
            <a:cxnSpLocks/>
          </p:cNvCxnSpPr>
          <p:nvPr/>
        </p:nvCxnSpPr>
        <p:spPr>
          <a:xfrm>
            <a:off x="2058250" y="3646847"/>
            <a:ext cx="900000" cy="0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AB5A93D8-2E61-48EA-B2AF-2D5F75822357}"/>
              </a:ext>
            </a:extLst>
          </p:cNvPr>
          <p:cNvCxnSpPr>
            <a:cxnSpLocks/>
          </p:cNvCxnSpPr>
          <p:nvPr/>
        </p:nvCxnSpPr>
        <p:spPr>
          <a:xfrm>
            <a:off x="5646000" y="3646847"/>
            <a:ext cx="900000" cy="0"/>
          </a:xfrm>
          <a:prstGeom prst="line">
            <a:avLst/>
          </a:prstGeom>
          <a:ln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160CF9D7-9B50-492F-8E3E-EDC06BF85DFB}"/>
              </a:ext>
            </a:extLst>
          </p:cNvPr>
          <p:cNvCxnSpPr>
            <a:cxnSpLocks/>
          </p:cNvCxnSpPr>
          <p:nvPr/>
        </p:nvCxnSpPr>
        <p:spPr>
          <a:xfrm>
            <a:off x="9233750" y="3646847"/>
            <a:ext cx="900000" cy="0"/>
          </a:xfrm>
          <a:prstGeom prst="line">
            <a:avLst/>
          </a:prstGeom>
          <a:ln>
            <a:solidFill>
              <a:schemeClr val="accent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79074562-4677-4015-ADC0-2C6519F36F29}"/>
              </a:ext>
            </a:extLst>
          </p:cNvPr>
          <p:cNvGrpSpPr/>
          <p:nvPr/>
        </p:nvGrpSpPr>
        <p:grpSpPr>
          <a:xfrm>
            <a:off x="1947680" y="1440815"/>
            <a:ext cx="1121141" cy="1472565"/>
            <a:chOff x="1023" y="3143"/>
            <a:chExt cx="3057" cy="4214"/>
          </a:xfrm>
        </p:grpSpPr>
        <p:pic>
          <p:nvPicPr>
            <p:cNvPr id="26" name="图片 25" descr="屏幕上有字&#10;&#10;描述已自动生成">
              <a:extLst>
                <a:ext uri="{FF2B5EF4-FFF2-40B4-BE49-F238E27FC236}">
                  <a16:creationId xmlns:a16="http://schemas.microsoft.com/office/drawing/2014/main" id="{B8E936EE-F8B2-4335-8C33-239AB9F17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>
            <a:xfrm>
              <a:off x="1023" y="3143"/>
              <a:ext cx="3057" cy="4214"/>
            </a:xfrm>
            <a:custGeom>
              <a:avLst/>
              <a:gdLst>
                <a:gd name="connsiteX0" fmla="*/ 0 w 1676963"/>
                <a:gd name="connsiteY0" fmla="*/ 0 h 2311883"/>
                <a:gd name="connsiteX1" fmla="*/ 1676963 w 1676963"/>
                <a:gd name="connsiteY1" fmla="*/ 0 h 2311883"/>
                <a:gd name="connsiteX2" fmla="*/ 1676963 w 1676963"/>
                <a:gd name="connsiteY2" fmla="*/ 2080639 h 2311883"/>
                <a:gd name="connsiteX3" fmla="*/ 223285 w 1676963"/>
                <a:gd name="connsiteY3" fmla="*/ 2277331 h 2311883"/>
                <a:gd name="connsiteX4" fmla="*/ 139261 w 1676963"/>
                <a:gd name="connsiteY4" fmla="*/ 2311883 h 2311883"/>
                <a:gd name="connsiteX5" fmla="*/ 0 w 1676963"/>
                <a:gd name="connsiteY5" fmla="*/ 2311883 h 231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6963" h="2311883">
                  <a:moveTo>
                    <a:pt x="0" y="0"/>
                  </a:moveTo>
                  <a:lnTo>
                    <a:pt x="1676963" y="0"/>
                  </a:lnTo>
                  <a:lnTo>
                    <a:pt x="1676963" y="2080639"/>
                  </a:lnTo>
                  <a:lnTo>
                    <a:pt x="223285" y="2277331"/>
                  </a:lnTo>
                  <a:lnTo>
                    <a:pt x="139261" y="2311883"/>
                  </a:lnTo>
                  <a:lnTo>
                    <a:pt x="0" y="2311883"/>
                  </a:lnTo>
                  <a:close/>
                </a:path>
              </a:pathLst>
            </a:custGeom>
            <a:effectLst/>
          </p:spPr>
        </p:pic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8CBB8F7-CB04-43B6-8DAF-D59FEA37197C}"/>
                </a:ext>
              </a:extLst>
            </p:cNvPr>
            <p:cNvSpPr txBox="1"/>
            <p:nvPr/>
          </p:nvSpPr>
          <p:spPr>
            <a:xfrm>
              <a:off x="1438" y="5369"/>
              <a:ext cx="2298" cy="1420"/>
            </a:xfrm>
            <a:prstGeom prst="rect">
              <a:avLst/>
            </a:prstGeom>
            <a:solidFill>
              <a:srgbClr val="212F35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rtlCol="0">
              <a:noAutofit/>
              <a:scene3d>
                <a:camera prst="perspectiveFront" fov="7200000">
                  <a:rot lat="600000" lon="20399993" rev="0"/>
                </a:camera>
                <a:lightRig rig="threePt" dir="t"/>
              </a:scene3d>
              <a:sp3d extrusionH="12700" prstMaterial="matte">
                <a:extrusionClr>
                  <a:schemeClr val="tx1"/>
                </a:extrusionClr>
              </a:sp3d>
            </a:bodyPr>
            <a:lstStyle/>
            <a:p>
              <a:r>
                <a:rPr lang="en-US" altLang="zh-CN" sz="1050" b="1" dirty="0" err="1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More</a:t>
              </a:r>
              <a:r>
                <a:rPr lang="en-US" altLang="zh-CN" sz="1050" b="1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 </a:t>
              </a:r>
              <a:r>
                <a:rPr lang="en-US" altLang="zh-CN" sz="1050" b="1" dirty="0" err="1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ViMo</a:t>
              </a:r>
              <a:endParaRPr lang="en-US" altLang="zh-CN" sz="1050" b="1" dirty="0">
                <a:solidFill>
                  <a:srgbClr val="51C6F8"/>
                </a:solidFill>
                <a:effectLst>
                  <a:outerShdw blurRad="50800" dist="63500" dir="8100000" algn="tr" rotWithShape="0">
                    <a:prstClr val="black">
                      <a:alpha val="40000"/>
                    </a:prstClr>
                  </a:outerShdw>
                </a:effectLst>
                <a:latin typeface="+mj-ea"/>
                <a:ea typeface="+mj-ea"/>
              </a:endParaRPr>
            </a:p>
            <a:p>
              <a:r>
                <a:rPr lang="en-US" altLang="zh-CN" sz="1050" b="1" dirty="0">
                  <a:solidFill>
                    <a:srgbClr val="51C6F8"/>
                  </a:solidFill>
                  <a:effectLst>
                    <a:outerShdw blurRad="50800" dist="63500" dir="8100000" algn="tr" rotWithShape="0">
                      <a:prstClr val="black">
                        <a:alpha val="40000"/>
                      </a:prstClr>
                    </a:outerShdw>
                  </a:effectLst>
                  <a:latin typeface="+mj-ea"/>
                  <a:ea typeface="+mj-ea"/>
                </a:rPr>
                <a:t>SD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478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e669eaa4-963e-4206-ba32-63f0b839e967&quot;,&quot;Name&quot;:&quot;sm&quot;,&quot;Kind&quot;:&quot;Custom&quot;,&quot;OldGuidesSetting&quot;:{&quot;HeaderHeight&quot;:5.0,&quot;FooterHeight&quot;:2.0,&quot;SideMargin&quot;:2.8,&quot;TopMargin&quot;:4.0,&quot;BottomMargin&quot;:3.0,&quot;IntervalMargin&quot;:0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10461;#15147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20253;#6658;#405527;#375526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3073;#401821;#373524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02227;#37608;#120667;#379613;#152837;#154099;#179011;#381664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4024;#175117;#401166;#68444;#145926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4024;#175117;#401166;#68444;#145926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6MdfS3NUCQRh2VCPkFQQ"/>
</p:tagLst>
</file>

<file path=ppt/theme/theme1.xml><?xml version="1.0" encoding="utf-8"?>
<a:theme xmlns:a="http://schemas.openxmlformats.org/drawingml/2006/main" name="Office 主题​​">
  <a:themeElements>
    <a:clrScheme name="自定义 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B66A"/>
      </a:accent1>
      <a:accent2>
        <a:srgbClr val="8772B1"/>
      </a:accent2>
      <a:accent3>
        <a:srgbClr val="15A9B2"/>
      </a:accent3>
      <a:accent4>
        <a:srgbClr val="8F79AE"/>
      </a:accent4>
      <a:accent5>
        <a:srgbClr val="0A46C8"/>
      </a:accent5>
      <a:accent6>
        <a:srgbClr val="70AD47"/>
      </a:accent6>
      <a:hlink>
        <a:srgbClr val="103E6E"/>
      </a:hlink>
      <a:folHlink>
        <a:srgbClr val="9C2226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74</TotalTime>
  <Words>4505</Words>
  <Application>Microsoft Office PowerPoint</Application>
  <PresentationFormat>宽屏</PresentationFormat>
  <Paragraphs>651</Paragraphs>
  <Slides>4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5</vt:i4>
      </vt:variant>
    </vt:vector>
  </HeadingPairs>
  <TitlesOfParts>
    <vt:vector size="48" baseType="lpstr">
      <vt:lpstr>微软雅黑</vt:lpstr>
      <vt:lpstr>Arial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klausabc@mso365.tw</dc:creator>
  <cp:lastModifiedBy>园园</cp:lastModifiedBy>
  <cp:revision>2922</cp:revision>
  <dcterms:created xsi:type="dcterms:W3CDTF">2021-07-26T10:36:00Z</dcterms:created>
  <dcterms:modified xsi:type="dcterms:W3CDTF">2021-09-24T01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8C4E33DC94F4A968054DE57C71DD644</vt:lpwstr>
  </property>
  <property fmtid="{D5CDD505-2E9C-101B-9397-08002B2CF9AE}" pid="3" name="KSOProductBuildVer">
    <vt:lpwstr>2052-11.1.0.10667</vt:lpwstr>
  </property>
</Properties>
</file>